
<file path=[Content_Types].xml><?xml version="1.0" encoding="utf-8"?>
<Types xmlns="http://schemas.openxmlformats.org/package/2006/content-types">
  <Default Extension="emf" ContentType="image/x-emf"/>
  <Default Extension="fntdata" ContentType="application/x-fontdata"/>
  <Default Extension="m4a" ContentType="audi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6.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7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816" r:id="rId5"/>
    <p:sldMasterId id="2147483854" r:id="rId6"/>
    <p:sldMasterId id="2147483868" r:id="rId7"/>
    <p:sldMasterId id="2147483881" r:id="rId8"/>
    <p:sldMasterId id="2147483894" r:id="rId9"/>
    <p:sldMasterId id="2147483906" r:id="rId10"/>
  </p:sldMasterIdLst>
  <p:notesMasterIdLst>
    <p:notesMasterId r:id="rId38"/>
  </p:notesMasterIdLst>
  <p:handoutMasterIdLst>
    <p:handoutMasterId r:id="rId39"/>
  </p:handoutMasterIdLst>
  <p:sldIdLst>
    <p:sldId id="2147469187" r:id="rId11"/>
    <p:sldId id="2147479002" r:id="rId12"/>
    <p:sldId id="2147479003" r:id="rId13"/>
    <p:sldId id="2147469782" r:id="rId14"/>
    <p:sldId id="2147478384" r:id="rId15"/>
    <p:sldId id="2147480181" r:id="rId16"/>
    <p:sldId id="2147479425" r:id="rId17"/>
    <p:sldId id="2147480329" r:id="rId18"/>
    <p:sldId id="2147480332" r:id="rId19"/>
    <p:sldId id="2147480334" r:id="rId20"/>
    <p:sldId id="2147480335" r:id="rId21"/>
    <p:sldId id="2147480336" r:id="rId22"/>
    <p:sldId id="2147480348" r:id="rId23"/>
    <p:sldId id="2147480350" r:id="rId24"/>
    <p:sldId id="2147480351" r:id="rId25"/>
    <p:sldId id="2147480362" r:id="rId26"/>
    <p:sldId id="2147480363" r:id="rId27"/>
    <p:sldId id="2147480364" r:id="rId28"/>
    <p:sldId id="2147480365" r:id="rId29"/>
    <p:sldId id="2147480366" r:id="rId30"/>
    <p:sldId id="2147480367" r:id="rId31"/>
    <p:sldId id="2147480368" r:id="rId32"/>
    <p:sldId id="2147480369" r:id="rId33"/>
    <p:sldId id="2147480370" r:id="rId34"/>
    <p:sldId id="2147480371" r:id="rId35"/>
    <p:sldId id="2147480372" r:id="rId36"/>
    <p:sldId id="2147469191" r:id="rId37"/>
  </p:sldIdLst>
  <p:sldSz cx="18288000" cy="10287000"/>
  <p:notesSz cx="6858000" cy="9144000"/>
  <p:embeddedFontLst>
    <p:embeddedFont>
      <p:font typeface="Anova" panose="020B0604020202020204" charset="0"/>
      <p:regular r:id="rId40"/>
      <p:bold r:id="rId41"/>
      <p:italic r:id="rId42"/>
      <p:boldItalic r:id="rId43"/>
    </p:embeddedFont>
    <p:embeddedFont>
      <p:font typeface="Anova Bold" panose="020B0604020202020204" charset="0"/>
      <p:regular r:id="rId44"/>
      <p:bold r:id="rId45"/>
      <p:italic r:id="rId46"/>
      <p:boldItalic r:id="rId47"/>
    </p:embeddedFont>
    <p:embeddedFont>
      <p:font typeface="Anova Light" panose="020B0604020202020204" charset="0"/>
      <p:regular r:id="rId48"/>
      <p:bold r:id="rId49"/>
      <p:italic r:id="rId50"/>
      <p:boldItalic r:id="rId51"/>
    </p:embeddedFont>
    <p:embeddedFont>
      <p:font typeface="Avenir Next LT Pro" panose="020B0504020202020204" pitchFamily="34" charset="0"/>
      <p:regular r:id="rId52"/>
      <p:bold r:id="rId53"/>
      <p:italic r:id="rId54"/>
      <p:boldItalic r:id="rId55"/>
    </p:embeddedFont>
  </p:embeddedFontLst>
  <p:custDataLst>
    <p:tags r:id="rId56"/>
  </p:custDataLst>
  <p:defaultTex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E9C3829F-2C56-4915-AA34-5F93EE359221}">
          <p14:sldIdLst>
            <p14:sldId id="2147469187"/>
            <p14:sldId id="2147479002"/>
            <p14:sldId id="2147479003"/>
            <p14:sldId id="2147469782"/>
            <p14:sldId id="2147478384"/>
            <p14:sldId id="2147480181"/>
            <p14:sldId id="2147479425"/>
            <p14:sldId id="2147480329"/>
            <p14:sldId id="2147480332"/>
            <p14:sldId id="2147480334"/>
            <p14:sldId id="2147480335"/>
            <p14:sldId id="2147480336"/>
          </p14:sldIdLst>
        </p14:section>
        <p14:section name="Default Section" id="{5DD581F7-DFE2-364B-BD4B-41A6D6ACDB92}">
          <p14:sldIdLst>
            <p14:sldId id="2147480348"/>
            <p14:sldId id="2147480350"/>
            <p14:sldId id="2147480351"/>
            <p14:sldId id="2147480362"/>
            <p14:sldId id="2147480363"/>
            <p14:sldId id="2147480364"/>
            <p14:sldId id="2147480365"/>
            <p14:sldId id="2147480366"/>
            <p14:sldId id="2147480367"/>
            <p14:sldId id="2147480368"/>
            <p14:sldId id="2147480369"/>
            <p14:sldId id="2147480370"/>
            <p14:sldId id="2147480371"/>
            <p14:sldId id="2147480372"/>
            <p14:sldId id="214746919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EF6805-F9CF-85E2-1B6C-FACB6E976029}" name="Steve Mellgren" initials="SM" userId="S::Steve.Mellgren@sas.com::50083340-7533-41b6-90a2-25ffa6d94cc9" providerId="AD"/>
  <p188:author id="{4B708D14-BD54-920F-18BB-8395E60AE589}" name="Alice McClure" initials="AM" userId="S::alice.mcclure@sas.com::6210c489-566a-4639-8da1-84bcfd842f43" providerId="AD"/>
  <p188:author id="{6DFEA739-C4EE-3CDE-94E6-A95954A908DE}" name="Tine Haaber" initials="TH" userId="S::Tine.Haaber@SAS.COM::b28dffea-6139-4081-9090-e82e8f843744" providerId="AD"/>
  <p188:author id="{79FA96A4-92BD-E43B-B45E-766FCACED188}" name="Augusta Zhang" initials="AZ" userId="S::augusta.zhang@sas.com::d839fffd-6504-4ef8-86de-e7185f2ad60b" providerId="AD"/>
  <p188:author id="{98B375AA-54E0-C2A0-BC91-07DB54FCBD70}" name="Kristi Boyd" initials="KB" userId="S::kristi.boyd@sas.com::ed3120d6-47e8-435a-8e9b-c0e0f1758c79" providerId="AD"/>
  <p188:author id="{858478CF-F416-BE68-21A7-67BB36C979FF}" name="Vrushali Sawant" initials="VS" userId="S::vrushali.sawant@sas.com::17b9a24d-be2a-404e-836b-1c15097abfb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A3FF"/>
    <a:srgbClr val="E44397"/>
    <a:srgbClr val="9471FF"/>
    <a:srgbClr val="032E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914" autoAdjust="0"/>
    <p:restoredTop sz="74186" autoAdjust="0"/>
  </p:normalViewPr>
  <p:slideViewPr>
    <p:cSldViewPr snapToGrid="0">
      <p:cViewPr varScale="1">
        <p:scale>
          <a:sx n="39" d="100"/>
          <a:sy n="39" d="100"/>
        </p:scale>
        <p:origin x="1070" y="48"/>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handoutMaster" Target="handoutMasters/handout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font" Target="fonts/font3.fntdata"/><Relationship Id="rId47" Type="http://schemas.openxmlformats.org/officeDocument/2006/relationships/font" Target="fonts/font8.fntdata"/><Relationship Id="rId50" Type="http://schemas.openxmlformats.org/officeDocument/2006/relationships/font" Target="fonts/font11.fntdata"/><Relationship Id="rId55" Type="http://schemas.openxmlformats.org/officeDocument/2006/relationships/font" Target="fonts/font16.fntdata"/><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font" Target="fonts/font1.fntdata"/><Relationship Id="rId45" Type="http://schemas.openxmlformats.org/officeDocument/2006/relationships/font" Target="fonts/font6.fntdata"/><Relationship Id="rId53" Type="http://schemas.openxmlformats.org/officeDocument/2006/relationships/font" Target="fonts/font14.fntdata"/><Relationship Id="rId58" Type="http://schemas.openxmlformats.org/officeDocument/2006/relationships/viewProps" Target="viewProps.xml"/><Relationship Id="rId5" Type="http://schemas.openxmlformats.org/officeDocument/2006/relationships/slideMaster" Target="slideMasters/slideMaster1.xml"/><Relationship Id="rId61" Type="http://schemas.microsoft.com/office/2016/11/relationships/changesInfo" Target="changesInfos/changesInfo1.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font" Target="fonts/font4.fntdata"/><Relationship Id="rId48" Type="http://schemas.openxmlformats.org/officeDocument/2006/relationships/font" Target="fonts/font9.fntdata"/><Relationship Id="rId56" Type="http://schemas.openxmlformats.org/officeDocument/2006/relationships/tags" Target="tags/tag1.xml"/><Relationship Id="rId8" Type="http://schemas.openxmlformats.org/officeDocument/2006/relationships/slideMaster" Target="slideMasters/slideMaster4.xml"/><Relationship Id="rId51" Type="http://schemas.openxmlformats.org/officeDocument/2006/relationships/font" Target="fonts/font12.fntdata"/><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 Id="rId46" Type="http://schemas.openxmlformats.org/officeDocument/2006/relationships/font" Target="fonts/font7.fntdata"/><Relationship Id="rId59" Type="http://schemas.openxmlformats.org/officeDocument/2006/relationships/theme" Target="theme/theme1.xml"/><Relationship Id="rId20" Type="http://schemas.openxmlformats.org/officeDocument/2006/relationships/slide" Target="slides/slide10.xml"/><Relationship Id="rId41" Type="http://schemas.openxmlformats.org/officeDocument/2006/relationships/font" Target="fonts/font2.fntdata"/><Relationship Id="rId54" Type="http://schemas.openxmlformats.org/officeDocument/2006/relationships/font" Target="fonts/font15.fntdata"/><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10.fntdata"/><Relationship Id="rId57" Type="http://schemas.openxmlformats.org/officeDocument/2006/relationships/presProps" Target="presProps.xml"/><Relationship Id="rId10" Type="http://schemas.openxmlformats.org/officeDocument/2006/relationships/slideMaster" Target="slideMasters/slideMaster6.xml"/><Relationship Id="rId31" Type="http://schemas.openxmlformats.org/officeDocument/2006/relationships/slide" Target="slides/slide21.xml"/><Relationship Id="rId44" Type="http://schemas.openxmlformats.org/officeDocument/2006/relationships/font" Target="fonts/font5.fntdata"/><Relationship Id="rId52" Type="http://schemas.openxmlformats.org/officeDocument/2006/relationships/font" Target="fonts/font13.fntdata"/><Relationship Id="rId60"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drian Niga" userId="b551ed54-e676-4683-a0e0-31e1ba111a65" providerId="ADAL" clId="{62396CCA-6012-4AC2-9D1F-3ADDB0F354DA}"/>
    <pc:docChg chg="delSld modSection">
      <pc:chgData name="Adrian Niga" userId="b551ed54-e676-4683-a0e0-31e1ba111a65" providerId="ADAL" clId="{62396CCA-6012-4AC2-9D1F-3ADDB0F354DA}" dt="2024-10-15T09:35:20.504" v="0" actId="47"/>
      <pc:docMkLst>
        <pc:docMk/>
      </pc:docMkLst>
      <pc:sldChg chg="del">
        <pc:chgData name="Adrian Niga" userId="b551ed54-e676-4683-a0e0-31e1ba111a65" providerId="ADAL" clId="{62396CCA-6012-4AC2-9D1F-3ADDB0F354DA}" dt="2024-10-15T09:35:20.504" v="0" actId="47"/>
        <pc:sldMkLst>
          <pc:docMk/>
          <pc:sldMk cId="3165054560" sldId="2147477494"/>
        </pc:sldMkLst>
      </pc:sldChg>
    </pc:docChg>
  </pc:docChgLst>
</pc:chgInfo>
</file>

<file path=ppt/handoutMasters/_rels/handout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ags" Target="../tags/tag73.xml"/><Relationship Id="rId1" Type="http://schemas.openxmlformats.org/officeDocument/2006/relationships/theme" Target="../theme/theme8.xml"/><Relationship Id="rId4" Type="http://schemas.openxmlformats.org/officeDocument/2006/relationships/image" Target="../media/image2.svg"/></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01A56FA-0DF4-15B7-A216-DB01CF5CEB6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5CE34E3-7E5C-436A-9E6D-2FFC8FFCFCBF}" type="datetimeFigureOut">
              <a:rPr lang="en-US" smtClean="0">
                <a:latin typeface="Anova Light" panose="020B0403020203020204" pitchFamily="34" charset="0"/>
              </a:rPr>
              <a:t>10/15/2024</a:t>
            </a:fld>
            <a:endParaRPr lang="en-US">
              <a:latin typeface="Anova Light" panose="020B0403020203020204" pitchFamily="34" charset="0"/>
            </a:endParaRPr>
          </a:p>
        </p:txBody>
      </p:sp>
      <p:sp>
        <p:nvSpPr>
          <p:cNvPr id="5" name="Slide Number Placeholder 4">
            <a:extLst>
              <a:ext uri="{FF2B5EF4-FFF2-40B4-BE49-F238E27FC236}">
                <a16:creationId xmlns:a16="http://schemas.microsoft.com/office/drawing/2014/main" id="{BA52EC1A-046B-DC8F-4AAC-4BB03667CCC0}"/>
              </a:ext>
            </a:extLst>
          </p:cNvPr>
          <p:cNvSpPr>
            <a:spLocks noGrp="1"/>
          </p:cNvSpPr>
          <p:nvPr>
            <p:ph type="sldNum" sz="quarter" idx="3"/>
          </p:nvPr>
        </p:nvSpPr>
        <p:spPr>
          <a:xfrm>
            <a:off x="0" y="0"/>
            <a:ext cx="2971800" cy="458787"/>
          </a:xfrm>
          <a:prstGeom prst="rect">
            <a:avLst/>
          </a:prstGeom>
        </p:spPr>
        <p:txBody>
          <a:bodyPr vert="horz" lIns="91440" tIns="45720" rIns="91440" bIns="45720" rtlCol="0" anchor="b"/>
          <a:lstStyle>
            <a:lvl1pPr algn="r">
              <a:defRPr sz="1200"/>
            </a:lvl1pPr>
          </a:lstStyle>
          <a:p>
            <a:pPr algn="l"/>
            <a:fld id="{C4EF46A2-9381-4C51-8277-3C7F2938E9F9}" type="slidenum">
              <a:rPr lang="en-US" smtClean="0">
                <a:latin typeface="Anova Light" panose="020B0403020203020204" pitchFamily="34" charset="0"/>
              </a:rPr>
              <a:pPr algn="l"/>
              <a:t>‹#›</a:t>
            </a:fld>
            <a:endParaRPr lang="en-US">
              <a:latin typeface="Anova Light" panose="020B0403020203020204" pitchFamily="34" charset="0"/>
            </a:endParaRPr>
          </a:p>
        </p:txBody>
      </p:sp>
      <p:sp>
        <p:nvSpPr>
          <p:cNvPr id="2" name="TextBox 4">
            <a:extLst>
              <a:ext uri="{FF2B5EF4-FFF2-40B4-BE49-F238E27FC236}">
                <a16:creationId xmlns:a16="http://schemas.microsoft.com/office/drawing/2014/main" id="{7A8A3785-BF0E-6C8B-8B7B-0521D7696A29}"/>
              </a:ext>
            </a:extLst>
          </p:cNvPr>
          <p:cNvSpPr txBox="1"/>
          <p:nvPr/>
        </p:nvSpPr>
        <p:spPr>
          <a:xfrm>
            <a:off x="685800" y="8879554"/>
            <a:ext cx="2514600" cy="169277"/>
          </a:xfrm>
          <a:prstGeom prst="rect">
            <a:avLst/>
          </a:prstGeom>
          <a:noFill/>
        </p:spPr>
        <p:txBody>
          <a:bodyPr wrap="square" lIns="0" anchor="b" anchorCtr="0">
            <a:spAutoFit/>
          </a:bodyPr>
          <a:lstStyle/>
          <a:p>
            <a:pPr marL="0" marR="0" lvl="0" indent="0" algn="l"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accent5">
                    <a:lumMod val="60000"/>
                    <a:lumOff val="4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4" name="Picture 6">
            <a:extLst>
              <a:ext uri="{FF2B5EF4-FFF2-40B4-BE49-F238E27FC236}">
                <a16:creationId xmlns:a16="http://schemas.microsoft.com/office/drawing/2014/main" id="{3F6C63C1-B02C-0586-DDA1-7B0EB003F6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5992336" y="8788172"/>
            <a:ext cx="627951" cy="260659"/>
          </a:xfrm>
          <a:prstGeom prst="rect">
            <a:avLst/>
          </a:prstGeom>
        </p:spPr>
      </p:pic>
      <p:sp>
        <p:nvSpPr>
          <p:cNvPr id="6" name="TextBox 2">
            <a:extLst>
              <a:ext uri="{FF2B5EF4-FFF2-40B4-BE49-F238E27FC236}">
                <a16:creationId xmlns:a16="http://schemas.microsoft.com/office/drawing/2014/main" id="{FDEF6B2A-6211-F846-C47F-DC10CAA8C891}"/>
              </a:ext>
            </a:extLst>
          </p:cNvPr>
          <p:cNvSpPr txBox="1"/>
          <p:nvPr/>
        </p:nvSpPr>
        <p:spPr>
          <a:xfrm>
            <a:off x="2493335" y="8732520"/>
            <a:ext cx="1871330" cy="215444"/>
          </a:xfrm>
          <a:prstGeom prst="rect">
            <a:avLst/>
          </a:prstGeom>
          <a:noFill/>
        </p:spPr>
        <p:txBody>
          <a:bodyPr wrap="square" rtlCol="0" anchor="ctr">
            <a:spAutoFit/>
          </a:bodyPr>
          <a:lstStyle/>
          <a:p>
            <a:pPr algn="ctr" defTabSz="182880"/>
            <a:r>
              <a:rPr lang="en-US" sz="800">
                <a:solidFill>
                  <a:schemeClr val="accent4"/>
                </a:solidFill>
                <a:latin typeface="Anova Light" panose="020B0403020203020204" pitchFamily="34" charset="0"/>
              </a:rPr>
              <a:t>sas.com</a:t>
            </a:r>
          </a:p>
        </p:txBody>
      </p:sp>
    </p:spTree>
    <p:custDataLst>
      <p:tags r:id="rId2"/>
    </p:custDataLst>
    <p:extLst>
      <p:ext uri="{BB962C8B-B14F-4D97-AF65-F5344CB8AC3E}">
        <p14:creationId xmlns:p14="http://schemas.microsoft.com/office/powerpoint/2010/main" val="262689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solidFill>
                  <a:schemeClr val="tx1"/>
                </a:solidFill>
                <a:latin typeface="Anova Light" panose="020B0403020203020204" pitchFamily="34" charset="0"/>
              </a:defRPr>
            </a:lvl1pPr>
          </a:lstStyle>
          <a:p>
            <a:fld id="{D46682E9-A1D3-F04F-A14F-ABAA4D2618F2}" type="datetimeFigureOut">
              <a:rPr lang="en-US" smtClean="0"/>
              <a:pPr/>
              <a:t>10/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4">
            <a:extLst>
              <a:ext uri="{FF2B5EF4-FFF2-40B4-BE49-F238E27FC236}">
                <a16:creationId xmlns:a16="http://schemas.microsoft.com/office/drawing/2014/main" id="{CFAEC8D7-15A6-6F9F-E0B7-CB248431A52A}"/>
              </a:ext>
            </a:extLst>
          </p:cNvPr>
          <p:cNvSpPr txBox="1"/>
          <p:nvPr/>
        </p:nvSpPr>
        <p:spPr>
          <a:xfrm>
            <a:off x="685800" y="8879554"/>
            <a:ext cx="2514600" cy="169277"/>
          </a:xfrm>
          <a:prstGeom prst="rect">
            <a:avLst/>
          </a:prstGeom>
          <a:noFill/>
        </p:spPr>
        <p:txBody>
          <a:bodyPr wrap="square" lIns="0" anchor="b" anchorCtr="0">
            <a:spAutoFit/>
          </a:bodyPr>
          <a:lstStyle/>
          <a:p>
            <a:pPr marL="0" marR="0" lvl="0" indent="0" algn="l" defTabSz="274313" rtl="0" eaLnBrk="0" fontAlgn="auto" latinLnBrk="0" hangingPunct="0">
              <a:lnSpc>
                <a:spcPct val="100000"/>
              </a:lnSpc>
              <a:spcBef>
                <a:spcPts val="0"/>
              </a:spcBef>
              <a:spcAft>
                <a:spcPts val="0"/>
              </a:spcAft>
              <a:buClrTx/>
              <a:buSzTx/>
              <a:buFontTx/>
              <a:buNone/>
              <a:tabLst/>
              <a:defRPr/>
            </a:pPr>
            <a:r>
              <a:rPr kumimoji="0" lang="en-US" sz="500" b="0" i="0" u="none" strike="noStrike" kern="300" cap="none" spc="50" normalizeH="0" baseline="0" noProof="0">
                <a:ln>
                  <a:noFill/>
                </a:ln>
                <a:solidFill>
                  <a:schemeClr val="accent5">
                    <a:lumMod val="60000"/>
                    <a:lumOff val="4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Slide Number Placeholder 4">
            <a:extLst>
              <a:ext uri="{FF2B5EF4-FFF2-40B4-BE49-F238E27FC236}">
                <a16:creationId xmlns:a16="http://schemas.microsoft.com/office/drawing/2014/main" id="{9DE3AD8C-AE96-943C-8DAF-3D5594863A36}"/>
              </a:ext>
            </a:extLst>
          </p:cNvPr>
          <p:cNvSpPr>
            <a:spLocks noGrp="1"/>
          </p:cNvSpPr>
          <p:nvPr>
            <p:ph type="sldNum" sz="quarter" idx="5"/>
          </p:nvPr>
        </p:nvSpPr>
        <p:spPr>
          <a:xfrm>
            <a:off x="0" y="0"/>
            <a:ext cx="2971800" cy="458787"/>
          </a:xfrm>
          <a:prstGeom prst="rect">
            <a:avLst/>
          </a:prstGeom>
        </p:spPr>
        <p:txBody>
          <a:bodyPr vert="horz" lIns="91440" tIns="45720" rIns="91440" bIns="45720" rtlCol="0" anchor="b"/>
          <a:lstStyle>
            <a:lvl1pPr algn="r">
              <a:defRPr sz="1200" b="0" i="0">
                <a:solidFill>
                  <a:schemeClr val="tx1"/>
                </a:solidFill>
                <a:latin typeface="Anova Light" panose="020B0403020203020204" pitchFamily="34" charset="0"/>
              </a:defRPr>
            </a:lvl1pPr>
          </a:lstStyle>
          <a:p>
            <a:pPr algn="l"/>
            <a:fld id="{C4EF46A2-9381-4C51-8277-3C7F2938E9F9}" type="slidenum">
              <a:rPr lang="en-US" smtClean="0"/>
              <a:pPr algn="l"/>
              <a:t>‹#›</a:t>
            </a:fld>
            <a:endParaRPr lang="en-US"/>
          </a:p>
        </p:txBody>
      </p:sp>
      <p:pic>
        <p:nvPicPr>
          <p:cNvPr id="2" name="Picture 6">
            <a:extLst>
              <a:ext uri="{FF2B5EF4-FFF2-40B4-BE49-F238E27FC236}">
                <a16:creationId xmlns:a16="http://schemas.microsoft.com/office/drawing/2014/main" id="{D7A2D390-EEAD-C632-F276-85D15BA57F0E}"/>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5992336" y="8788172"/>
            <a:ext cx="627951" cy="260659"/>
          </a:xfrm>
          <a:prstGeom prst="rect">
            <a:avLst/>
          </a:prstGeom>
        </p:spPr>
      </p:pic>
      <p:sp>
        <p:nvSpPr>
          <p:cNvPr id="6" name="TextBox 2">
            <a:extLst>
              <a:ext uri="{FF2B5EF4-FFF2-40B4-BE49-F238E27FC236}">
                <a16:creationId xmlns:a16="http://schemas.microsoft.com/office/drawing/2014/main" id="{F607DE50-086C-7432-5C71-ADF401D86D53}"/>
              </a:ext>
            </a:extLst>
          </p:cNvPr>
          <p:cNvSpPr txBox="1"/>
          <p:nvPr/>
        </p:nvSpPr>
        <p:spPr>
          <a:xfrm>
            <a:off x="2493335" y="8732520"/>
            <a:ext cx="1871330" cy="215444"/>
          </a:xfrm>
          <a:prstGeom prst="rect">
            <a:avLst/>
          </a:prstGeom>
          <a:noFill/>
        </p:spPr>
        <p:txBody>
          <a:bodyPr wrap="square" rtlCol="0" anchor="ctr">
            <a:spAutoFit/>
          </a:bodyPr>
          <a:lstStyle/>
          <a:p>
            <a:pPr algn="ctr" defTabSz="182880"/>
            <a:r>
              <a:rPr lang="en-US" sz="800">
                <a:solidFill>
                  <a:schemeClr val="tx1"/>
                </a:solidFill>
                <a:latin typeface="Anova Light" panose="020B0403020203020204" pitchFamily="34" charset="0"/>
              </a:rPr>
              <a:t>sas.com</a:t>
            </a:r>
          </a:p>
        </p:txBody>
      </p:sp>
    </p:spTree>
    <p:extLst>
      <p:ext uri="{BB962C8B-B14F-4D97-AF65-F5344CB8AC3E}">
        <p14:creationId xmlns:p14="http://schemas.microsoft.com/office/powerpoint/2010/main" val="3625376775"/>
      </p:ext>
    </p:extLst>
  </p:cSld>
  <p:clrMap bg1="lt1" tx1="dk1" bg2="lt2" tx2="dk2" accent1="accent1" accent2="accent2" accent3="accent3" accent4="accent4" accent5="accent5" accent6="accent6" hlink="hlink" folHlink="folHlink"/>
  <p:notesStyle>
    <a:lvl1pPr marL="342900" indent="-342900" algn="l" defTabSz="1828800" rtl="0" eaLnBrk="1" latinLnBrk="0" hangingPunct="1">
      <a:buClr>
        <a:schemeClr val="accent5"/>
      </a:buClr>
      <a:buFont typeface="Anova Light" panose="020B0403020203020204" pitchFamily="34" charset="0"/>
      <a:buChar char="•"/>
      <a:defRPr sz="2400" b="0" i="0" kern="1200">
        <a:solidFill>
          <a:schemeClr val="tx1"/>
        </a:solidFill>
        <a:latin typeface="+mn-lt"/>
        <a:ea typeface="+mn-ea"/>
        <a:cs typeface="+mn-cs"/>
      </a:defRPr>
    </a:lvl1pPr>
    <a:lvl2pPr marL="1257300" indent="-342900" algn="l" defTabSz="1828800" rtl="0" eaLnBrk="1" latinLnBrk="0" hangingPunct="1">
      <a:buClr>
        <a:schemeClr val="accent5"/>
      </a:buClr>
      <a:buFont typeface="Anova Light" panose="020B0403020203020204" pitchFamily="34" charset="0"/>
      <a:buChar char="–"/>
      <a:defRPr sz="2000" b="0" i="0" kern="1200">
        <a:solidFill>
          <a:schemeClr val="tx1"/>
        </a:solidFill>
        <a:latin typeface="+mn-lt"/>
        <a:ea typeface="+mn-ea"/>
        <a:cs typeface="+mn-cs"/>
      </a:defRPr>
    </a:lvl2pPr>
    <a:lvl3pPr marL="2171700" indent="-342900" algn="l" defTabSz="1828800" rtl="0" eaLnBrk="1" latinLnBrk="0" hangingPunct="1">
      <a:buClr>
        <a:schemeClr val="accent5"/>
      </a:buClr>
      <a:buFont typeface="Anova Light" panose="020B0403020203020204" pitchFamily="34" charset="0"/>
      <a:buChar char="•"/>
      <a:defRPr sz="1800" b="0" i="0" kern="1200">
        <a:solidFill>
          <a:schemeClr val="tx1"/>
        </a:solidFill>
        <a:latin typeface="+mn-lt"/>
        <a:ea typeface="+mn-ea"/>
        <a:cs typeface="+mn-cs"/>
      </a:defRPr>
    </a:lvl3pPr>
    <a:lvl4pPr marL="3086100" indent="-342900" algn="l" defTabSz="1828800" rtl="0" eaLnBrk="1" latinLnBrk="0" hangingPunct="1">
      <a:buClr>
        <a:schemeClr val="accent5"/>
      </a:buClr>
      <a:buFont typeface="Anova Light" panose="020B0403020203020204" pitchFamily="34" charset="0"/>
      <a:buChar char="–"/>
      <a:defRPr sz="1600" b="0" i="0" kern="1200">
        <a:solidFill>
          <a:schemeClr val="tx1"/>
        </a:solidFill>
        <a:latin typeface="+mn-lt"/>
        <a:ea typeface="+mn-ea"/>
        <a:cs typeface="+mn-cs"/>
      </a:defRPr>
    </a:lvl4pPr>
    <a:lvl5pPr marL="4000500" indent="-342900" algn="l" defTabSz="1828800" rtl="0" eaLnBrk="1" latinLnBrk="0" hangingPunct="1">
      <a:buClr>
        <a:schemeClr val="accent5"/>
      </a:buClr>
      <a:buFont typeface="Anova Light" panose="020B0403020203020204" pitchFamily="34" charset="0"/>
      <a:buChar char="•"/>
      <a:defRPr sz="1400" b="0" i="0" kern="1200">
        <a:solidFill>
          <a:schemeClr val="tx1"/>
        </a:solidFill>
        <a:latin typeface="+mn-lt"/>
        <a:ea typeface="+mn-ea"/>
        <a:cs typeface="+mn-cs"/>
      </a:defRPr>
    </a:lvl5pPr>
    <a:lvl6pPr marL="4572000" algn="l" defTabSz="1828800" rtl="0" eaLnBrk="1" latinLnBrk="0" hangingPunct="1">
      <a:defRPr sz="2400" kern="1200">
        <a:solidFill>
          <a:schemeClr val="tx1"/>
        </a:solidFill>
        <a:latin typeface="+mn-lt"/>
        <a:ea typeface="+mn-ea"/>
        <a:cs typeface="+mn-cs"/>
      </a:defRPr>
    </a:lvl6pPr>
    <a:lvl7pPr marL="5486400" algn="l" defTabSz="1828800" rtl="0" eaLnBrk="1" latinLnBrk="0" hangingPunct="1">
      <a:defRPr sz="2400" kern="1200">
        <a:solidFill>
          <a:schemeClr val="tx1"/>
        </a:solidFill>
        <a:latin typeface="+mn-lt"/>
        <a:ea typeface="+mn-ea"/>
        <a:cs typeface="+mn-cs"/>
      </a:defRPr>
    </a:lvl7pPr>
    <a:lvl8pPr marL="6400800" algn="l" defTabSz="1828800" rtl="0" eaLnBrk="1" latinLnBrk="0" hangingPunct="1">
      <a:defRPr sz="2400" kern="1200">
        <a:solidFill>
          <a:schemeClr val="tx1"/>
        </a:solidFill>
        <a:latin typeface="+mn-lt"/>
        <a:ea typeface="+mn-ea"/>
        <a:cs typeface="+mn-cs"/>
      </a:defRPr>
    </a:lvl8pPr>
    <a:lvl9pPr marL="7315200" algn="l" defTabSz="1828800" rtl="0" eaLnBrk="1" latinLnBrk="0" hangingPunct="1">
      <a:defRPr sz="2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a:t>
            </a:fld>
            <a:endParaRPr lang="en-US"/>
          </a:p>
        </p:txBody>
      </p:sp>
    </p:spTree>
    <p:extLst>
      <p:ext uri="{BB962C8B-B14F-4D97-AF65-F5344CB8AC3E}">
        <p14:creationId xmlns:p14="http://schemas.microsoft.com/office/powerpoint/2010/main" val="27606278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 bank has complaints from different channels like web page, email, text, phone calls … and they were already using existing solutions to do some sort of management of the complaints but wanted additional capabilities. </a:t>
            </a: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7</a:t>
            </a:fld>
            <a:endParaRPr lang="en-US"/>
          </a:p>
        </p:txBody>
      </p:sp>
    </p:spTree>
    <p:extLst>
      <p:ext uri="{BB962C8B-B14F-4D97-AF65-F5344CB8AC3E}">
        <p14:creationId xmlns:p14="http://schemas.microsoft.com/office/powerpoint/2010/main" val="3019801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a:spcBef>
                <a:spcPts val="0"/>
              </a:spcBef>
              <a:spcAft>
                <a:spcPts val="0"/>
              </a:spcAft>
            </a:pPr>
            <a:r>
              <a:rPr lang="en-US" sz="2400" kern="100" dirty="0">
                <a:solidFill>
                  <a:srgbClr val="FF0000"/>
                </a:solidFill>
                <a:effectLst/>
                <a:latin typeface="Calibri" panose="020F0502020204030204" pitchFamily="34" charset="0"/>
                <a:ea typeface="Aptos" panose="020B0004020202020204" pitchFamily="34" charset="0"/>
                <a:cs typeface="Calibri" panose="020F0502020204030204" pitchFamily="34" charset="0"/>
              </a:rPr>
              <a:t>Specifically:</a:t>
            </a:r>
          </a:p>
          <a:p>
            <a:pPr marL="457200" marR="0">
              <a:spcBef>
                <a:spcPts val="0"/>
              </a:spcBef>
              <a:spcAft>
                <a:spcPts val="0"/>
              </a:spcAft>
            </a:pPr>
            <a:r>
              <a:rPr lang="en-US"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y wanted to be able to </a:t>
            </a:r>
            <a:r>
              <a:rPr lang="en-US" sz="2400" b="1"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mmarise</a:t>
            </a:r>
            <a:r>
              <a:rPr lang="en-US"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conversations that had taken place over several contact episodes</a:t>
            </a: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so that a new operator could quickly catch up with and understand the situation without the customer having to tell their whole story again.</a:t>
            </a:r>
          </a:p>
          <a:p>
            <a:pPr marL="4572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y wanted to automatically generate a reply to the customer</a:t>
            </a: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t>
            </a:r>
            <a:endParaRPr lang="en-US" dirty="0"/>
          </a:p>
          <a:p>
            <a:pPr marL="457200" marR="0">
              <a:spcBef>
                <a:spcPts val="0"/>
              </a:spcBef>
              <a:spcAft>
                <a:spcPts val="0"/>
              </a:spcAft>
            </a:pPr>
            <a:r>
              <a:rPr lang="en-US" sz="2400" b="1"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y wanted the complaints handler to review the reply before sending it</a:t>
            </a: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to ensure that it was appropriate. </a:t>
            </a: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457200" marR="0">
              <a:spcBef>
                <a:spcPts val="0"/>
              </a:spcBef>
              <a:spcAft>
                <a:spcPts val="0"/>
              </a:spcAft>
            </a:pPr>
            <a:endParaRPr lang="en-US" sz="2400" kern="100" dirty="0">
              <a:effectLst/>
              <a:latin typeface="Calibri" panose="020F0502020204030204" pitchFamily="34" charset="0"/>
              <a:ea typeface="Aptos" panose="020B0004020202020204" pitchFamily="34" charset="0"/>
              <a:cs typeface="Calibri" panose="020F0502020204030204" pitchFamily="34" charset="0"/>
            </a:endParaRPr>
          </a:p>
          <a:p>
            <a:endParaRPr lang="en-US" dirty="0"/>
          </a:p>
          <a:p>
            <a:pPr marL="457200" marR="0">
              <a:spcBef>
                <a:spcPts val="0"/>
              </a:spcBef>
              <a:spcAft>
                <a:spcPts val="0"/>
              </a:spcAft>
            </a:pPr>
            <a:endParaRPr lang="en-US" sz="2400" kern="100" dirty="0">
              <a:effectLst/>
              <a:latin typeface="Calibri" panose="020F0502020204030204" pitchFamily="34" charset="0"/>
              <a:ea typeface="Aptos" panose="020B0004020202020204" pitchFamily="34" charset="0"/>
              <a:cs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8</a:t>
            </a:fld>
            <a:endParaRPr lang="en-US"/>
          </a:p>
        </p:txBody>
      </p:sp>
    </p:spTree>
    <p:extLst>
      <p:ext uri="{BB962C8B-B14F-4D97-AF65-F5344CB8AC3E}">
        <p14:creationId xmlns:p14="http://schemas.microsoft.com/office/powerpoint/2010/main" val="23975252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itchFamily="2" charset="2"/>
              <a:buChar char=""/>
            </a:pPr>
            <a:r>
              <a:rPr lang="en-US" sz="2400" kern="100" dirty="0">
                <a:solidFill>
                  <a:srgbClr val="FF0000"/>
                </a:solidFill>
                <a:effectLst/>
                <a:latin typeface="Calibri" panose="020F0502020204030204" pitchFamily="34" charset="0"/>
                <a:ea typeface="Aptos" panose="020B0004020202020204" pitchFamily="34" charset="0"/>
                <a:cs typeface="Calibri" panose="020F0502020204030204" pitchFamily="34" charset="0"/>
              </a:rPr>
              <a:t>And they wanted to use LLMs! </a:t>
            </a:r>
          </a:p>
          <a:p>
            <a:pPr marL="342900" marR="0" lvl="0" indent="-342900" algn="l" defTabSz="1828800" rtl="0" eaLnBrk="1" fontAlgn="auto" latinLnBrk="0" hangingPunct="1">
              <a:lnSpc>
                <a:spcPct val="100000"/>
              </a:lnSpc>
              <a:spcBef>
                <a:spcPts val="0"/>
              </a:spcBef>
              <a:spcAft>
                <a:spcPts val="0"/>
              </a:spcAft>
              <a:buClr>
                <a:schemeClr val="accent5"/>
              </a:buClr>
              <a:buSzTx/>
              <a:buFont typeface="Symbol" pitchFamily="2" charset="2"/>
              <a:buChar char=""/>
              <a:tabLst/>
              <a:defRPr/>
            </a:pPr>
            <a:r>
              <a:rPr lang="en-US" sz="2400" dirty="0">
                <a:effectLst/>
                <a:latin typeface="Times New Roman" panose="02020603050405020304" pitchFamily="18" charset="0"/>
                <a:ea typeface="Times New Roman" panose="02020603050405020304" pitchFamily="18" charset="0"/>
              </a:rPr>
              <a:t>this is typically the 90% of the conversation today with organizations. they already have some sort of systems in place that do some basic or complex analytics, there might be some degree of automation. </a:t>
            </a:r>
          </a:p>
          <a:p>
            <a:pPr marL="342900" marR="0" lvl="0" indent="-342900" algn="l" defTabSz="1828800" rtl="0" eaLnBrk="1" fontAlgn="auto" latinLnBrk="0" hangingPunct="1">
              <a:lnSpc>
                <a:spcPct val="100000"/>
              </a:lnSpc>
              <a:spcBef>
                <a:spcPts val="0"/>
              </a:spcBef>
              <a:spcAft>
                <a:spcPts val="0"/>
              </a:spcAft>
              <a:buClr>
                <a:schemeClr val="accent5"/>
              </a:buClr>
              <a:buSzTx/>
              <a:buFont typeface="Symbol" pitchFamily="2" charset="2"/>
              <a:buChar char=""/>
              <a:tabLst/>
              <a:defRPr/>
            </a:pPr>
            <a:r>
              <a:rPr lang="en-US" sz="2400" dirty="0">
                <a:effectLst/>
                <a:latin typeface="Times New Roman" panose="02020603050405020304" pitchFamily="18" charset="0"/>
                <a:ea typeface="Times New Roman" panose="02020603050405020304" pitchFamily="18" charset="0"/>
              </a:rPr>
              <a:t>And they are wondering how do I use LLMs to make all this better and faster?</a:t>
            </a:r>
          </a:p>
          <a:p>
            <a:pPr marL="342900" marR="0" lvl="0" indent="-342900">
              <a:spcBef>
                <a:spcPts val="0"/>
              </a:spcBef>
              <a:spcAft>
                <a:spcPts val="0"/>
              </a:spcAft>
              <a:buFont typeface="Symbol" pitchFamily="2" charset="2"/>
              <a:buChar char=""/>
            </a:pPr>
            <a:endParaRPr lang="en-US" sz="2400" kern="100" dirty="0">
              <a:effectLst/>
              <a:latin typeface="Calibri" panose="020F0502020204030204" pitchFamily="34" charset="0"/>
              <a:ea typeface="Aptos" panose="020B0004020202020204" pitchFamily="34" charset="0"/>
              <a:cs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9</a:t>
            </a:fld>
            <a:endParaRPr lang="en-US"/>
          </a:p>
        </p:txBody>
      </p:sp>
    </p:spTree>
    <p:extLst>
      <p:ext uri="{BB962C8B-B14F-4D97-AF65-F5344CB8AC3E}">
        <p14:creationId xmlns:p14="http://schemas.microsoft.com/office/powerpoint/2010/main" val="353350207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3200" kern="100"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we have all come to the realization that LLMs alone do not solve business tasks. </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32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Generative AI is nothing more than a feature that can augment businesses’ existing processes and make them faster.</a:t>
            </a:r>
            <a:endParaRPr lang="en-US" sz="3200" kern="100"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dirty="0">
                <a:effectLst/>
                <a:latin typeface="Times New Roman" panose="02020603050405020304" pitchFamily="18" charset="0"/>
                <a:ea typeface="Times New Roman" panose="02020603050405020304" pitchFamily="18" charset="0"/>
              </a:rPr>
              <a:t>But to get there, you need systems and technology that integrates LLMs with your existing processes and you need developers and engineers to maintain and govern them.</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dirty="0">
                <a:effectLst/>
                <a:latin typeface="Times New Roman" panose="02020603050405020304" pitchFamily="18" charset="0"/>
                <a:ea typeface="Times New Roman" panose="02020603050405020304" pitchFamily="18" charset="0"/>
              </a:rPr>
              <a:t>SAS Viya is helping with exactly doing just this..</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2400" kern="100" dirty="0">
                <a:solidFill>
                  <a:srgbClr val="FF0000"/>
                </a:solidFill>
                <a:effectLst/>
                <a:latin typeface="Calibri" panose="020F0502020204030204" pitchFamily="34" charset="0"/>
                <a:ea typeface="Aptos" panose="020B0004020202020204" pitchFamily="34" charset="0"/>
                <a:cs typeface="Calibri" panose="020F0502020204030204" pitchFamily="34" charset="0"/>
              </a:rPr>
              <a:t>Here is how we applied it to this use case</a:t>
            </a:r>
            <a:endParaRPr lang="en-US" sz="2400" dirty="0">
              <a:effectLst/>
              <a:latin typeface="Times New Roman" panose="02020603050405020304" pitchFamily="18" charset="0"/>
              <a:ea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0</a:t>
            </a:fld>
            <a:endParaRPr lang="en-US"/>
          </a:p>
        </p:txBody>
      </p:sp>
    </p:spTree>
    <p:extLst>
      <p:ext uri="{BB962C8B-B14F-4D97-AF65-F5344CB8AC3E}">
        <p14:creationId xmlns:p14="http://schemas.microsoft.com/office/powerpoint/2010/main" val="12838582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fontAlgn="base">
              <a:lnSpc>
                <a:spcPct val="107000"/>
              </a:lnSpc>
              <a:spcBef>
                <a:spcPts val="0"/>
              </a:spcBef>
              <a:spcAft>
                <a:spcPts val="0"/>
              </a:spcAft>
              <a:buSzPts val="1000"/>
              <a:buFont typeface="Symbol" panose="05050102010706020507" pitchFamily="18" charset="2"/>
              <a:buChar char=""/>
              <a:tabLst>
                <a:tab pos="457200" algn="l"/>
              </a:tabLs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Developers used SAS Viya to build a flow that, for each complaint, would send the full text of the complaint and any previous interactions is then sent to the LLM, which provides a summary. </a:t>
            </a:r>
          </a:p>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1</a:t>
            </a:fld>
            <a:endParaRPr lang="en-US"/>
          </a:p>
        </p:txBody>
      </p:sp>
    </p:spTree>
    <p:extLst>
      <p:ext uri="{BB962C8B-B14F-4D97-AF65-F5344CB8AC3E}">
        <p14:creationId xmlns:p14="http://schemas.microsoft.com/office/powerpoint/2010/main" val="12352155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Char char=""/>
              <a:tabLst>
                <a:tab pos="457200" algn="l"/>
              </a:tabLst>
              <a:defRPr/>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at summary is sent to SAS Viya, which uses natural language processing techniques to explain how the summary was generated, takes the customer information from the enterprise data base (such as customer churn probability, customer credit score, customer value), and uses a decisioning system to recommend a next best action. </a:t>
            </a:r>
          </a:p>
          <a:p>
            <a:pPr marL="342900" marR="0" lvl="0" indent="-34290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Char char=""/>
              <a:tabLst>
                <a:tab pos="457200" algn="l"/>
              </a:tabLst>
              <a:defRPr/>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All this information is then passed back to the LLM to generate a reply to the customer.  </a:t>
            </a: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Char char=""/>
              <a:tabLst>
                <a:tab pos="457200" algn="l"/>
              </a:tabLst>
              <a:defRPr/>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base">
              <a:lnSpc>
                <a:spcPct val="107000"/>
              </a:lnSpc>
              <a:spcBef>
                <a:spcPts val="0"/>
              </a:spcBef>
              <a:spcAft>
                <a:spcPts val="0"/>
              </a:spcAft>
              <a:buSzPts val="1000"/>
              <a:buFont typeface="Symbol" panose="05050102010706020507" pitchFamily="18" charset="2"/>
              <a:buChar char=""/>
              <a:tabLst>
                <a:tab pos="457200" algn="l"/>
              </a:tabLst>
            </a:pP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Char char=""/>
              <a:tabLst>
                <a:tab pos="457200" algn="l"/>
              </a:tabLst>
              <a:defRPr/>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base">
              <a:lnSpc>
                <a:spcPct val="107000"/>
              </a:lnSpc>
              <a:spcBef>
                <a:spcPts val="0"/>
              </a:spcBef>
              <a:spcAft>
                <a:spcPts val="0"/>
              </a:spcAft>
              <a:buSzPts val="1000"/>
              <a:buFont typeface="Symbol" panose="05050102010706020507" pitchFamily="18" charset="2"/>
              <a:buChar char=""/>
              <a:tabLst>
                <a:tab pos="457200" algn="l"/>
              </a:tabLst>
            </a:pP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2</a:t>
            </a:fld>
            <a:endParaRPr lang="en-US"/>
          </a:p>
        </p:txBody>
      </p:sp>
    </p:spTree>
    <p:extLst>
      <p:ext uri="{BB962C8B-B14F-4D97-AF65-F5344CB8AC3E}">
        <p14:creationId xmlns:p14="http://schemas.microsoft.com/office/powerpoint/2010/main" val="15482344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fontAlgn="base">
              <a:lnSpc>
                <a:spcPct val="107000"/>
              </a:lnSpc>
              <a:spcBef>
                <a:spcPts val="0"/>
              </a:spcBef>
              <a:spcAft>
                <a:spcPts val="0"/>
              </a:spcAft>
              <a:buSzPts val="1000"/>
              <a:buFont typeface="Courier New" panose="02070309020205020404" pitchFamily="49" charset="0"/>
              <a:buChar char="o"/>
              <a:tabLst>
                <a:tab pos="457200" algn="l"/>
              </a:tabLs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operator reviews that reply and can then send it to the customer if considered appropriate. </a:t>
            </a:r>
          </a:p>
          <a:p>
            <a:pPr marL="342900" marR="0" lvl="0" indent="-342900" fontAlgn="base">
              <a:lnSpc>
                <a:spcPct val="107000"/>
              </a:lnSpc>
              <a:spcBef>
                <a:spcPts val="0"/>
              </a:spcBef>
              <a:spcAft>
                <a:spcPts val="0"/>
              </a:spcAft>
              <a:buSzPts val="1000"/>
              <a:buFont typeface="Courier New" panose="02070309020205020404" pitchFamily="49" charset="0"/>
              <a:buChar char="o"/>
              <a:tabLst>
                <a:tab pos="457200" algn="l"/>
              </a:tabLst>
            </a:pPr>
            <a:r>
              <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Or the entire process can be automated based on the level of human in the loop necessary.</a:t>
            </a:r>
          </a:p>
          <a:p>
            <a:pPr marL="342900" marR="0" lvl="0" indent="-342900" fontAlgn="base">
              <a:lnSpc>
                <a:spcPct val="107000"/>
              </a:lnSpc>
              <a:spcBef>
                <a:spcPts val="0"/>
              </a:spcBef>
              <a:spcAft>
                <a:spcPts val="0"/>
              </a:spcAft>
              <a:buSzPts val="1000"/>
              <a:buFont typeface="Courier New" panose="02070309020205020404" pitchFamily="49" charset="0"/>
              <a:buChar char="o"/>
              <a:tabLst>
                <a:tab pos="457200" algn="l"/>
              </a:tabLs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w…</a:t>
            </a:r>
            <a:r>
              <a:rPr lang="en-US" sz="2400" b="1"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important thing to notice here is that of all the different tasks involved in this use cases, only 2 were handled by the LLM … </a:t>
            </a:r>
            <a:r>
              <a:rPr lang="en-US" sz="2400" b="1" u="sng" dirty="0" err="1">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ummarising</a:t>
            </a:r>
            <a:r>
              <a:rPr lang="en-US" sz="2400" b="1"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the complaints and generating a reply. The other important things like recommending the next best action, incorporating your customer information, orchestrating the full decision-making process are handled by </a:t>
            </a:r>
            <a:r>
              <a:rPr lang="en-US" sz="2400" b="1" i="1"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platform… Viya.</a:t>
            </a:r>
            <a:r>
              <a:rPr lang="en-US" sz="2400" b="1" u="sng"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a:t>
            </a:r>
            <a:endParaRPr lang="en-US" sz="2400" b="1" u="sng"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Char char=""/>
              <a:tabLst>
                <a:tab pos="457200" algn="l"/>
              </a:tabLst>
              <a:defRPr/>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pPr marL="342900" marR="0" lvl="0" indent="-342900" fontAlgn="base">
              <a:lnSpc>
                <a:spcPct val="107000"/>
              </a:lnSpc>
              <a:spcBef>
                <a:spcPts val="0"/>
              </a:spcBef>
              <a:spcAft>
                <a:spcPts val="0"/>
              </a:spcAft>
              <a:buSzPts val="1000"/>
              <a:buFont typeface="Symbol" panose="05050102010706020507" pitchFamily="18" charset="2"/>
              <a:buChar char=""/>
              <a:tabLst>
                <a:tab pos="457200" algn="l"/>
              </a:tabLst>
            </a:pPr>
            <a:endParaRPr lang="en-US" sz="16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3</a:t>
            </a:fld>
            <a:endParaRPr lang="en-US"/>
          </a:p>
        </p:txBody>
      </p:sp>
    </p:spTree>
    <p:extLst>
      <p:ext uri="{BB962C8B-B14F-4D97-AF65-F5344CB8AC3E}">
        <p14:creationId xmlns:p14="http://schemas.microsoft.com/office/powerpoint/2010/main" val="23606114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fontAlgn="base">
              <a:lnSpc>
                <a:spcPct val="107000"/>
              </a:lnSpc>
              <a:spcBef>
                <a:spcPts val="0"/>
              </a:spcBef>
              <a:spcAft>
                <a:spcPts val="0"/>
              </a:spcAft>
              <a:buSzPts val="1000"/>
              <a:buFont typeface="Courier New" panose="02070309020205020404" pitchFamily="49" charset="0"/>
              <a:buChar char="o"/>
              <a:tabLst>
                <a:tab pos="457200" algn="l"/>
              </a:tabLst>
            </a:pPr>
            <a:r>
              <a:rPr lang="en-US" sz="28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s is what we mean that Viya allows developers to Explain, Govern and Orchestrate LLMs integrating them with decisioning systems.</a:t>
            </a:r>
          </a:p>
          <a:p>
            <a:pPr marL="342900" marR="0" lvl="0" indent="-342900" algn="l" defTabSz="1828800" rtl="0" eaLnBrk="1" fontAlgn="base" latinLnBrk="0" hangingPunct="1">
              <a:lnSpc>
                <a:spcPct val="107000"/>
              </a:lnSpc>
              <a:spcBef>
                <a:spcPts val="0"/>
              </a:spcBef>
              <a:spcAft>
                <a:spcPts val="0"/>
              </a:spcAft>
              <a:buClr>
                <a:schemeClr val="accent5"/>
              </a:buClr>
              <a:buSzPts val="1000"/>
              <a:buFont typeface="Courier New" panose="02070309020205020404" pitchFamily="49" charset="0"/>
              <a:buChar char="o"/>
              <a:tabLst>
                <a:tab pos="457200" algn="l"/>
              </a:tabLst>
              <a:defRPr/>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Now, customer complaints in banking is just one of many application areas where this is leverage. </a:t>
            </a:r>
          </a:p>
          <a:p>
            <a:pPr marL="342900" marR="0" lvl="0" indent="-342900" algn="l" defTabSz="1828800" rtl="0" eaLnBrk="1" fontAlgn="base" latinLnBrk="0" hangingPunct="1">
              <a:lnSpc>
                <a:spcPct val="107000"/>
              </a:lnSpc>
              <a:spcBef>
                <a:spcPts val="0"/>
              </a:spcBef>
              <a:spcAft>
                <a:spcPts val="0"/>
              </a:spcAft>
              <a:buClr>
                <a:schemeClr val="accent5"/>
              </a:buClr>
              <a:buSzPts val="1000"/>
              <a:buFont typeface="Courier New" panose="02070309020205020404" pitchFamily="49" charset="0"/>
              <a:buChar char="o"/>
              <a:tabLst>
                <a:tab pos="457200" algn="l"/>
              </a:tabLst>
              <a:defRPr/>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ink of credit landing, other scenarios where you need to analyze documents and take an action on them. LLMs only won’t do it.</a:t>
            </a:r>
          </a:p>
          <a:p>
            <a:pPr marL="342900" marR="0" lvl="0" indent="-342900" fontAlgn="base">
              <a:lnSpc>
                <a:spcPct val="107000"/>
              </a:lnSpc>
              <a:spcBef>
                <a:spcPts val="0"/>
              </a:spcBef>
              <a:spcAft>
                <a:spcPts val="0"/>
              </a:spcAft>
              <a:buSzPts val="1000"/>
              <a:buFont typeface="Courier New" panose="02070309020205020404" pitchFamily="49" charset="0"/>
              <a:buChar char="o"/>
              <a:tabLst>
                <a:tab pos="457200" algn="l"/>
              </a:tabLst>
            </a:pPr>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4</a:t>
            </a:fld>
            <a:endParaRPr lang="en-US"/>
          </a:p>
        </p:txBody>
      </p:sp>
    </p:spTree>
    <p:extLst>
      <p:ext uri="{BB962C8B-B14F-4D97-AF65-F5344CB8AC3E}">
        <p14:creationId xmlns:p14="http://schemas.microsoft.com/office/powerpoint/2010/main" val="9387052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fontAlgn="base">
              <a:lnSpc>
                <a:spcPct val="107000"/>
              </a:lnSpc>
              <a:spcBef>
                <a:spcPts val="0"/>
              </a:spcBef>
              <a:spcAft>
                <a:spcPts val="0"/>
              </a:spcAft>
              <a:buSzPts val="1000"/>
              <a:buFont typeface="Symbol" panose="05050102010706020507" pitchFamily="18" charset="2"/>
              <a:buNone/>
              <a:tabLst>
                <a:tab pos="457200" algn="l"/>
              </a:tabLs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benefits that we saw from integrating Generative AI to the existing business processes of the bank for this particular use cases were great.</a:t>
            </a:r>
          </a:p>
          <a:p>
            <a:pPr marL="0" marR="0" lvl="0" indent="0" fontAlgn="base">
              <a:lnSpc>
                <a:spcPct val="107000"/>
              </a:lnSpc>
              <a:spcBef>
                <a:spcPts val="0"/>
              </a:spcBef>
              <a:spcAft>
                <a:spcPts val="0"/>
              </a:spcAft>
              <a:buSzPts val="1000"/>
              <a:buFont typeface="Symbol" panose="05050102010706020507" pitchFamily="18" charset="2"/>
              <a:buNone/>
              <a:tabLst>
                <a:tab pos="457200" algn="l"/>
              </a:tabLst>
            </a:pP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UILD]</a:t>
            </a:r>
          </a:p>
          <a:p>
            <a:pPr marL="0" marR="0" lvl="0" indent="0" fontAlgn="base">
              <a:lnSpc>
                <a:spcPct val="107000"/>
              </a:lnSpc>
              <a:spcBef>
                <a:spcPts val="0"/>
              </a:spcBef>
              <a:spcAft>
                <a:spcPts val="0"/>
              </a:spcAft>
              <a:buSzPts val="1000"/>
              <a:buFont typeface="Symbol" panose="05050102010706020507" pitchFamily="18" charset="2"/>
              <a:buNone/>
              <a:tabLst>
                <a:tab pos="457200" algn="l"/>
              </a:tabLs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We were able to decrease average complaints handling time by 20%–40% … and increase the volume of complaints handled by up to 20%. </a:t>
            </a:r>
          </a:p>
          <a:p>
            <a:pPr marL="0" marR="0" lvl="0" indent="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None/>
              <a:tabLst>
                <a:tab pos="457200" algn="l"/>
              </a:tabLst>
              <a:defRPr/>
            </a:pP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UILD]</a:t>
            </a:r>
            <a:endPar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fontAlgn="base">
              <a:lnSpc>
                <a:spcPct val="107000"/>
              </a:lnSpc>
              <a:spcBef>
                <a:spcPts val="0"/>
              </a:spcBef>
              <a:spcAft>
                <a:spcPts val="0"/>
              </a:spcAft>
              <a:buSzPts val="1000"/>
              <a:buFont typeface="Symbol" panose="05050102010706020507" pitchFamily="18" charset="2"/>
              <a:buNone/>
              <a:tabLst>
                <a:tab pos="457200" algn="l"/>
              </a:tabLst>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average response time decreased by 30%–40% … and the complaint resolution time by 20%–25%. </a:t>
            </a:r>
          </a:p>
          <a:p>
            <a:pPr marL="0" marR="0" lvl="0" indent="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None/>
              <a:tabLst>
                <a:tab pos="457200" algn="l"/>
              </a:tabLst>
              <a:defRPr/>
            </a:pPr>
            <a:r>
              <a:rPr lang="en-US" sz="24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BUILD]</a:t>
            </a:r>
            <a:endPar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endParaRPr>
          </a:p>
          <a:p>
            <a:pPr marL="0" marR="0" lvl="0" indent="0" algn="l" defTabSz="1828800" rtl="0" eaLnBrk="1" fontAlgn="base" latinLnBrk="0" hangingPunct="1">
              <a:lnSpc>
                <a:spcPct val="107000"/>
              </a:lnSpc>
              <a:spcBef>
                <a:spcPts val="0"/>
              </a:spcBef>
              <a:spcAft>
                <a:spcPts val="0"/>
              </a:spcAft>
              <a:buClr>
                <a:schemeClr val="accent5"/>
              </a:buClr>
              <a:buSzPts val="1000"/>
              <a:buFont typeface="Symbol" panose="05050102010706020507" pitchFamily="18" charset="2"/>
              <a:buNone/>
              <a:tabLst>
                <a:tab pos="457200" algn="l"/>
              </a:tabLst>
              <a:defRPr/>
            </a:pPr>
            <a:r>
              <a:rPr lang="en-US" sz="2400" dirty="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The cost of handling complaints also decreased by 8-15%.</a:t>
            </a:r>
          </a:p>
          <a:p>
            <a:pPr marL="0" indent="0">
              <a:buNone/>
            </a:pPr>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5</a:t>
            </a:fld>
            <a:endParaRPr lang="en-US"/>
          </a:p>
        </p:txBody>
      </p:sp>
    </p:spTree>
    <p:extLst>
      <p:ext uri="{BB962C8B-B14F-4D97-AF65-F5344CB8AC3E}">
        <p14:creationId xmlns:p14="http://schemas.microsoft.com/office/powerpoint/2010/main" val="9831405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fontAlgn="base">
              <a:lnSpc>
                <a:spcPct val="107000"/>
              </a:lnSpc>
              <a:spcBef>
                <a:spcPts val="0"/>
              </a:spcBef>
              <a:spcAft>
                <a:spcPts val="0"/>
              </a:spcAft>
              <a:buSzPts val="1000"/>
              <a:buFont typeface="Symbol" panose="05050102010706020507" pitchFamily="18" charset="2"/>
              <a:buChar char=""/>
              <a:tabLst>
                <a:tab pos="457200" algn="l"/>
              </a:tabLst>
            </a:pPr>
            <a:endParaRPr lang="en-US" sz="2400" dirty="0">
              <a:solidFill>
                <a:srgbClr val="000000"/>
              </a:solidFill>
              <a:effectLst/>
              <a:latin typeface="Calibri" panose="020F0502020204030204" pitchFamily="34" charset="0"/>
              <a:ea typeface="Calibri" panose="020F0502020204030204" pitchFamily="34" charset="0"/>
              <a:cs typeface="Calibri" panose="020F0502020204030204" pitchFamily="34" charset="0"/>
            </a:endParaRPr>
          </a:p>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6</a:t>
            </a:fld>
            <a:endParaRPr lang="en-US"/>
          </a:p>
        </p:txBody>
      </p:sp>
    </p:spTree>
    <p:extLst>
      <p:ext uri="{BB962C8B-B14F-4D97-AF65-F5344CB8AC3E}">
        <p14:creationId xmlns:p14="http://schemas.microsoft.com/office/powerpoint/2010/main" val="3705621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5276145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27</a:t>
            </a:fld>
            <a:endParaRPr lang="en-US"/>
          </a:p>
        </p:txBody>
      </p:sp>
    </p:spTree>
    <p:extLst>
      <p:ext uri="{BB962C8B-B14F-4D97-AF65-F5344CB8AC3E}">
        <p14:creationId xmlns:p14="http://schemas.microsoft.com/office/powerpoint/2010/main" val="1952853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6437066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41350" y="1162050"/>
            <a:ext cx="5575300" cy="3135313"/>
          </a:xfrm>
        </p:spPr>
      </p:sp>
      <p:sp>
        <p:nvSpPr>
          <p:cNvPr id="3" name="Notes Placeholder 2"/>
          <p:cNvSpPr>
            <a:spLocks noGrp="1"/>
          </p:cNvSpPr>
          <p:nvPr>
            <p:ph type="body" idx="1"/>
          </p:nvPr>
        </p:nvSpPr>
        <p:spPr/>
        <p:txBody>
          <a:bodyPr/>
          <a:lstStyle/>
          <a:p>
            <a:pPr marL="0" indent="0">
              <a:buNone/>
            </a:pPr>
            <a:endParaRPr lang="en-US" dirty="0">
              <a:cs typeface="Calibri"/>
            </a:endParaRPr>
          </a:p>
          <a:p>
            <a:pPr marL="0" indent="0">
              <a:buNone/>
            </a:pPr>
            <a:endParaRPr lang="en-US" dirty="0">
              <a:cs typeface="Calibri"/>
            </a:endParaRPr>
          </a:p>
          <a:p>
            <a:pPr indent="-171450"/>
            <a:endParaRPr lang="en-US" dirty="0">
              <a:solidFill>
                <a:srgbClr val="FFFFFF"/>
              </a:solidFill>
              <a:latin typeface="Anova Light" panose="020B0403020203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58F5249-8088-48A4-80E3-B2BA810BF520}" type="slidenum">
              <a:rPr kumimoji="0" lang="en-US" sz="1200" b="0" i="0" u="none" strike="noStrike" kern="1200" cap="none" spc="0" normalizeH="0" baseline="0" noProof="0" smtClean="0">
                <a:ln>
                  <a:noFill/>
                </a:ln>
                <a:solidFill>
                  <a:prstClr val="black"/>
                </a:solidFill>
                <a:effectLst/>
                <a:uLnTx/>
                <a:uFillTx/>
                <a:latin typeface="Anova Light" panose="020B0403020203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9830684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65887" lvl="1" indent="0">
              <a:buFont typeface="Courier New" panose="02070309020205020404" pitchFamily="49" charset="0"/>
              <a:buNone/>
            </a:pPr>
            <a:endParaRPr lang="en-US" sz="2400" kern="100" dirty="0">
              <a:latin typeface="Calibri" panose="020F0502020204030204" pitchFamily="34" charset="0"/>
              <a:ea typeface="Calibri" panose="020F0502020204030204" pitchFamily="34" charset="0"/>
              <a:cs typeface="Arial" panose="020B0604020202020204" pitchFamily="34" charset="0"/>
            </a:endParaRPr>
          </a:p>
          <a:p>
            <a:pPr marL="299866" lvl="0" indent="-291179">
              <a:buFont typeface="Courier New" panose="02070309020205020404" pitchFamily="49" charset="0"/>
              <a:buChar char="o"/>
            </a:pPr>
            <a:endParaRPr lang="en-US" sz="2400" kern="100" dirty="0">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1397660" rtl="0" eaLnBrk="1" fontAlgn="auto" latinLnBrk="0" hangingPunct="1">
              <a:lnSpc>
                <a:spcPct val="100000"/>
              </a:lnSpc>
              <a:spcBef>
                <a:spcPts val="0"/>
              </a:spcBef>
              <a:spcAft>
                <a:spcPts val="0"/>
              </a:spcAft>
              <a:buClrTx/>
              <a:buSzTx/>
              <a:buFontTx/>
              <a:buNone/>
              <a:tabLst/>
              <a:defRPr/>
            </a:pPr>
            <a:fld id="{0F870AB4-B06A-0C43-BB33-0D861191DFB5}"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39766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3429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Arial" panose="020B0604020202020204" pitchFamily="34" charset="0"/>
              <a:buChar char="•"/>
            </a:pPr>
            <a:endParaRPr lang="en-US" sz="1800">
              <a:effectLst/>
              <a:latin typeface="Calibri" panose="020F0502020204030204" pitchFamily="34" charset="0"/>
              <a:ea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6</a:t>
            </a:fld>
            <a:endParaRPr lang="en-US"/>
          </a:p>
        </p:txBody>
      </p:sp>
    </p:spTree>
    <p:extLst>
      <p:ext uri="{BB962C8B-B14F-4D97-AF65-F5344CB8AC3E}">
        <p14:creationId xmlns:p14="http://schemas.microsoft.com/office/powerpoint/2010/main" val="31479618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7000"/>
              </a:lnSpc>
              <a:spcBef>
                <a:spcPts val="0"/>
              </a:spcBef>
              <a:spcAft>
                <a:spcPts val="800"/>
              </a:spcAft>
              <a:buClr>
                <a:schemeClr val="accent5"/>
              </a:buClr>
              <a:buSzTx/>
              <a:buFont typeface="Anova Light" panose="020B0403020203020204" pitchFamily="34" charset="0"/>
              <a:buNone/>
              <a:tabLst/>
              <a:defRPr/>
            </a:pPr>
            <a:r>
              <a:rPr lang="en-US" sz="1400" b="0">
                <a:solidFill>
                  <a:schemeClr val="bg2"/>
                </a:solidFill>
                <a:effectLst/>
                <a:latin typeface="Calibri" panose="020F0502020204030204" pitchFamily="34" charset="0"/>
                <a:ea typeface="Calibri" panose="020F0502020204030204" pitchFamily="34" charset="0"/>
                <a:cs typeface="Calibri" panose="020F0502020204030204" pitchFamily="34" charset="0"/>
              </a:rPr>
              <a:t>Introduce the concept of GenAI </a:t>
            </a:r>
          </a:p>
          <a:p>
            <a:pPr marL="0" marR="0" indent="0">
              <a:lnSpc>
                <a:spcPct val="107000"/>
              </a:lnSpc>
              <a:spcBef>
                <a:spcPts val="0"/>
              </a:spcBef>
              <a:spcAft>
                <a:spcPts val="800"/>
              </a:spcAft>
              <a:buNone/>
            </a:pPr>
            <a:endParaRPr lang="en-US" sz="1400">
              <a:effectLst/>
              <a:latin typeface="Anova Light" panose="020B0604020202020204" charset="0"/>
              <a:ea typeface="Calibri" panose="020F0502020204030204" pitchFamily="34" charset="0"/>
              <a:cs typeface="Times New Roman" panose="02020603050405020304" pitchFamily="18" charset="0"/>
            </a:endParaRPr>
          </a:p>
          <a:p>
            <a:pPr marL="0" marR="0" lvl="0" indent="-342900" algn="l" defTabSz="1828800" rtl="0" eaLnBrk="1" fontAlgn="auto" latinLnBrk="0" hangingPunct="1">
              <a:lnSpc>
                <a:spcPct val="107000"/>
              </a:lnSpc>
              <a:spcBef>
                <a:spcPts val="0"/>
              </a:spcBef>
              <a:spcAft>
                <a:spcPts val="800"/>
              </a:spcAft>
              <a:buClr>
                <a:schemeClr val="accent5"/>
              </a:buClr>
              <a:buSzTx/>
              <a:buFont typeface="Anova Light" panose="020B0403020203020204" pitchFamily="34" charset="0"/>
              <a:buChar char="•"/>
              <a:tabLst/>
              <a:defRPr/>
            </a:pPr>
            <a:r>
              <a:rPr kumimoji="0" lang="en-US" sz="1400" b="1" i="0" u="none" strike="noStrike" kern="0" cap="none" spc="0" normalizeH="0" baseline="0" noProof="0">
                <a:ln>
                  <a:noFill/>
                </a:ln>
                <a:solidFill>
                  <a:srgbClr val="032954">
                    <a:lumMod val="75000"/>
                    <a:lumOff val="25000"/>
                  </a:srgbClr>
                </a:solidFill>
                <a:effectLst/>
                <a:uLnTx/>
                <a:uFillTx/>
                <a:latin typeface="Anova Light"/>
                <a:ea typeface="+mn-ea"/>
                <a:cs typeface="+mn-cs"/>
              </a:rPr>
              <a:t>Generative AI (GAI)</a:t>
            </a:r>
            <a:r>
              <a:rPr kumimoji="0" lang="en-US" sz="1400" b="1" i="0" u="none" strike="noStrike" kern="0" cap="none" spc="0" normalizeH="0" baseline="0" noProof="0">
                <a:ln>
                  <a:noFill/>
                </a:ln>
                <a:solidFill>
                  <a:srgbClr val="0766D1">
                    <a:lumMod val="60000"/>
                    <a:lumOff val="40000"/>
                  </a:srgbClr>
                </a:solidFill>
                <a:effectLst/>
                <a:uLnTx/>
                <a:uFillTx/>
                <a:latin typeface="Anova Light"/>
                <a:ea typeface="+mn-ea"/>
                <a:cs typeface="+mn-cs"/>
              </a:rPr>
              <a:t> </a:t>
            </a:r>
            <a:r>
              <a:rPr kumimoji="0" lang="en-US" sz="1400" b="0" i="0" u="none" strike="noStrike" kern="0" cap="none" spc="0" normalizeH="0" baseline="0" noProof="0">
                <a:ln>
                  <a:noFill/>
                </a:ln>
                <a:solidFill>
                  <a:srgbClr val="032954"/>
                </a:solidFill>
                <a:effectLst/>
                <a:uLnTx/>
                <a:uFillTx/>
                <a:latin typeface="Anova Light"/>
                <a:ea typeface="+mn-ea"/>
                <a:cs typeface="+mn-cs"/>
              </a:rPr>
              <a:t>is a specific subset of AI algorithms</a:t>
            </a:r>
            <a:r>
              <a:rPr kumimoji="0" lang="en-US" sz="1400" b="0" i="0" u="none" strike="noStrike" kern="1200" cap="none" spc="0" normalizeH="0" baseline="0" noProof="0">
                <a:ln>
                  <a:noFill/>
                </a:ln>
                <a:solidFill>
                  <a:srgbClr val="032954"/>
                </a:solidFill>
                <a:effectLst/>
                <a:uLnTx/>
                <a:uFillTx/>
                <a:latin typeface="Anova Light"/>
                <a:ea typeface="+mn-ea"/>
                <a:cs typeface="+mn-cs"/>
              </a:rPr>
              <a:t> </a:t>
            </a:r>
            <a:r>
              <a:rPr kumimoji="0" lang="en-US" sz="1400" b="0" i="0" u="none" strike="noStrike" kern="0" cap="none" spc="0" normalizeH="0" baseline="0" noProof="0">
                <a:ln>
                  <a:noFill/>
                </a:ln>
                <a:solidFill>
                  <a:srgbClr val="032954"/>
                </a:solidFill>
                <a:effectLst/>
                <a:uLnTx/>
                <a:uFillTx/>
                <a:latin typeface="Anova Light"/>
                <a:ea typeface="+mn-ea"/>
                <a:cs typeface="+mn-cs"/>
              </a:rPr>
              <a:t>designed to generate new content that closely resembles the data on which it’s trained.</a:t>
            </a:r>
          </a:p>
          <a:p>
            <a:pPr marL="0" marR="0">
              <a:lnSpc>
                <a:spcPct val="107000"/>
              </a:lnSpc>
              <a:spcBef>
                <a:spcPts val="0"/>
              </a:spcBef>
              <a:spcAft>
                <a:spcPts val="800"/>
              </a:spcAft>
            </a:pPr>
            <a:endParaRPr lang="en-US" sz="1400">
              <a:effectLst/>
              <a:latin typeface="Anova Light" panose="020B060402020202020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407840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600" dirty="0">
                <a:latin typeface="Calibri"/>
                <a:ea typeface="Calibri"/>
                <a:cs typeface="Calibri"/>
              </a:rPr>
              <a:t>The biggest adoption hurdles in 4 groups: </a:t>
            </a:r>
          </a:p>
          <a:p>
            <a:r>
              <a:rPr lang="en-US" sz="1600" dirty="0">
                <a:latin typeface="Calibri"/>
                <a:ea typeface="Calibri"/>
                <a:cs typeface="Calibri"/>
              </a:rPr>
              <a:t>Unproven ROI:  Let's look at returns –  First order effect is enhancing productivity... difficult to quantify.</a:t>
            </a:r>
          </a:p>
          <a:p>
            <a:pPr lvl="1">
              <a:buFont typeface="Anova Light"/>
              <a:buChar char="•"/>
            </a:pPr>
            <a:r>
              <a:rPr lang="en-US" sz="1600" dirty="0">
                <a:latin typeface="Calibri"/>
                <a:ea typeface="Calibri"/>
                <a:cs typeface="Calibri"/>
              </a:rPr>
              <a:t>The formula to translate the “ah ha moments" to numbers is not yet there and </a:t>
            </a:r>
          </a:p>
          <a:p>
            <a:pPr lvl="1">
              <a:buFont typeface="Anova Light"/>
              <a:buChar char="•"/>
            </a:pPr>
            <a:r>
              <a:rPr lang="en-US" sz="1600" dirty="0">
                <a:latin typeface="Calibri"/>
                <a:ea typeface="Calibri"/>
                <a:cs typeface="Calibri"/>
              </a:rPr>
              <a:t>Further complicate... real benefits will be after business processes get redesigned....</a:t>
            </a:r>
            <a:endParaRPr lang="en-US" dirty="0"/>
          </a:p>
          <a:p>
            <a:pPr lvl="1">
              <a:buFont typeface="Anova Light"/>
              <a:buChar char="•"/>
            </a:pPr>
            <a:r>
              <a:rPr lang="en-US" sz="1600" dirty="0">
                <a:latin typeface="Calibri"/>
                <a:ea typeface="Calibri"/>
                <a:cs typeface="Calibri"/>
              </a:rPr>
              <a:t>Let's examine costs – all model providers provide a good token cost estimate (which companies are realizing to be prohibitive).... However.... the costs for private knowledge preparation, training and </a:t>
            </a:r>
            <a:r>
              <a:rPr lang="en-US" sz="1600" dirty="0" err="1">
                <a:latin typeface="Calibri"/>
                <a:ea typeface="Calibri"/>
                <a:cs typeface="Calibri"/>
              </a:rPr>
              <a:t>ModelOps</a:t>
            </a:r>
            <a:r>
              <a:rPr lang="en-US" sz="1600" dirty="0">
                <a:latin typeface="Calibri"/>
                <a:ea typeface="Calibri"/>
                <a:cs typeface="Calibri"/>
              </a:rPr>
              <a:t> </a:t>
            </a:r>
            <a:r>
              <a:rPr lang="en-US" sz="1600" dirty="0" err="1">
                <a:latin typeface="Calibri"/>
                <a:ea typeface="Calibri"/>
                <a:cs typeface="Calibri"/>
              </a:rPr>
              <a:t>mgmt</a:t>
            </a:r>
            <a:r>
              <a:rPr lang="en-US" sz="1600" dirty="0">
                <a:latin typeface="Calibri"/>
                <a:ea typeface="Calibri"/>
                <a:cs typeface="Calibri"/>
              </a:rPr>
              <a:t> is complex and lengthy. </a:t>
            </a:r>
          </a:p>
          <a:p>
            <a:pPr lvl="0">
              <a:buFont typeface="Anova Light"/>
              <a:buChar char="•"/>
            </a:pPr>
            <a:r>
              <a:rPr lang="en-US" sz="2000" dirty="0">
                <a:latin typeface="Calibri"/>
                <a:ea typeface="Calibri"/>
                <a:cs typeface="Calibri"/>
              </a:rPr>
              <a:t>Data &amp; security: Enterprise is keen to use private data . . </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a:buChar char="•"/>
              <a:tabLst/>
              <a:defRPr/>
            </a:pPr>
            <a:r>
              <a:rPr lang="en-US" sz="1600" dirty="0">
                <a:latin typeface="Calibri"/>
                <a:ea typeface="Calibri"/>
                <a:cs typeface="Calibri"/>
              </a:rPr>
              <a:t>But it requires intricate experimentation to address the data management issues of access controls, privacy/ security as well as knowledge refresh rates.... Basically, the </a:t>
            </a:r>
            <a:r>
              <a:rPr lang="en-GB" sz="2000" dirty="0">
                <a:effectLst/>
                <a:latin typeface="Calibri" panose="020F0502020204030204" pitchFamily="34" charset="0"/>
                <a:ea typeface="Calibri" panose="020F0502020204030204" pitchFamily="34" charset="0"/>
              </a:rPr>
              <a:t>inability to utilize both on-premises and cloud datasets effectively, insufficient data to fine tune LLMs.</a:t>
            </a:r>
            <a:r>
              <a:rPr lang="en-US" sz="1600" dirty="0">
                <a:effectLst/>
              </a:rPr>
              <a:t> </a:t>
            </a:r>
            <a:endParaRPr lang="en-US" dirty="0"/>
          </a:p>
          <a:p>
            <a:pPr lvl="1">
              <a:buFont typeface="Anova Light"/>
              <a:buChar char="•"/>
            </a:pPr>
            <a:r>
              <a:rPr lang="en-US" sz="1600" dirty="0">
                <a:latin typeface="Calibri"/>
                <a:ea typeface="Calibri"/>
                <a:cs typeface="Calibri"/>
              </a:rPr>
              <a:t>Another significant concern to manage is hallucination... which requires a human in the loop and a work flow adjustment...</a:t>
            </a:r>
          </a:p>
          <a:p>
            <a:pPr lvl="1">
              <a:buFont typeface="Anova Light"/>
              <a:buChar char="•"/>
            </a:pPr>
            <a:r>
              <a:rPr lang="en-GB" sz="1800" dirty="0">
                <a:effectLst/>
                <a:latin typeface="Calibri" panose="020F0502020204030204" pitchFamily="34" charset="0"/>
                <a:ea typeface="Calibri" panose="020F0502020204030204" pitchFamily="34" charset="0"/>
              </a:rPr>
              <a:t>Security and governance remain paramount, with major concerns in data protection</a:t>
            </a:r>
            <a:r>
              <a:rPr lang="en-US" sz="1400" dirty="0">
                <a:effectLst/>
              </a:rPr>
              <a:t> </a:t>
            </a:r>
            <a:endParaRPr lang="en-US" sz="1600" dirty="0">
              <a:latin typeface="Calibri"/>
              <a:ea typeface="Calibri"/>
              <a:cs typeface="Calibri"/>
            </a:endParaRPr>
          </a:p>
          <a:p>
            <a:r>
              <a:rPr lang="en-US" sz="1600" dirty="0">
                <a:latin typeface="Calibri"/>
                <a:ea typeface="Calibri"/>
                <a:cs typeface="Calibri"/>
              </a:rPr>
              <a:t>Talent and skills shortage: While foundational models promises to lower the AI app development barriers.... At this stage we requires talented team in cloud development, data engineering, data science and DevOps.... to develop and integrate new apps within the enterprise.</a:t>
            </a: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US" sz="1600" dirty="0">
                <a:latin typeface="Calibri"/>
                <a:ea typeface="Calibri"/>
                <a:cs typeface="Calibri"/>
              </a:rPr>
              <a:t>Technology: </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GB" sz="1400" kern="100" dirty="0">
                <a:effectLst/>
                <a:latin typeface="Calibri" panose="020F0502020204030204" pitchFamily="34" charset="0"/>
                <a:ea typeface="Calibri" panose="020F0502020204030204" pitchFamily="34" charset="0"/>
                <a:cs typeface="Calibri" panose="020F0502020204030204" pitchFamily="34" charset="0"/>
              </a:rPr>
              <a:t>Lack of appropriate platform to implement and govern LLMs</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GB" sz="1200" dirty="0">
                <a:effectLst/>
                <a:latin typeface="Calibri" panose="020F0502020204030204" pitchFamily="34" charset="0"/>
                <a:ea typeface="Calibri" panose="020F0502020204030204" pitchFamily="34" charset="0"/>
              </a:rPr>
              <a:t>Only 1 in 10 are fully prepared to comply with current and upcoming regulations concerning Gen AI</a:t>
            </a:r>
            <a:r>
              <a:rPr lang="en-US" sz="1200" dirty="0">
                <a:effectLst/>
                <a:latin typeface="Calibri" panose="020F0502020204030204" pitchFamily="34" charset="0"/>
                <a:ea typeface="Calibri" panose="020F0502020204030204" pitchFamily="34" charset="0"/>
                <a:cs typeface="Times New Roman" panose="02020603050405020304" pitchFamily="18" charset="0"/>
              </a:rPr>
              <a:t> </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GB" sz="1800" dirty="0">
                <a:effectLst/>
                <a:latin typeface="Calibri" panose="020F0502020204030204" pitchFamily="34" charset="0"/>
                <a:ea typeface="Calibri" panose="020F0502020204030204" pitchFamily="34" charset="0"/>
              </a:rPr>
              <a:t>48% are planning to enlist third-party support to integrate and orchestrate </a:t>
            </a:r>
            <a:r>
              <a:rPr lang="en-GB" sz="1800" dirty="0" err="1">
                <a:effectLst/>
                <a:latin typeface="Calibri" panose="020F0502020204030204" pitchFamily="34" charset="0"/>
                <a:ea typeface="Calibri" panose="020F0502020204030204" pitchFamily="34" charset="0"/>
              </a:rPr>
              <a:t>GenAI</a:t>
            </a:r>
            <a:r>
              <a:rPr lang="en-GB" sz="1800" dirty="0">
                <a:effectLst/>
                <a:latin typeface="Calibri" panose="020F0502020204030204" pitchFamily="34" charset="0"/>
                <a:ea typeface="Calibri" panose="020F0502020204030204" pitchFamily="34" charset="0"/>
              </a:rPr>
              <a:t> and as built-in feature of enterprise platforms</a:t>
            </a:r>
            <a:r>
              <a:rPr lang="en-US" sz="1100" dirty="0">
                <a:effectLst/>
              </a:rPr>
              <a:t> </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GB" sz="1800" dirty="0">
                <a:effectLst/>
                <a:latin typeface="Calibri" panose="020F0502020204030204" pitchFamily="34" charset="0"/>
                <a:ea typeface="Calibri" panose="020F0502020204030204" pitchFamily="34" charset="0"/>
              </a:rPr>
              <a:t>12% of Gen AI budgets are being dedicated to improving governance and monitoring </a:t>
            </a:r>
          </a:p>
          <a:p>
            <a:pPr marL="1257300" marR="0" lvl="1"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Char char="•"/>
              <a:tabLst/>
              <a:defRPr/>
            </a:pPr>
            <a:r>
              <a:rPr lang="en-GB" sz="1800" dirty="0">
                <a:effectLst/>
                <a:latin typeface="Calibri" panose="020F0502020204030204" pitchFamily="34" charset="0"/>
                <a:ea typeface="Calibri" panose="020F0502020204030204" pitchFamily="34" charset="0"/>
              </a:rPr>
              <a:t>8 in 10 tech decision makers show a strong interest in using synthetic data to address data challenges to support </a:t>
            </a:r>
            <a:r>
              <a:rPr lang="en-GB" sz="1800" dirty="0" err="1">
                <a:effectLst/>
                <a:latin typeface="Calibri" panose="020F0502020204030204" pitchFamily="34" charset="0"/>
                <a:ea typeface="Calibri" panose="020F0502020204030204" pitchFamily="34" charset="0"/>
              </a:rPr>
              <a:t>GenAI</a:t>
            </a:r>
            <a:r>
              <a:rPr lang="en-GB" sz="1800" dirty="0">
                <a:effectLst/>
                <a:latin typeface="Calibri" panose="020F0502020204030204" pitchFamily="34" charset="0"/>
                <a:ea typeface="Calibri" panose="020F0502020204030204" pitchFamily="34" charset="0"/>
              </a:rPr>
              <a:t> initiatives</a:t>
            </a:r>
            <a:r>
              <a:rPr lang="en-US" sz="1100" dirty="0">
                <a:effectLst/>
              </a:rPr>
              <a:t> </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1600" i="1" dirty="0">
              <a:latin typeface="Calibri"/>
              <a:ea typeface="Calibri"/>
              <a:cs typeface="Calibri"/>
            </a:endParaRPr>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1</a:t>
            </a:fld>
            <a:endParaRPr lang="en-US"/>
          </a:p>
        </p:txBody>
      </p:sp>
    </p:spTree>
    <p:extLst>
      <p:ext uri="{BB962C8B-B14F-4D97-AF65-F5344CB8AC3E}">
        <p14:creationId xmlns:p14="http://schemas.microsoft.com/office/powerpoint/2010/main" val="39231493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pPr algn="l"/>
            <a:fld id="{C4EF46A2-9381-4C51-8277-3C7F2938E9F9}" type="slidenum">
              <a:rPr lang="en-US" smtClean="0"/>
              <a:pPr algn="l"/>
              <a:t>13</a:t>
            </a:fld>
            <a:endParaRPr lang="en-US"/>
          </a:p>
        </p:txBody>
      </p:sp>
    </p:spTree>
    <p:extLst>
      <p:ext uri="{BB962C8B-B14F-4D97-AF65-F5344CB8AC3E}">
        <p14:creationId xmlns:p14="http://schemas.microsoft.com/office/powerpoint/2010/main" val="39080792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7.svg"/></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6.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9.sv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image" Target="../media/image11.svg"/><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image" Target="../media/image10.png"/><Relationship Id="rId1" Type="http://schemas.openxmlformats.org/officeDocument/2006/relationships/slideMaster" Target="../slideMasters/slideMaster2.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3.svg"/><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svg"/><Relationship Id="rId14" Type="http://schemas.openxmlformats.org/officeDocument/2006/relationships/image" Target="../media/image22.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26.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4.xml"/><Relationship Id="rId1" Type="http://schemas.openxmlformats.org/officeDocument/2006/relationships/tags" Target="../tags/tag38.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7.svg"/></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0.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2.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3.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4.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5.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4.xml"/><Relationship Id="rId1" Type="http://schemas.openxmlformats.org/officeDocument/2006/relationships/tags" Target="../tags/tag46.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4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26.sv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50.xml"/></Relationships>
</file>

<file path=ppt/slideLayouts/_rels/slideLayout4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2.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3.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4.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5.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6.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Master" Target="../slideMasters/slideMaster5.xml"/><Relationship Id="rId1" Type="http://schemas.openxmlformats.org/officeDocument/2006/relationships/tags" Target="../tags/tag58.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59.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60.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6.xml"/><Relationship Id="rId1" Type="http://schemas.openxmlformats.org/officeDocument/2006/relationships/tags" Target="../tags/tag62.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6.xml"/><Relationship Id="rId1" Type="http://schemas.openxmlformats.org/officeDocument/2006/relationships/tags" Target="../tags/tag63.xml"/><Relationship Id="rId4" Type="http://schemas.openxmlformats.org/officeDocument/2006/relationships/image" Target="../media/image5.svg"/></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4.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5.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6.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7.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8.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69.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6.xml"/><Relationship Id="rId1" Type="http://schemas.openxmlformats.org/officeDocument/2006/relationships/tags" Target="../tags/tag70.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7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slideMaster" Target="../slideMasters/slideMaster1.xml"/><Relationship Id="rId1" Type="http://schemas.openxmlformats.org/officeDocument/2006/relationships/tags" Target="../tags/tag1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1" y="2927508"/>
            <a:ext cx="15778269"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1" y="4220170"/>
            <a:ext cx="15778269"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284189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userDrawn="1">
          <p15:clr>
            <a:srgbClr val="FBAE40"/>
          </p15:clr>
        </p15:guide>
        <p15:guide id="2" pos="57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484278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1197456"/>
            <a:ext cx="12123722" cy="1292662"/>
          </a:xfrm>
          <a:prstGeom prst="rect">
            <a:avLst/>
          </a:prstGeom>
        </p:spPr>
        <p:txBody>
          <a:bodyPr vert="horz" wrap="square" lIns="0" tIns="0" rIns="0" bIns="182880" rtlCol="0" anchor="t"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2689371"/>
            <a:ext cx="12123722"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858433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352623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547979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138643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91085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806848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312473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322165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652177"/>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2434698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935216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583795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D68E8285-3BE2-9990-FA54-E6AF741CC812}"/>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DCBE7B6-1449-C2E2-1508-3F2B78AA27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2778297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Marketing - Title Slide">
    <p:bg>
      <p:bgPr>
        <a:gradFill>
          <a:gsLst>
            <a:gs pos="0">
              <a:srgbClr val="D4C6FF"/>
            </a:gs>
            <a:gs pos="84000">
              <a:srgbClr val="99D1FF"/>
            </a:gs>
          </a:gsLst>
          <a:lin ang="1800000" scaled="0"/>
        </a:gra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67CE810D-65AF-0348-8230-B95124FDBC79}"/>
              </a:ext>
            </a:extLst>
          </p:cNvPr>
          <p:cNvGrpSpPr/>
          <p:nvPr userDrawn="1"/>
        </p:nvGrpSpPr>
        <p:grpSpPr>
          <a:xfrm>
            <a:off x="1624348" y="-5"/>
            <a:ext cx="16663656" cy="10287006"/>
            <a:chOff x="1082898" y="-4"/>
            <a:chExt cx="11109103" cy="6858004"/>
          </a:xfrm>
        </p:grpSpPr>
        <p:pic>
          <p:nvPicPr>
            <p:cNvPr id="14" name="Graphic 13">
              <a:extLst>
                <a:ext uri="{FF2B5EF4-FFF2-40B4-BE49-F238E27FC236}">
                  <a16:creationId xmlns:a16="http://schemas.microsoft.com/office/drawing/2014/main" id="{5443967A-7B05-1249-95A2-1B21C271263F}"/>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b="9748"/>
            <a:stretch/>
          </p:blipFill>
          <p:spPr>
            <a:xfrm rot="10800000" flipH="1">
              <a:off x="1082898" y="-1"/>
              <a:ext cx="11109102" cy="6858000"/>
            </a:xfrm>
            <a:prstGeom prst="rect">
              <a:avLst/>
            </a:prstGeom>
          </p:spPr>
        </p:pic>
        <p:pic>
          <p:nvPicPr>
            <p:cNvPr id="23" name="Graphic 22">
              <a:extLst>
                <a:ext uri="{FF2B5EF4-FFF2-40B4-BE49-F238E27FC236}">
                  <a16:creationId xmlns:a16="http://schemas.microsoft.com/office/drawing/2014/main" id="{390CF418-EFCE-8246-B55D-23A94E6AD500}"/>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3454" b="32225"/>
            <a:stretch/>
          </p:blipFill>
          <p:spPr>
            <a:xfrm flipH="1">
              <a:off x="3107236" y="277646"/>
              <a:ext cx="9084764" cy="6580354"/>
            </a:xfrm>
            <a:prstGeom prst="rect">
              <a:avLst/>
            </a:prstGeom>
          </p:spPr>
        </p:pic>
        <p:pic>
          <p:nvPicPr>
            <p:cNvPr id="24" name="Graphic 23">
              <a:extLst>
                <a:ext uri="{FF2B5EF4-FFF2-40B4-BE49-F238E27FC236}">
                  <a16:creationId xmlns:a16="http://schemas.microsoft.com/office/drawing/2014/main" id="{B56546B5-1F5C-8A43-B791-C2DA294BF3F1}"/>
                </a:ext>
              </a:extLst>
            </p:cNvPr>
            <p:cNvPicPr>
              <a:picLocks noChangeAspect="1"/>
            </p:cNvPicPr>
            <p:nvPr/>
          </p:nvPicPr>
          <p:blipFill rotWithShape="1">
            <a:blip r:embed="rId6">
              <a:alphaModFix amt="24000"/>
              <a:extLst>
                <a:ext uri="{96DAC541-7B7A-43D3-8B79-37D633B846F1}">
                  <asvg:svgBlip xmlns:asvg="http://schemas.microsoft.com/office/drawing/2016/SVG/main" r:embed="rId7"/>
                </a:ext>
              </a:extLst>
            </a:blip>
            <a:srcRect l="28333" t="3905" r="17952" b="18559"/>
            <a:stretch/>
          </p:blipFill>
          <p:spPr>
            <a:xfrm rot="16200000">
              <a:off x="3900095" y="-1405363"/>
              <a:ext cx="6858004" cy="9668721"/>
            </a:xfrm>
            <a:prstGeom prst="rect">
              <a:avLst/>
            </a:prstGeom>
          </p:spPr>
        </p:pic>
        <p:pic>
          <p:nvPicPr>
            <p:cNvPr id="26" name="Graphic 25">
              <a:extLst>
                <a:ext uri="{FF2B5EF4-FFF2-40B4-BE49-F238E27FC236}">
                  <a16:creationId xmlns:a16="http://schemas.microsoft.com/office/drawing/2014/main" id="{2EF29AA3-E384-6249-A9DE-35EFA132AB9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166890" y="1974849"/>
              <a:ext cx="2578100" cy="2908300"/>
            </a:xfrm>
            <a:prstGeom prst="rect">
              <a:avLst/>
            </a:prstGeom>
          </p:spPr>
        </p:pic>
        <p:pic>
          <p:nvPicPr>
            <p:cNvPr id="27" name="Graphic 26">
              <a:extLst>
                <a:ext uri="{FF2B5EF4-FFF2-40B4-BE49-F238E27FC236}">
                  <a16:creationId xmlns:a16="http://schemas.microsoft.com/office/drawing/2014/main" id="{FCE02D5A-C8CB-5F4A-B44F-2EFF749D0B62}"/>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r="50000"/>
            <a:stretch/>
          </p:blipFill>
          <p:spPr>
            <a:xfrm>
              <a:off x="11172403" y="1098213"/>
              <a:ext cx="1019598" cy="2300373"/>
            </a:xfrm>
            <a:prstGeom prst="rect">
              <a:avLst/>
            </a:prstGeom>
          </p:spPr>
        </p:pic>
        <p:pic>
          <p:nvPicPr>
            <p:cNvPr id="28" name="Graphic 27">
              <a:extLst>
                <a:ext uri="{FF2B5EF4-FFF2-40B4-BE49-F238E27FC236}">
                  <a16:creationId xmlns:a16="http://schemas.microsoft.com/office/drawing/2014/main" id="{C51C0E4F-6E36-BB43-BBD7-DE4DE760495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359003" y="4035901"/>
              <a:ext cx="813816" cy="918048"/>
            </a:xfrm>
            <a:prstGeom prst="rect">
              <a:avLst/>
            </a:prstGeom>
          </p:spPr>
        </p:pic>
        <p:pic>
          <p:nvPicPr>
            <p:cNvPr id="29" name="Graphic 28">
              <a:extLst>
                <a:ext uri="{FF2B5EF4-FFF2-40B4-BE49-F238E27FC236}">
                  <a16:creationId xmlns:a16="http://schemas.microsoft.com/office/drawing/2014/main" id="{4F93BCC4-CB3D-A04B-9A74-01CD2B5C88B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697133" y="1863708"/>
              <a:ext cx="813816" cy="918048"/>
            </a:xfrm>
            <a:prstGeom prst="rect">
              <a:avLst/>
            </a:prstGeom>
          </p:spPr>
        </p:pic>
      </p:grpSp>
      <p:sp>
        <p:nvSpPr>
          <p:cNvPr id="2" name="Title 1">
            <a:extLst>
              <a:ext uri="{FF2B5EF4-FFF2-40B4-BE49-F238E27FC236}">
                <a16:creationId xmlns:a16="http://schemas.microsoft.com/office/drawing/2014/main" id="{6EA595DD-9CEC-5C42-ABE5-90641DB09915}"/>
              </a:ext>
            </a:extLst>
          </p:cNvPr>
          <p:cNvSpPr>
            <a:spLocks noGrp="1"/>
          </p:cNvSpPr>
          <p:nvPr>
            <p:ph type="ctrTitle" hasCustomPrompt="1"/>
          </p:nvPr>
        </p:nvSpPr>
        <p:spPr>
          <a:xfrm>
            <a:off x="8724552" y="6705602"/>
            <a:ext cx="6740556" cy="1492208"/>
          </a:xfrm>
        </p:spPr>
        <p:txBody>
          <a:bodyPr anchor="b">
            <a:normAutofit/>
          </a:bodyPr>
          <a:lstStyle>
            <a:lvl1pPr algn="l">
              <a:defRPr lang="en-US" sz="4800" b="0" kern="1200" dirty="0">
                <a:solidFill>
                  <a:srgbClr val="04304B"/>
                </a:solidFill>
                <a:latin typeface="Avenir Black" panose="02000503020000020003" pitchFamily="2" charset="0"/>
                <a:ea typeface="+mj-ea"/>
                <a:cs typeface="+mj-cs"/>
              </a:defRPr>
            </a:lvl1pPr>
          </a:lstStyle>
          <a:p>
            <a:r>
              <a:rPr lang="en-US"/>
              <a:t>CLICK TO EDIT MASTER STYLE</a:t>
            </a:r>
          </a:p>
        </p:txBody>
      </p:sp>
      <p:sp>
        <p:nvSpPr>
          <p:cNvPr id="3" name="Subtitle 2">
            <a:extLst>
              <a:ext uri="{FF2B5EF4-FFF2-40B4-BE49-F238E27FC236}">
                <a16:creationId xmlns:a16="http://schemas.microsoft.com/office/drawing/2014/main" id="{FC96EFA8-4FE9-FE4C-B8A9-29DEE089B960}"/>
              </a:ext>
            </a:extLst>
          </p:cNvPr>
          <p:cNvSpPr>
            <a:spLocks noGrp="1"/>
          </p:cNvSpPr>
          <p:nvPr>
            <p:ph type="subTitle" idx="1"/>
          </p:nvPr>
        </p:nvSpPr>
        <p:spPr>
          <a:xfrm>
            <a:off x="8724552" y="8197812"/>
            <a:ext cx="6740556" cy="1365812"/>
          </a:xfrm>
        </p:spPr>
        <p:txBody>
          <a:bodyPr>
            <a:normAutofit/>
          </a:bodyPr>
          <a:lstStyle>
            <a:lvl1pPr marL="0" indent="0" algn="l" defTabSz="1371566" rtl="0" eaLnBrk="1" latinLnBrk="0" hangingPunct="1">
              <a:lnSpc>
                <a:spcPct val="90000"/>
              </a:lnSpc>
              <a:spcBef>
                <a:spcPts val="1500"/>
              </a:spcBef>
              <a:buFont typeface="Arial" panose="020B0604020202020204" pitchFamily="34" charset="0"/>
              <a:buNone/>
              <a:defRPr lang="en-US" sz="2700" kern="1200" dirty="0">
                <a:solidFill>
                  <a:srgbClr val="04304B"/>
                </a:solidFill>
                <a:latin typeface="Avenir Book" panose="02000503020000020003" pitchFamily="2" charset="0"/>
                <a:ea typeface="+mn-ea"/>
                <a:cs typeface="+mn-cs"/>
              </a:defRPr>
            </a:lvl1pPr>
            <a:lvl2pPr marL="685784" indent="0" algn="ctr">
              <a:buNone/>
              <a:defRPr sz="3000"/>
            </a:lvl2pPr>
            <a:lvl3pPr marL="1371566" indent="0" algn="ctr">
              <a:buNone/>
              <a:defRPr sz="2700"/>
            </a:lvl3pPr>
            <a:lvl4pPr marL="2057350" indent="0" algn="ctr">
              <a:buNone/>
              <a:defRPr sz="2400"/>
            </a:lvl4pPr>
            <a:lvl5pPr marL="2743132" indent="0" algn="ctr">
              <a:buNone/>
              <a:defRPr sz="2400"/>
            </a:lvl5pPr>
            <a:lvl6pPr marL="3428916" indent="0" algn="ctr">
              <a:buNone/>
              <a:defRPr sz="2400"/>
            </a:lvl6pPr>
            <a:lvl7pPr marL="4114698" indent="0" algn="ctr">
              <a:buNone/>
              <a:defRPr sz="2400"/>
            </a:lvl7pPr>
            <a:lvl8pPr marL="4800480" indent="0" algn="ctr">
              <a:buNone/>
              <a:defRPr sz="2400"/>
            </a:lvl8pPr>
            <a:lvl9pPr marL="5486264" indent="0" algn="ctr">
              <a:buNone/>
              <a:defRPr sz="2400"/>
            </a:lvl9pPr>
          </a:lstStyle>
          <a:p>
            <a:r>
              <a:rPr lang="en-US"/>
              <a:t>Click to edit Master subtitle style</a:t>
            </a:r>
          </a:p>
        </p:txBody>
      </p:sp>
      <p:pic>
        <p:nvPicPr>
          <p:cNvPr id="25" name="Graphic 24">
            <a:extLst>
              <a:ext uri="{FF2B5EF4-FFF2-40B4-BE49-F238E27FC236}">
                <a16:creationId xmlns:a16="http://schemas.microsoft.com/office/drawing/2014/main" id="{ECD96F1D-8BC8-46A4-8958-BCBA419CBE14}"/>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8891390" y="6053854"/>
            <a:ext cx="1371600" cy="568172"/>
          </a:xfrm>
          <a:prstGeom prst="rect">
            <a:avLst/>
          </a:prstGeom>
        </p:spPr>
      </p:pic>
    </p:spTree>
    <p:extLst>
      <p:ext uri="{BB962C8B-B14F-4D97-AF65-F5344CB8AC3E}">
        <p14:creationId xmlns:p14="http://schemas.microsoft.com/office/powerpoint/2010/main" val="28421414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Marketing - 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5C8229-516A-43D3-BEC5-CF4A9F76570D}"/>
              </a:ext>
            </a:extLst>
          </p:cNvPr>
          <p:cNvSpPr>
            <a:spLocks noGrp="1"/>
          </p:cNvSpPr>
          <p:nvPr>
            <p:ph type="title"/>
          </p:nvPr>
        </p:nvSpPr>
        <p:spPr/>
        <p:txBody>
          <a:bodyPr>
            <a:normAutofit/>
          </a:bodyPr>
          <a:lstStyle>
            <a:lvl1pPr algn="l" defTabSz="1371566" rtl="0" eaLnBrk="1" latinLnBrk="0" hangingPunct="1">
              <a:lnSpc>
                <a:spcPct val="90000"/>
              </a:lnSpc>
              <a:spcBef>
                <a:spcPct val="0"/>
              </a:spcBef>
              <a:buNone/>
              <a:defRPr lang="en-US" sz="6000" b="1" kern="1200" dirty="0">
                <a:solidFill>
                  <a:srgbClr val="04304B"/>
                </a:solidFill>
                <a:latin typeface="Calibri" panose="020F0502020204030204" pitchFamily="34" charset="0"/>
                <a:ea typeface="+mj-ea"/>
                <a:cs typeface="Calibri" panose="020F0502020204030204" pitchFamily="34" charset="0"/>
              </a:defRPr>
            </a:lvl1pPr>
          </a:lstStyle>
          <a:p>
            <a:r>
              <a:rPr lang="en-US"/>
              <a:t>Click to edit Master title style</a:t>
            </a:r>
          </a:p>
        </p:txBody>
      </p:sp>
      <p:pic>
        <p:nvPicPr>
          <p:cNvPr id="3" name="Graphic 2">
            <a:extLst>
              <a:ext uri="{FF2B5EF4-FFF2-40B4-BE49-F238E27FC236}">
                <a16:creationId xmlns:a16="http://schemas.microsoft.com/office/drawing/2014/main" id="{32F8F48C-B3A9-4D2E-8A4A-454505AD8A9B}"/>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6593672" y="9176614"/>
            <a:ext cx="1028700" cy="426132"/>
          </a:xfrm>
          <a:prstGeom prst="rect">
            <a:avLst/>
          </a:prstGeom>
        </p:spPr>
      </p:pic>
      <p:sp>
        <p:nvSpPr>
          <p:cNvPr id="4" name="TextBox 3">
            <a:extLst>
              <a:ext uri="{FF2B5EF4-FFF2-40B4-BE49-F238E27FC236}">
                <a16:creationId xmlns:a16="http://schemas.microsoft.com/office/drawing/2014/main" id="{6571CD7F-8536-44C8-9879-B83804690B42}"/>
              </a:ext>
            </a:extLst>
          </p:cNvPr>
          <p:cNvSpPr txBox="1">
            <a:spLocks noChangeAspect="1"/>
          </p:cNvSpPr>
          <p:nvPr userDrawn="1"/>
        </p:nvSpPr>
        <p:spPr>
          <a:xfrm>
            <a:off x="6634008" y="9975119"/>
            <a:ext cx="5029200" cy="246542"/>
          </a:xfrm>
          <a:prstGeom prst="rect">
            <a:avLst/>
          </a:prstGeom>
          <a:noFill/>
        </p:spPr>
        <p:txBody>
          <a:bodyPr wrap="square" anchor="b" anchorCtr="0">
            <a:spAutoFit/>
          </a:bodyPr>
          <a:lstStyle/>
          <a:p>
            <a:pPr marL="0" marR="0" lvl="0" indent="0" algn="ctr" defTabSz="548614" rtl="0" eaLnBrk="0" fontAlgn="auto" latinLnBrk="0" hangingPunct="0">
              <a:lnSpc>
                <a:spcPct val="100000"/>
              </a:lnSpc>
              <a:spcBef>
                <a:spcPts val="0"/>
              </a:spcBef>
              <a:spcAft>
                <a:spcPts val="0"/>
              </a:spcAft>
              <a:buClrTx/>
              <a:buSzTx/>
              <a:buFontTx/>
              <a:buNone/>
              <a:tabLst/>
              <a:defRPr/>
            </a:pPr>
            <a:r>
              <a:rPr kumimoji="0" lang="en-US" sz="1002" b="0" i="0" u="none" strike="noStrike" kern="300" cap="none" spc="100" normalizeH="0" baseline="0" noProof="0">
                <a:ln>
                  <a:noFill/>
                </a:ln>
                <a:solidFill>
                  <a:schemeClr val="accent1">
                    <a:lumMod val="50000"/>
                  </a:schemeClr>
                </a:solidFill>
                <a:effectLst/>
                <a:uLnTx/>
                <a:uFillTx/>
                <a:latin typeface="+mn-lt"/>
                <a:ea typeface="Calibri" charset="0"/>
                <a:cs typeface="Arial" panose="020B0604020202020204" pitchFamily="34" charset="0"/>
              </a:rPr>
              <a:t>Copyright © SAS Institute Inc. All rights reserved.</a:t>
            </a:r>
          </a:p>
        </p:txBody>
      </p:sp>
      <p:sp>
        <p:nvSpPr>
          <p:cNvPr id="5" name="Rectangle 4">
            <a:extLst>
              <a:ext uri="{FF2B5EF4-FFF2-40B4-BE49-F238E27FC236}">
                <a16:creationId xmlns:a16="http://schemas.microsoft.com/office/drawing/2014/main" id="{45B89570-3432-0C40-A938-8499E435A32C}"/>
              </a:ext>
            </a:extLst>
          </p:cNvPr>
          <p:cNvSpPr/>
          <p:nvPr userDrawn="1"/>
        </p:nvSpPr>
        <p:spPr>
          <a:xfrm>
            <a:off x="0" y="-2"/>
            <a:ext cx="18288000" cy="342900"/>
          </a:xfrm>
          <a:prstGeom prst="rect">
            <a:avLst/>
          </a:prstGeom>
          <a:gradFill>
            <a:gsLst>
              <a:gs pos="0">
                <a:srgbClr val="D4C6FF"/>
              </a:gs>
              <a:gs pos="84000">
                <a:srgbClr val="C1E3FF"/>
              </a:gs>
            </a:gsLst>
            <a:lin ang="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566"/>
            <a:endParaRPr lang="en-US" sz="2700">
              <a:solidFill>
                <a:prstClr val="white"/>
              </a:solidFill>
              <a:latin typeface="Calibri" panose="020F0502020204030204"/>
            </a:endParaRPr>
          </a:p>
        </p:txBody>
      </p:sp>
    </p:spTree>
    <p:extLst>
      <p:ext uri="{BB962C8B-B14F-4D97-AF65-F5344CB8AC3E}">
        <p14:creationId xmlns:p14="http://schemas.microsoft.com/office/powerpoint/2010/main" val="19505598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2927508"/>
            <a:ext cx="15782544"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4220170"/>
            <a:ext cx="15782544"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24612686-B145-6F4A-1531-AD67927263F0}"/>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1334830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3B214E2-D916-9EE6-6B77-B679D20E4A5D}"/>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AF743176-87C4-04B2-B798-46BBA0270BC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472563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3293832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487486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280111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647229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98612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lvl1pPr>
              <a:defRPr>
                <a:solidFill>
                  <a:schemeClr val="accent5"/>
                </a:solidFill>
              </a:defRPr>
            </a:lvl1pPr>
          </a:lstStyle>
          <a:p>
            <a:r>
              <a:rPr lang="en-US"/>
              <a:t>Click to Add Slide Title</a:t>
            </a:r>
          </a:p>
        </p:txBody>
      </p:sp>
    </p:spTree>
    <p:custDataLst>
      <p:tags r:id="rId1"/>
    </p:custDataLst>
    <p:extLst>
      <p:ext uri="{BB962C8B-B14F-4D97-AF65-F5344CB8AC3E}">
        <p14:creationId xmlns:p14="http://schemas.microsoft.com/office/powerpoint/2010/main" val="41176916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81E4D011-6D65-0AE8-97A7-B5392D2B3184}"/>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62337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sp>
        <p:nvSpPr>
          <p:cNvPr id="8" name="TextBox 7">
            <a:extLst>
              <a:ext uri="{FF2B5EF4-FFF2-40B4-BE49-F238E27FC236}">
                <a16:creationId xmlns:a16="http://schemas.microsoft.com/office/drawing/2014/main" id="{7FB5F2C6-0EE9-E736-638B-CF17D20996FD}"/>
              </a:ext>
            </a:extLst>
          </p:cNvPr>
          <p:cNvSpPr txBox="1"/>
          <p:nvPr userDrawn="1"/>
        </p:nvSpPr>
        <p:spPr>
          <a:xfrm>
            <a:off x="1252432" y="8436406"/>
            <a:ext cx="7891568" cy="738664"/>
          </a:xfrm>
          <a:prstGeom prst="rect">
            <a:avLst/>
          </a:prstGeom>
        </p:spPr>
        <p:txBody>
          <a:bodyPr vert="horz" wrap="square" lIns="0" tIns="0" rIns="0" bIns="0" rtlCol="0">
            <a:noAutofit/>
          </a:bodyPr>
          <a:lstStyle>
            <a:lvl1pPr lvl="0" indent="0" defTabSz="1371600">
              <a:lnSpc>
                <a:spcPct val="100000"/>
              </a:lnSpc>
              <a:spcBef>
                <a:spcPts val="600"/>
              </a:spcBef>
              <a:buClr>
                <a:schemeClr val="accent1"/>
              </a:buClr>
              <a:buFont typeface="Anova Light" panose="020B0403020203020204" pitchFamily="34" charset="0"/>
              <a:buNone/>
              <a:defRPr sz="4800">
                <a:solidFill>
                  <a:schemeClr val="accent3"/>
                </a:solidFill>
                <a:latin typeface="Anova Light" panose="020B0403020203020204" pitchFamily="34" charset="0"/>
              </a:defRPr>
            </a:lvl1pPr>
            <a:lvl2pPr marL="365760" indent="0" defTabSz="1371600">
              <a:lnSpc>
                <a:spcPct val="85000"/>
              </a:lnSpc>
              <a:spcBef>
                <a:spcPts val="1600"/>
              </a:spcBef>
              <a:buClr>
                <a:schemeClr val="accent1"/>
              </a:buClr>
              <a:buFont typeface="Anova Light" panose="020B0403020203020204" pitchFamily="34" charset="0"/>
              <a:buNone/>
              <a:defRPr sz="2800">
                <a:solidFill>
                  <a:schemeClr val="accent3"/>
                </a:solidFill>
                <a:latin typeface="Anova Light" panose="020B0403020203020204" pitchFamily="34" charset="0"/>
              </a:defRPr>
            </a:lvl2pPr>
            <a:lvl3pPr marL="731520" indent="0" defTabSz="1371600">
              <a:lnSpc>
                <a:spcPct val="85000"/>
              </a:lnSpc>
              <a:spcBef>
                <a:spcPts val="1600"/>
              </a:spcBef>
              <a:buClr>
                <a:schemeClr val="accent1"/>
              </a:buClr>
              <a:buFont typeface="Anova Light" panose="020B0403020203020204" pitchFamily="34" charset="0"/>
              <a:buNone/>
              <a:defRPr sz="2400">
                <a:solidFill>
                  <a:schemeClr val="accent3"/>
                </a:solidFill>
                <a:latin typeface="Anova Light" panose="020B0403020203020204" pitchFamily="34" charset="0"/>
              </a:defRPr>
            </a:lvl3pPr>
            <a:lvl4pPr marL="2057400" indent="0" defTabSz="1371600">
              <a:lnSpc>
                <a:spcPct val="90000"/>
              </a:lnSpc>
              <a:spcBef>
                <a:spcPts val="750"/>
              </a:spcBef>
              <a:buFont typeface="Anova Light" panose="020B0403020203020204" pitchFamily="34" charset="0"/>
              <a:buNone/>
              <a:defRPr sz="2700">
                <a:solidFill>
                  <a:schemeClr val="accent3"/>
                </a:solidFill>
                <a:latin typeface="+mj-lt"/>
              </a:defRPr>
            </a:lvl4pPr>
            <a:lvl5pPr marL="2743200" indent="0" defTabSz="1371600">
              <a:lnSpc>
                <a:spcPct val="90000"/>
              </a:lnSpc>
              <a:spcBef>
                <a:spcPts val="750"/>
              </a:spcBef>
              <a:buFont typeface="Anova Light" panose="020B0403020203020204" pitchFamily="34" charset="0"/>
              <a:buNone/>
              <a:defRPr sz="2700">
                <a:solidFill>
                  <a:schemeClr val="accent3"/>
                </a:solidFill>
                <a:latin typeface="+mj-lt"/>
              </a:defRPr>
            </a:lvl5pPr>
            <a:lvl6pPr marL="3771900" indent="-342900" defTabSz="1371600">
              <a:lnSpc>
                <a:spcPct val="90000"/>
              </a:lnSpc>
              <a:spcBef>
                <a:spcPts val="750"/>
              </a:spcBef>
              <a:buFont typeface="Anova Light" panose="020B0403020203020204" pitchFamily="34" charset="0"/>
              <a:buChar char="•"/>
              <a:defRPr sz="2700"/>
            </a:lvl6pPr>
            <a:lvl7pPr marL="4457700" indent="-342900" defTabSz="1371600">
              <a:lnSpc>
                <a:spcPct val="90000"/>
              </a:lnSpc>
              <a:spcBef>
                <a:spcPts val="750"/>
              </a:spcBef>
              <a:buFont typeface="Anova Light" panose="020B0403020203020204" pitchFamily="34" charset="0"/>
              <a:buChar char="•"/>
              <a:defRPr sz="2700"/>
            </a:lvl7pPr>
            <a:lvl8pPr marL="5143500" indent="-342900" defTabSz="1371600">
              <a:lnSpc>
                <a:spcPct val="90000"/>
              </a:lnSpc>
              <a:spcBef>
                <a:spcPts val="750"/>
              </a:spcBef>
              <a:buFont typeface="Anova Light" panose="020B0403020203020204" pitchFamily="34" charset="0"/>
              <a:buChar char="•"/>
              <a:defRPr sz="2700"/>
            </a:lvl8pPr>
            <a:lvl9pPr marL="5829300" indent="-342900" defTabSz="1371600">
              <a:lnSpc>
                <a:spcPct val="90000"/>
              </a:lnSpc>
              <a:spcBef>
                <a:spcPts val="750"/>
              </a:spcBef>
              <a:buFont typeface="Anova Light" panose="020B0403020203020204" pitchFamily="34" charset="0"/>
              <a:buChar char="•"/>
              <a:defRPr sz="2700"/>
            </a:lvl9pPr>
          </a:lstStyle>
          <a:p>
            <a:pPr lvl="0"/>
            <a:r>
              <a:rPr lang="en-US" b="0" i="0">
                <a:latin typeface="Anova Light" panose="020B0403020203020204" pitchFamily="34" charset="0"/>
              </a:rPr>
              <a:t>sas.com</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Box 4">
            <a:extLst>
              <a:ext uri="{FF2B5EF4-FFF2-40B4-BE49-F238E27FC236}">
                <a16:creationId xmlns:a16="http://schemas.microsoft.com/office/drawing/2014/main" id="{DB71CD65-17AD-B983-7004-2A7A180DF653}"/>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26873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74154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F46A3A5D-FA4E-A8D4-5076-B642A4D3CD29}"/>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C5CE57A-DF0A-1A03-3A12-06EA5D2C9E5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340308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SAS - Content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52728" y="384048"/>
            <a:ext cx="15782544" cy="914400"/>
          </a:xfrm>
        </p:spPr>
        <p:txBody>
          <a:bodyPr anchor="ctr" anchorCtr="0">
            <a:noAutofit/>
          </a:bodyPr>
          <a:lstStyle>
            <a:lvl1pPr algn="ctr">
              <a:defRPr>
                <a:solidFill>
                  <a:schemeClr val="tx2"/>
                </a:solidFill>
              </a:defRPr>
            </a:lvl1pPr>
          </a:lstStyle>
          <a:p>
            <a:r>
              <a:rPr lang="en-US"/>
              <a:t>Click to Edit Title</a:t>
            </a:r>
          </a:p>
        </p:txBody>
      </p:sp>
      <p:sp>
        <p:nvSpPr>
          <p:cNvPr id="6" name="Text Placeholder 2"/>
          <p:cNvSpPr>
            <a:spLocks noGrp="1"/>
          </p:cNvSpPr>
          <p:nvPr>
            <p:ph type="body" sz="quarter" idx="12" hasCustomPrompt="1"/>
          </p:nvPr>
        </p:nvSpPr>
        <p:spPr>
          <a:xfrm flipH="1">
            <a:off x="1252728" y="1280160"/>
            <a:ext cx="15782544" cy="548640"/>
          </a:xfrm>
        </p:spPr>
        <p:txBody>
          <a:bodyPr wrap="square" anchor="ctr">
            <a:noAutofit/>
          </a:bodyPr>
          <a:lstStyle>
            <a:lvl1pPr marL="0" indent="0" algn="ctr">
              <a:lnSpc>
                <a:spcPct val="100000"/>
              </a:lnSpc>
              <a:spcBef>
                <a:spcPts val="0"/>
              </a:spcBef>
              <a:buFont typeface="Arial" pitchFamily="34" charset="0"/>
              <a:buNone/>
              <a:defRPr sz="4400" b="0" cap="none" baseline="0">
                <a:solidFill>
                  <a:schemeClr val="accent1"/>
                </a:solidFill>
                <a:latin typeface="+mj-lt"/>
              </a:defRPr>
            </a:lvl1pPr>
          </a:lstStyle>
          <a:p>
            <a:pPr lvl="0"/>
            <a:r>
              <a:rPr lang="en-US"/>
              <a:t>Click to edit subtitle</a:t>
            </a:r>
          </a:p>
        </p:txBody>
      </p:sp>
      <p:sp>
        <p:nvSpPr>
          <p:cNvPr id="4" name="Content Placeholder 3"/>
          <p:cNvSpPr>
            <a:spLocks noGrp="1"/>
          </p:cNvSpPr>
          <p:nvPr>
            <p:ph sz="quarter" idx="11" hasCustomPrompt="1"/>
          </p:nvPr>
        </p:nvSpPr>
        <p:spPr>
          <a:xfrm>
            <a:off x="1252728" y="2032919"/>
            <a:ext cx="15782544" cy="7285706"/>
          </a:xfrm>
        </p:spPr>
        <p:txBody>
          <a:bodyPr wrap="square" anchor="t" anchorCtr="0">
            <a:normAutofit/>
          </a:bodyPr>
          <a:lstStyle>
            <a:lvl1pPr>
              <a:defRPr baseline="0">
                <a:solidFill>
                  <a:schemeClr val="tx2"/>
                </a:solidFill>
              </a:defRPr>
            </a:lvl1pPr>
            <a:lvl2pPr>
              <a:buClr>
                <a:schemeClr val="tx1">
                  <a:lumMod val="65000"/>
                  <a:lumOff val="35000"/>
                </a:schemeClr>
              </a:buClr>
              <a:defRPr baseline="0">
                <a:solidFill>
                  <a:schemeClr val="tx1">
                    <a:lumMod val="65000"/>
                    <a:lumOff val="35000"/>
                  </a:schemeClr>
                </a:solidFill>
              </a:defRPr>
            </a:lvl2pPr>
            <a:lvl3pPr>
              <a:buClr>
                <a:schemeClr val="tx1">
                  <a:lumMod val="65000"/>
                  <a:lumOff val="35000"/>
                </a:schemeClr>
              </a:buClr>
              <a:defRPr baseline="0">
                <a:solidFill>
                  <a:schemeClr val="tx1">
                    <a:lumMod val="65000"/>
                    <a:lumOff val="35000"/>
                  </a:schemeClr>
                </a:solidFill>
              </a:defRPr>
            </a:lvl3pPr>
            <a:lvl4pPr>
              <a:buClr>
                <a:schemeClr val="tx1">
                  <a:lumMod val="65000"/>
                  <a:lumOff val="35000"/>
                </a:schemeClr>
              </a:buClr>
              <a:defRPr baseline="0">
                <a:solidFill>
                  <a:schemeClr val="tx1">
                    <a:lumMod val="65000"/>
                    <a:lumOff val="35000"/>
                  </a:schemeClr>
                </a:solidFill>
              </a:defRPr>
            </a:lvl4pPr>
            <a:lvl5pPr>
              <a:buClr>
                <a:schemeClr val="tx1">
                  <a:lumMod val="65000"/>
                  <a:lumOff val="35000"/>
                </a:schemeClr>
              </a:buClr>
              <a:defRPr baseline="0">
                <a:solidFill>
                  <a:schemeClr val="tx1">
                    <a:lumMod val="65000"/>
                    <a:lumOff val="35000"/>
                  </a:schemeClr>
                </a:solidFill>
              </a:defRPr>
            </a:lvl5pPr>
          </a:lstStyle>
          <a:p>
            <a:pPr lvl="0"/>
            <a:r>
              <a:rPr lang="en-US"/>
              <a:t>Click to add text or click an icon to add other content types.</a:t>
            </a:r>
          </a:p>
          <a:p>
            <a:pPr lvl="1"/>
            <a:r>
              <a:rPr lang="en-US"/>
              <a:t>Second level</a:t>
            </a:r>
          </a:p>
          <a:p>
            <a:pPr lvl="2"/>
            <a:r>
              <a:rPr lang="en-US"/>
              <a:t>Third level</a:t>
            </a:r>
          </a:p>
        </p:txBody>
      </p:sp>
      <p:sp>
        <p:nvSpPr>
          <p:cNvPr id="11" name="Slide Number Placeholder 4"/>
          <p:cNvSpPr>
            <a:spLocks noGrp="1"/>
          </p:cNvSpPr>
          <p:nvPr>
            <p:ph type="sldNum" sz="quarter" idx="14"/>
          </p:nvPr>
        </p:nvSpPr>
        <p:spPr/>
        <p:txBody>
          <a:bodyPr/>
          <a:lstStyle/>
          <a:p>
            <a:fld id="{4976208B-6111-490B-8CEC-FFB249DB2100}" type="slidenum">
              <a:rPr lang="en-US" smtClean="0"/>
              <a:pPr/>
              <a:t>‹#›</a:t>
            </a:fld>
            <a:endParaRPr lang="en-US"/>
          </a:p>
        </p:txBody>
      </p:sp>
    </p:spTree>
    <p:extLst>
      <p:ext uri="{BB962C8B-B14F-4D97-AF65-F5344CB8AC3E}">
        <p14:creationId xmlns:p14="http://schemas.microsoft.com/office/powerpoint/2010/main" val="35767820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2927508"/>
            <a:ext cx="15782544"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4220170"/>
            <a:ext cx="15782544"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24612686-B145-6F4A-1531-AD67927263F0}"/>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2873440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3B214E2-D916-9EE6-6B77-B679D20E4A5D}"/>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AF743176-87C4-04B2-B798-46BBA0270BC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2592246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97761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310455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1898903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902083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658549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lvl1pPr>
              <a:defRPr>
                <a:solidFill>
                  <a:schemeClr val="accent5"/>
                </a:solidFill>
              </a:defRPr>
            </a:lvl1pPr>
          </a:lstStyle>
          <a:p>
            <a:r>
              <a:rPr lang="en-US"/>
              <a:t>Click to Add Slide Title</a:t>
            </a:r>
          </a:p>
        </p:txBody>
      </p:sp>
    </p:spTree>
    <p:custDataLst>
      <p:tags r:id="rId1"/>
    </p:custDataLst>
    <p:extLst>
      <p:ext uri="{BB962C8B-B14F-4D97-AF65-F5344CB8AC3E}">
        <p14:creationId xmlns:p14="http://schemas.microsoft.com/office/powerpoint/2010/main" val="37972509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81E4D011-6D65-0AE8-97A7-B5392D2B3184}"/>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2647464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sp>
        <p:nvSpPr>
          <p:cNvPr id="8" name="TextBox 7">
            <a:extLst>
              <a:ext uri="{FF2B5EF4-FFF2-40B4-BE49-F238E27FC236}">
                <a16:creationId xmlns:a16="http://schemas.microsoft.com/office/drawing/2014/main" id="{7FB5F2C6-0EE9-E736-638B-CF17D20996FD}"/>
              </a:ext>
            </a:extLst>
          </p:cNvPr>
          <p:cNvSpPr txBox="1"/>
          <p:nvPr userDrawn="1"/>
        </p:nvSpPr>
        <p:spPr>
          <a:xfrm>
            <a:off x="1252432" y="8436406"/>
            <a:ext cx="7891568" cy="738664"/>
          </a:xfrm>
          <a:prstGeom prst="rect">
            <a:avLst/>
          </a:prstGeom>
        </p:spPr>
        <p:txBody>
          <a:bodyPr vert="horz" wrap="square" lIns="0" tIns="0" rIns="0" bIns="0" rtlCol="0">
            <a:noAutofit/>
          </a:bodyPr>
          <a:lstStyle>
            <a:lvl1pPr lvl="0" indent="0" defTabSz="1371600">
              <a:lnSpc>
                <a:spcPct val="100000"/>
              </a:lnSpc>
              <a:spcBef>
                <a:spcPts val="600"/>
              </a:spcBef>
              <a:buClr>
                <a:schemeClr val="accent1"/>
              </a:buClr>
              <a:buFont typeface="Anova Light" panose="020B0403020203020204" pitchFamily="34" charset="0"/>
              <a:buNone/>
              <a:defRPr sz="4800">
                <a:solidFill>
                  <a:schemeClr val="accent3"/>
                </a:solidFill>
                <a:latin typeface="Anova Light" panose="020B0403020203020204" pitchFamily="34" charset="0"/>
              </a:defRPr>
            </a:lvl1pPr>
            <a:lvl2pPr marL="365760" indent="0" defTabSz="1371600">
              <a:lnSpc>
                <a:spcPct val="85000"/>
              </a:lnSpc>
              <a:spcBef>
                <a:spcPts val="1600"/>
              </a:spcBef>
              <a:buClr>
                <a:schemeClr val="accent1"/>
              </a:buClr>
              <a:buFont typeface="Anova Light" panose="020B0403020203020204" pitchFamily="34" charset="0"/>
              <a:buNone/>
              <a:defRPr sz="2800">
                <a:solidFill>
                  <a:schemeClr val="accent3"/>
                </a:solidFill>
                <a:latin typeface="Anova Light" panose="020B0403020203020204" pitchFamily="34" charset="0"/>
              </a:defRPr>
            </a:lvl2pPr>
            <a:lvl3pPr marL="731520" indent="0" defTabSz="1371600">
              <a:lnSpc>
                <a:spcPct val="85000"/>
              </a:lnSpc>
              <a:spcBef>
                <a:spcPts val="1600"/>
              </a:spcBef>
              <a:buClr>
                <a:schemeClr val="accent1"/>
              </a:buClr>
              <a:buFont typeface="Anova Light" panose="020B0403020203020204" pitchFamily="34" charset="0"/>
              <a:buNone/>
              <a:defRPr sz="2400">
                <a:solidFill>
                  <a:schemeClr val="accent3"/>
                </a:solidFill>
                <a:latin typeface="Anova Light" panose="020B0403020203020204" pitchFamily="34" charset="0"/>
              </a:defRPr>
            </a:lvl3pPr>
            <a:lvl4pPr marL="2057400" indent="0" defTabSz="1371600">
              <a:lnSpc>
                <a:spcPct val="90000"/>
              </a:lnSpc>
              <a:spcBef>
                <a:spcPts val="750"/>
              </a:spcBef>
              <a:buFont typeface="Anova Light" panose="020B0403020203020204" pitchFamily="34" charset="0"/>
              <a:buNone/>
              <a:defRPr sz="2700">
                <a:solidFill>
                  <a:schemeClr val="accent3"/>
                </a:solidFill>
                <a:latin typeface="+mj-lt"/>
              </a:defRPr>
            </a:lvl4pPr>
            <a:lvl5pPr marL="2743200" indent="0" defTabSz="1371600">
              <a:lnSpc>
                <a:spcPct val="90000"/>
              </a:lnSpc>
              <a:spcBef>
                <a:spcPts val="750"/>
              </a:spcBef>
              <a:buFont typeface="Anova Light" panose="020B0403020203020204" pitchFamily="34" charset="0"/>
              <a:buNone/>
              <a:defRPr sz="2700">
                <a:solidFill>
                  <a:schemeClr val="accent3"/>
                </a:solidFill>
                <a:latin typeface="+mj-lt"/>
              </a:defRPr>
            </a:lvl5pPr>
            <a:lvl6pPr marL="3771900" indent="-342900" defTabSz="1371600">
              <a:lnSpc>
                <a:spcPct val="90000"/>
              </a:lnSpc>
              <a:spcBef>
                <a:spcPts val="750"/>
              </a:spcBef>
              <a:buFont typeface="Anova Light" panose="020B0403020203020204" pitchFamily="34" charset="0"/>
              <a:buChar char="•"/>
              <a:defRPr sz="2700"/>
            </a:lvl6pPr>
            <a:lvl7pPr marL="4457700" indent="-342900" defTabSz="1371600">
              <a:lnSpc>
                <a:spcPct val="90000"/>
              </a:lnSpc>
              <a:spcBef>
                <a:spcPts val="750"/>
              </a:spcBef>
              <a:buFont typeface="Anova Light" panose="020B0403020203020204" pitchFamily="34" charset="0"/>
              <a:buChar char="•"/>
              <a:defRPr sz="2700"/>
            </a:lvl7pPr>
            <a:lvl8pPr marL="5143500" indent="-342900" defTabSz="1371600">
              <a:lnSpc>
                <a:spcPct val="90000"/>
              </a:lnSpc>
              <a:spcBef>
                <a:spcPts val="750"/>
              </a:spcBef>
              <a:buFont typeface="Anova Light" panose="020B0403020203020204" pitchFamily="34" charset="0"/>
              <a:buChar char="•"/>
              <a:defRPr sz="2700"/>
            </a:lvl8pPr>
            <a:lvl9pPr marL="5829300" indent="-342900" defTabSz="1371600">
              <a:lnSpc>
                <a:spcPct val="90000"/>
              </a:lnSpc>
              <a:spcBef>
                <a:spcPts val="750"/>
              </a:spcBef>
              <a:buFont typeface="Anova Light" panose="020B0403020203020204" pitchFamily="34" charset="0"/>
              <a:buChar char="•"/>
              <a:defRPr sz="2700"/>
            </a:lvl9pPr>
          </a:lstStyle>
          <a:p>
            <a:pPr lvl="0"/>
            <a:r>
              <a:rPr lang="en-US" b="0" i="0">
                <a:latin typeface="Anova Light" panose="020B0403020203020204" pitchFamily="34" charset="0"/>
              </a:rPr>
              <a:t>sas.com</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Box 4">
            <a:extLst>
              <a:ext uri="{FF2B5EF4-FFF2-40B4-BE49-F238E27FC236}">
                <a16:creationId xmlns:a16="http://schemas.microsoft.com/office/drawing/2014/main" id="{DB71CD65-17AD-B983-7004-2A7A180DF653}"/>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1820409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3911125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F46A3A5D-FA4E-A8D4-5076-B642A4D3CD29}"/>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C5CE57A-DF0A-1A03-3A12-06EA5D2C9E58}"/>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11872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SAS - Title Only -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252728" y="384048"/>
            <a:ext cx="15782544" cy="914400"/>
          </a:xfrm>
        </p:spPr>
        <p:txBody>
          <a:bodyPr anchor="ctr" anchorCtr="0">
            <a:noAutofit/>
          </a:bodyPr>
          <a:lstStyle>
            <a:lvl1pPr algn="ctr">
              <a:defRPr baseline="0">
                <a:solidFill>
                  <a:schemeClr val="tx2"/>
                </a:solidFill>
              </a:defRPr>
            </a:lvl1pPr>
          </a:lstStyle>
          <a:p>
            <a:r>
              <a:rPr lang="en-US"/>
              <a:t>Click to Edit Title</a:t>
            </a:r>
          </a:p>
        </p:txBody>
      </p:sp>
      <p:sp>
        <p:nvSpPr>
          <p:cNvPr id="4" name="Slide Number Placeholder 2"/>
          <p:cNvSpPr>
            <a:spLocks noGrp="1"/>
          </p:cNvSpPr>
          <p:nvPr>
            <p:ph type="sldNum" sz="quarter" idx="11"/>
          </p:nvPr>
        </p:nvSpPr>
        <p:spPr/>
        <p:txBody>
          <a:bodyPr/>
          <a:lstStyle/>
          <a:p>
            <a:fld id="{4976208B-6111-490B-8CEC-FFB249DB2100}" type="slidenum">
              <a:rPr lang="en-US" smtClean="0"/>
              <a:pPr/>
              <a:t>‹#›</a:t>
            </a:fld>
            <a:endParaRPr lang="en-US"/>
          </a:p>
        </p:txBody>
      </p:sp>
    </p:spTree>
    <p:extLst>
      <p:ext uri="{BB962C8B-B14F-4D97-AF65-F5344CB8AC3E}">
        <p14:creationId xmlns:p14="http://schemas.microsoft.com/office/powerpoint/2010/main" val="2981612318"/>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AS Innovate - Titl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1" y="2927508"/>
            <a:ext cx="15778269"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1" y="4220170"/>
            <a:ext cx="15778269"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0306964"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Tree>
    <p:custDataLst>
      <p:tags r:id="rId1"/>
    </p:custDataLst>
    <p:extLst>
      <p:ext uri="{BB962C8B-B14F-4D97-AF65-F5344CB8AC3E}">
        <p14:creationId xmlns:p14="http://schemas.microsoft.com/office/powerpoint/2010/main" val="22022428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AS - Section">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Tree>
    <p:custDataLst>
      <p:tags r:id="rId1"/>
    </p:custDataLst>
    <p:extLst>
      <p:ext uri="{BB962C8B-B14F-4D97-AF65-F5344CB8AC3E}">
        <p14:creationId xmlns:p14="http://schemas.microsoft.com/office/powerpoint/2010/main" val="210912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9023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1271599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lang="en-US" dirty="0"/>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lang="en-US" dirty="0">
                <a:solidFill>
                  <a:schemeClr val="accent3"/>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837235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lang="en-US" dirty="0"/>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lang="en-US" dirty="0">
                <a:solidFill>
                  <a:schemeClr val="accent3"/>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678174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lang="en-US" dirty="0"/>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lang="en-US" dirty="0">
                <a:solidFill>
                  <a:schemeClr val="accent3"/>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2199730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AS - Title Only Right">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913348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AS - Title &amp; Subtitle Right">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accent3"/>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501396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Tree>
    <p:custDataLst>
      <p:tags r:id="rId1"/>
    </p:custDataLst>
    <p:extLst>
      <p:ext uri="{BB962C8B-B14F-4D97-AF65-F5344CB8AC3E}">
        <p14:creationId xmlns:p14="http://schemas.microsoft.com/office/powerpoint/2010/main" val="257687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SAS - Blank - Midnight">
    <p:bg>
      <p:bgPr>
        <a:solidFill>
          <a:schemeClr val="tx2"/>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98319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94813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1" y="2927508"/>
            <a:ext cx="15778269"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1" y="4220170"/>
            <a:ext cx="15778269" cy="923330"/>
          </a:xfrm>
        </p:spPr>
        <p:txBody>
          <a:bodyPr wrap="square">
            <a:noAutofit/>
          </a:bodyPr>
          <a:lstStyle>
            <a:lvl1pPr marL="0" indent="0">
              <a:lnSpc>
                <a:spcPct val="100000"/>
              </a:lnSpc>
              <a:spcBef>
                <a:spcPts val="600"/>
              </a:spcBef>
              <a:buNone/>
              <a:defRPr sz="4800">
                <a:solidFill>
                  <a:schemeClr val="accent3"/>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370666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0410571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3850838"/>
            <a:ext cx="12123722" cy="1292662"/>
          </a:xfrm>
          <a:prstGeom prst="rect">
            <a:avLst/>
          </a:prstGeom>
        </p:spPr>
        <p:txBody>
          <a:bodyPr vert="horz" wrap="square" lIns="0" tIns="0" rIns="0" bIns="182880" rtlCol="0" anchor="b" anchorCtr="0">
            <a:spAutoFit/>
          </a:bodyPr>
          <a:lstStyle>
            <a:lvl1pPr>
              <a:lnSpc>
                <a:spcPct val="100000"/>
              </a:lnSpc>
              <a:spcBef>
                <a:spcPts val="600"/>
              </a:spcBef>
              <a:defRPr sz="7200">
                <a:solidFill>
                  <a:schemeClr val="bg1"/>
                </a:solidFill>
              </a:defRPr>
            </a:lvl1pPr>
          </a:lstStyle>
          <a:p>
            <a:r>
              <a:rPr lang="en-US"/>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1252432" y="5342753"/>
            <a:ext cx="12123722" cy="923330"/>
          </a:xfrm>
        </p:spPr>
        <p:txBody>
          <a:bodyPr wrap="square" anchor="t" anchorCtr="0">
            <a:noAutofit/>
          </a:bodyPr>
          <a:lstStyle>
            <a:lvl1pPr marL="0" indent="0">
              <a:lnSpc>
                <a:spcPct val="100000"/>
              </a:lnSpc>
              <a:spcBef>
                <a:spcPts val="600"/>
              </a:spcBef>
              <a:buNone/>
              <a:defRPr sz="4800">
                <a:solidFill>
                  <a:schemeClr val="bg1"/>
                </a:solidFill>
              </a:defRPr>
            </a:lvl1pPr>
            <a:lvl2pPr marL="365760" indent="0">
              <a:buNone/>
              <a:defRPr>
                <a:solidFill>
                  <a:schemeClr val="accent3"/>
                </a:solidFill>
              </a:defRPr>
            </a:lvl2pPr>
            <a:lvl3pPr marL="731520" indent="0">
              <a:buNone/>
              <a:defRPr>
                <a:solidFill>
                  <a:schemeClr val="accent3"/>
                </a:solidFill>
              </a:defRPr>
            </a:lvl3pPr>
            <a:lvl4pPr marL="2057400" indent="0">
              <a:buNone/>
              <a:defRPr>
                <a:solidFill>
                  <a:schemeClr val="accent3"/>
                </a:solidFill>
              </a:defRPr>
            </a:lvl4pPr>
            <a:lvl5pPr marL="2743200" indent="0">
              <a:buNone/>
              <a:defRPr>
                <a:solidFill>
                  <a:schemeClr val="accent3"/>
                </a:solidFill>
              </a:defRPr>
            </a:lvl5pPr>
          </a:lstStyle>
          <a:p>
            <a:pPr lvl="0"/>
            <a:r>
              <a:rPr lang="en-US"/>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6826158" y="9516543"/>
            <a:ext cx="1112812" cy="461922"/>
          </a:xfrm>
          <a:prstGeom prst="rect">
            <a:avLst/>
          </a:prstGeom>
        </p:spPr>
      </p:pic>
    </p:spTree>
    <p:custDataLst>
      <p:tags r:id="rId1"/>
    </p:custDataLst>
    <p:extLst>
      <p:ext uri="{BB962C8B-B14F-4D97-AF65-F5344CB8AC3E}">
        <p14:creationId xmlns:p14="http://schemas.microsoft.com/office/powerpoint/2010/main" val="1818569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1257300" y="710304"/>
            <a:ext cx="15773400" cy="775596"/>
          </a:xfrm>
          <a:prstGeom prst="rect">
            <a:avLst/>
          </a:prstGeom>
        </p:spPr>
        <p:txBody>
          <a:bodyPr vert="horz"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431987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275089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1257300" y="2400300"/>
            <a:ext cx="15773400" cy="6865146"/>
          </a:xfrm>
          <a:prstGeom prst="rect">
            <a:avLst/>
          </a:prstGeom>
        </p:spPr>
        <p:txBody>
          <a:bodyPr vert="horz" lIns="0" tIns="0" rIns="0" bIns="0" rtlCol="0">
            <a:normAutofit/>
          </a:bodyPr>
          <a:lstStyle>
            <a:lvl1pPr>
              <a:defRPr sz="3600"/>
            </a:lvl1pPr>
            <a:lvl2pPr>
              <a:defRPr sz="2800"/>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090751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1257299" y="2400300"/>
            <a:ext cx="7741846"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9288856" y="2400300"/>
            <a:ext cx="7741848" cy="6865145"/>
          </a:xfrm>
          <a:prstGeom prst="rect">
            <a:avLst/>
          </a:prstGeom>
        </p:spPr>
        <p:txBody>
          <a:bodyPr vert="horz" lIns="0" tIns="0" rIns="0" bIns="0" rtlCol="0">
            <a:normAutofit/>
          </a:bodyPr>
          <a:lstStyle>
            <a:lvl1pPr>
              <a:defRPr sz="3600"/>
            </a:lvl1pPr>
            <a:lvl2pPr>
              <a:defRPr sz="2800">
                <a:latin typeface="+mn-lt"/>
              </a:defRPr>
            </a:lvl2pPr>
            <a:lvl3pPr>
              <a:defRPr sz="24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custDataLst>
      <p:tags r:id="rId1"/>
    </p:custDataLst>
    <p:extLst>
      <p:ext uri="{BB962C8B-B14F-4D97-AF65-F5344CB8AC3E}">
        <p14:creationId xmlns:p14="http://schemas.microsoft.com/office/powerpoint/2010/main" val="3542399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218523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2527238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450724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599914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Custom Layout (placehol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2DC8FC-2843-E1A5-14D2-5C5141746731}"/>
              </a:ext>
            </a:extLst>
          </p:cNvPr>
          <p:cNvSpPr>
            <a:spLocks noGrp="1"/>
          </p:cNvSpPr>
          <p:nvPr>
            <p:ph type="title"/>
          </p:nvPr>
        </p:nvSpPr>
        <p:spPr/>
        <p:txBody>
          <a:bodyPr/>
          <a:lstStyle/>
          <a:p>
            <a:r>
              <a:rPr lang="en-US"/>
              <a:t>Click to edit Master title style</a:t>
            </a:r>
            <a:endParaRPr lang="en-GB"/>
          </a:p>
        </p:txBody>
      </p:sp>
      <p:sp>
        <p:nvSpPr>
          <p:cNvPr id="7" name="Picture Placeholder 6">
            <a:extLst>
              <a:ext uri="{FF2B5EF4-FFF2-40B4-BE49-F238E27FC236}">
                <a16:creationId xmlns:a16="http://schemas.microsoft.com/office/drawing/2014/main" id="{2B7B1EFD-037D-77E8-A306-CFE3AA84E60A}"/>
              </a:ext>
            </a:extLst>
          </p:cNvPr>
          <p:cNvSpPr>
            <a:spLocks noGrp="1"/>
          </p:cNvSpPr>
          <p:nvPr>
            <p:ph type="pic" sz="quarter" idx="10"/>
          </p:nvPr>
        </p:nvSpPr>
        <p:spPr>
          <a:xfrm>
            <a:off x="1279671" y="3556723"/>
            <a:ext cx="6596639" cy="5065158"/>
          </a:xfrm>
          <a:custGeom>
            <a:avLst/>
            <a:gdLst>
              <a:gd name="connsiteX0" fmla="*/ 340632 w 6596639"/>
              <a:gd name="connsiteY0" fmla="*/ 0 h 5065158"/>
              <a:gd name="connsiteX1" fmla="*/ 6256007 w 6596639"/>
              <a:gd name="connsiteY1" fmla="*/ 0 h 5065158"/>
              <a:gd name="connsiteX2" fmla="*/ 6596639 w 6596639"/>
              <a:gd name="connsiteY2" fmla="*/ 340632 h 5065158"/>
              <a:gd name="connsiteX3" fmla="*/ 6596639 w 6596639"/>
              <a:gd name="connsiteY3" fmla="*/ 4724526 h 5065158"/>
              <a:gd name="connsiteX4" fmla="*/ 6256007 w 6596639"/>
              <a:gd name="connsiteY4" fmla="*/ 5065158 h 5065158"/>
              <a:gd name="connsiteX5" fmla="*/ 340632 w 6596639"/>
              <a:gd name="connsiteY5" fmla="*/ 5065158 h 5065158"/>
              <a:gd name="connsiteX6" fmla="*/ 0 w 6596639"/>
              <a:gd name="connsiteY6" fmla="*/ 4724526 h 5065158"/>
              <a:gd name="connsiteX7" fmla="*/ 0 w 6596639"/>
              <a:gd name="connsiteY7" fmla="*/ 340632 h 5065158"/>
              <a:gd name="connsiteX8" fmla="*/ 340632 w 6596639"/>
              <a:gd name="connsiteY8" fmla="*/ 0 h 50651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96639" h="5065158">
                <a:moveTo>
                  <a:pt x="340632" y="0"/>
                </a:moveTo>
                <a:lnTo>
                  <a:pt x="6256007" y="0"/>
                </a:lnTo>
                <a:cubicBezTo>
                  <a:pt x="6444133" y="0"/>
                  <a:pt x="6596639" y="152506"/>
                  <a:pt x="6596639" y="340632"/>
                </a:cubicBezTo>
                <a:lnTo>
                  <a:pt x="6596639" y="4724526"/>
                </a:lnTo>
                <a:cubicBezTo>
                  <a:pt x="6596639" y="4912652"/>
                  <a:pt x="6444133" y="5065158"/>
                  <a:pt x="6256007" y="5065158"/>
                </a:cubicBezTo>
                <a:lnTo>
                  <a:pt x="340632" y="5065158"/>
                </a:lnTo>
                <a:cubicBezTo>
                  <a:pt x="152506" y="5065158"/>
                  <a:pt x="0" y="4912652"/>
                  <a:pt x="0" y="4724526"/>
                </a:cubicBezTo>
                <a:lnTo>
                  <a:pt x="0" y="340632"/>
                </a:lnTo>
                <a:cubicBezTo>
                  <a:pt x="0" y="152506"/>
                  <a:pt x="152506" y="0"/>
                  <a:pt x="340632" y="0"/>
                </a:cubicBezTo>
                <a:close/>
              </a:path>
            </a:pathLst>
          </a:custGeom>
          <a:noFill/>
        </p:spPr>
        <p:txBody>
          <a:bodyPr wrap="square">
            <a:noAutofit/>
          </a:bodyPr>
          <a:lstStyle/>
          <a:p>
            <a:endParaRPr lang="en-GB"/>
          </a:p>
        </p:txBody>
      </p:sp>
      <p:sp>
        <p:nvSpPr>
          <p:cNvPr id="8" name="Text Placeholder 4">
            <a:extLst>
              <a:ext uri="{FF2B5EF4-FFF2-40B4-BE49-F238E27FC236}">
                <a16:creationId xmlns:a16="http://schemas.microsoft.com/office/drawing/2014/main" id="{837709EC-BA15-236A-074E-5EC93F952D57}"/>
              </a:ext>
            </a:extLst>
          </p:cNvPr>
          <p:cNvSpPr>
            <a:spLocks noGrp="1"/>
          </p:cNvSpPr>
          <p:nvPr>
            <p:ph type="body" sz="quarter" idx="11" hasCustomPrompt="1"/>
          </p:nvPr>
        </p:nvSpPr>
        <p:spPr>
          <a:xfrm>
            <a:off x="1257300" y="1562100"/>
            <a:ext cx="15773400" cy="549382"/>
          </a:xfrm>
          <a:prstGeom prst="rect">
            <a:avLst/>
          </a:prstGeom>
        </p:spPr>
        <p:txBody>
          <a:bodyPr anchor="t">
            <a:norm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Tree>
    <p:extLst>
      <p:ext uri="{BB962C8B-B14F-4D97-AF65-F5344CB8AC3E}">
        <p14:creationId xmlns:p14="http://schemas.microsoft.com/office/powerpoint/2010/main" val="1847309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1257300" y="4367905"/>
            <a:ext cx="4428276" cy="1551194"/>
          </a:xfrm>
          <a:prstGeom prst="rect">
            <a:avLst/>
          </a:prstGeom>
        </p:spPr>
        <p:txBody>
          <a:bodyPr vert="horz" wrap="square" lIns="0" tIns="0" rIns="0" bIns="0" rtlCol="0" anchor="ctr">
            <a:spAutoFit/>
          </a:bodyPr>
          <a:lstStyle/>
          <a:p>
            <a:r>
              <a:rPr lang="en-US"/>
              <a:t>Click to Add Slide Title</a:t>
            </a:r>
          </a:p>
        </p:txBody>
      </p:sp>
    </p:spTree>
    <p:custDataLst>
      <p:tags r:id="rId1"/>
    </p:custDataLst>
    <p:extLst>
      <p:ext uri="{BB962C8B-B14F-4D97-AF65-F5344CB8AC3E}">
        <p14:creationId xmlns:p14="http://schemas.microsoft.com/office/powerpoint/2010/main" val="4121700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cSld name="SAS - Title &amp; Subtitle - ">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a:lvl1pPr>
          </a:lstStyle>
          <a:p>
            <a:r>
              <a:rPr lang="en-US"/>
              <a:t>Click to edit Master title sty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p:nvPr>
        </p:nvSpPr>
        <p:spPr>
          <a:xfrm>
            <a:off x="1257300" y="1463676"/>
            <a:ext cx="15773400" cy="914400"/>
          </a:xfrm>
        </p:spPr>
        <p:txBody>
          <a:bodyPr anchor="t"/>
          <a:lstStyle>
            <a:lvl1pPr marL="0" indent="0" algn="ctr">
              <a:buNone/>
              <a:defRPr>
                <a:solidFill>
                  <a:schemeClr val="accent1">
                    <a:lumMod val="60000"/>
                    <a:lumOff val="40000"/>
                  </a:schemeClr>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edit Master text styles</a:t>
            </a:r>
          </a:p>
        </p:txBody>
      </p:sp>
    </p:spTree>
    <p:custDataLst>
      <p:tags r:id="rId1"/>
    </p:custDataLst>
    <p:extLst>
      <p:ext uri="{BB962C8B-B14F-4D97-AF65-F5344CB8AC3E}">
        <p14:creationId xmlns:p14="http://schemas.microsoft.com/office/powerpoint/2010/main" val="4163870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1257299" y="5920995"/>
            <a:ext cx="5004350" cy="549382"/>
          </a:xfrm>
          <a:prstGeom prst="rect">
            <a:avLst/>
          </a:prstGeom>
        </p:spPr>
        <p:txBody>
          <a:bodyPr wrap="square" anchor="t">
            <a:noAutofit/>
          </a:bodyPr>
          <a:lstStyle>
            <a:lvl1pPr marL="0" indent="0" algn="l">
              <a:buNone/>
              <a:defRPr>
                <a:solidFill>
                  <a:schemeClr val="bg2"/>
                </a:solidFill>
              </a:defRPr>
            </a:lvl1pPr>
            <a:lvl2pPr marL="365760" indent="0">
              <a:buNone/>
              <a:defRPr/>
            </a:lvl2pPr>
            <a:lvl3pPr marL="731520" indent="0">
              <a:buNone/>
              <a:defRPr/>
            </a:lvl3pPr>
            <a:lvl4pPr marL="2057400" indent="0">
              <a:buNone/>
              <a:defRPr/>
            </a:lvl4pPr>
            <a:lvl5pPr marL="2743200" indent="0">
              <a:buNone/>
              <a:defRPr/>
            </a:lvl5pPr>
          </a:lstStyle>
          <a:p>
            <a:pPr lvl="0"/>
            <a:r>
              <a:rPr lang="en-US"/>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1252432" y="4150330"/>
            <a:ext cx="5001768" cy="1554480"/>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a:t>Click to Add Slide Title</a:t>
            </a:r>
          </a:p>
        </p:txBody>
      </p:sp>
    </p:spTree>
    <p:custDataLst>
      <p:tags r:id="rId1"/>
    </p:custDataLst>
    <p:extLst>
      <p:ext uri="{BB962C8B-B14F-4D97-AF65-F5344CB8AC3E}">
        <p14:creationId xmlns:p14="http://schemas.microsoft.com/office/powerpoint/2010/main" val="381217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1252432" y="4497169"/>
            <a:ext cx="13063133" cy="1292662"/>
          </a:xfrm>
          <a:prstGeom prst="rect">
            <a:avLst/>
          </a:prstGeom>
        </p:spPr>
        <p:txBody>
          <a:bodyPr vert="horz" wrap="square" lIns="0" tIns="0" rIns="0" bIns="182880" rtlCol="0" anchor="ctr" anchorCtr="0">
            <a:spAutoFit/>
          </a:bodyPr>
          <a:lstStyle>
            <a:lvl1pPr>
              <a:lnSpc>
                <a:spcPct val="100000"/>
              </a:lnSpc>
              <a:spcBef>
                <a:spcPts val="600"/>
              </a:spcBef>
              <a:defRPr sz="7200">
                <a:solidFill>
                  <a:schemeClr val="bg1"/>
                </a:solidFill>
              </a:defRPr>
            </a:lvl1pPr>
          </a:lstStyle>
          <a:p>
            <a:r>
              <a:rPr lang="en-US"/>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14463799" y="8276976"/>
            <a:ext cx="2566902" cy="1057524"/>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1252432" y="8276977"/>
            <a:ext cx="12123722" cy="1057522"/>
          </a:xfrm>
        </p:spPr>
        <p:txBody>
          <a:bodyPr wrap="square" anchor="ctr" anchorCtr="0">
            <a:noAutofit/>
          </a:bodyPr>
          <a:lstStyle>
            <a:lvl1pPr marL="0" indent="0">
              <a:lnSpc>
                <a:spcPct val="100000"/>
              </a:lnSpc>
              <a:spcBef>
                <a:spcPts val="600"/>
              </a:spcBef>
              <a:buNone/>
              <a:defRPr sz="2800">
                <a:solidFill>
                  <a:schemeClr val="accent3"/>
                </a:solidFill>
              </a:defRPr>
            </a:lvl1pPr>
            <a:lvl2pPr marL="365760" indent="0">
              <a:buNone/>
              <a:defRPr sz="2200">
                <a:solidFill>
                  <a:schemeClr val="accent3"/>
                </a:solidFill>
              </a:defRPr>
            </a:lvl2pPr>
            <a:lvl3pPr marL="731520" indent="0">
              <a:buNone/>
              <a:defRPr sz="2100">
                <a:solidFill>
                  <a:schemeClr val="accent3"/>
                </a:solidFill>
              </a:defRPr>
            </a:lvl3pPr>
            <a:lvl4pPr marL="2057400" indent="0">
              <a:buNone/>
              <a:defRPr sz="2000">
                <a:solidFill>
                  <a:schemeClr val="accent3"/>
                </a:solidFill>
              </a:defRPr>
            </a:lvl4pPr>
            <a:lvl5pPr marL="2743200" indent="0">
              <a:buNone/>
              <a:defRPr sz="2000">
                <a:solidFill>
                  <a:schemeClr val="accent3"/>
                </a:solidFill>
              </a:defRPr>
            </a:lvl5pPr>
          </a:lstStyle>
          <a:p>
            <a:pPr lvl="0"/>
            <a:r>
              <a:rPr lang="en-US"/>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30268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slideLayout" Target="../slideLayouts/slideLayout2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6.svg"/><Relationship Id="rId2" Type="http://schemas.openxmlformats.org/officeDocument/2006/relationships/slideLayout" Target="../slideLayouts/slideLayout12.xml"/><Relationship Id="rId16" Type="http://schemas.openxmlformats.org/officeDocument/2006/relationships/image" Target="../media/image1.png"/><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6" Type="http://schemas.openxmlformats.org/officeDocument/2006/relationships/image" Target="../media/image6.sv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1.png"/><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2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6" Type="http://schemas.openxmlformats.org/officeDocument/2006/relationships/image" Target="../media/image6.svg"/><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image" Target="../media/image1.png"/><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tags" Target="../tags/tag3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tags" Target="../tags/tag49.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theme" Target="../theme/theme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2" Type="http://schemas.openxmlformats.org/officeDocument/2006/relationships/slideLayout" Target="../slideLayouts/slideLayout60.xml"/><Relationship Id="rId16" Type="http://schemas.openxmlformats.org/officeDocument/2006/relationships/image" Target="../media/image6.svg"/><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5" Type="http://schemas.openxmlformats.org/officeDocument/2006/relationships/image" Target="../media/image1.png"/><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tags" Target="../tags/tag6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16826158" y="9516543"/>
            <a:ext cx="1112812" cy="461922"/>
          </a:xfrm>
          <a:prstGeom prst="rect">
            <a:avLst/>
          </a:prstGeom>
        </p:spPr>
      </p:pic>
    </p:spTree>
    <p:custDataLst>
      <p:tags r:id="rId12"/>
    </p:custDataLst>
    <p:extLst>
      <p:ext uri="{BB962C8B-B14F-4D97-AF65-F5344CB8AC3E}">
        <p14:creationId xmlns:p14="http://schemas.microsoft.com/office/powerpoint/2010/main" val="519966091"/>
      </p:ext>
    </p:extLst>
  </p:cSld>
  <p:clrMap bg1="lt1" tx1="dk1" bg2="lt2" tx2="dk2" accent1="accent1" accent2="accent2" accent3="accent3" accent4="accent4" accent5="accent5" accent6="accent6" hlink="hlink" folHlink="folHlink"/>
  <p:sldLayoutIdLst>
    <p:sldLayoutId id="2147483836" r:id="rId1"/>
    <p:sldLayoutId id="2147483838" r:id="rId2"/>
    <p:sldLayoutId id="2147483821" r:id="rId3"/>
    <p:sldLayoutId id="2147483820" r:id="rId4"/>
    <p:sldLayoutId id="2147483819" r:id="rId5"/>
    <p:sldLayoutId id="2147483822" r:id="rId6"/>
    <p:sldLayoutId id="2147483824" r:id="rId7"/>
    <p:sldLayoutId id="2147483832" r:id="rId8"/>
    <p:sldLayoutId id="2147483837" r:id="rId9"/>
    <p:sldLayoutId id="2147483828"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rcRect/>
          <a:stretch/>
        </p:blipFill>
        <p:spPr>
          <a:xfrm>
            <a:off x="16826158" y="9516543"/>
            <a:ext cx="1112812" cy="461922"/>
          </a:xfrm>
          <a:prstGeom prst="rect">
            <a:avLst/>
          </a:prstGeom>
        </p:spPr>
      </p:pic>
    </p:spTree>
    <p:custDataLst>
      <p:tags r:id="rId15"/>
    </p:custDataLst>
    <p:extLst>
      <p:ext uri="{BB962C8B-B14F-4D97-AF65-F5344CB8AC3E}">
        <p14:creationId xmlns:p14="http://schemas.microsoft.com/office/powerpoint/2010/main" val="3495367480"/>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7"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4" name="Picture 6">
            <a:extLst>
              <a:ext uri="{FF2B5EF4-FFF2-40B4-BE49-F238E27FC236}">
                <a16:creationId xmlns:a16="http://schemas.microsoft.com/office/drawing/2014/main" id="{4B9745D2-AF56-D052-AD5F-9B382535FADF}"/>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6826158" y="9516543"/>
            <a:ext cx="1112812" cy="461922"/>
          </a:xfrm>
          <a:prstGeom prst="rect">
            <a:avLst/>
          </a:prstGeom>
        </p:spPr>
      </p:pic>
    </p:spTree>
    <p:custDataLst>
      <p:tags r:id="rId14"/>
    </p:custDataLst>
    <p:extLst>
      <p:ext uri="{BB962C8B-B14F-4D97-AF65-F5344CB8AC3E}">
        <p14:creationId xmlns:p14="http://schemas.microsoft.com/office/powerpoint/2010/main" val="1004379560"/>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 id="2147483877" r:id="rId9"/>
    <p:sldLayoutId id="2147483878" r:id="rId10"/>
    <p:sldLayoutId id="2147483879" r:id="rId11"/>
    <p:sldLayoutId id="2147483880"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sp>
        <p:nvSpPr>
          <p:cNvPr id="17" name="TextBox 4">
            <a:extLst>
              <a:ext uri="{FF2B5EF4-FFF2-40B4-BE49-F238E27FC236}">
                <a16:creationId xmlns:a16="http://schemas.microsoft.com/office/drawing/2014/main" id="{1E37FEA7-CA51-4399-92F6-AB705B7FF650}"/>
              </a:ext>
            </a:extLst>
          </p:cNvPr>
          <p:cNvSpPr txBox="1"/>
          <p:nvPr userDrawn="1"/>
        </p:nvSpPr>
        <p:spPr>
          <a:xfrm>
            <a:off x="1252432" y="9692659"/>
            <a:ext cx="5029200" cy="400110"/>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mpany Confidential — For Internal Use Only</a:t>
            </a:r>
          </a:p>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4" name="Picture 6">
            <a:extLst>
              <a:ext uri="{FF2B5EF4-FFF2-40B4-BE49-F238E27FC236}">
                <a16:creationId xmlns:a16="http://schemas.microsoft.com/office/drawing/2014/main" id="{4B9745D2-AF56-D052-AD5F-9B382535FADF}"/>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6826158" y="9516543"/>
            <a:ext cx="1112812" cy="461922"/>
          </a:xfrm>
          <a:prstGeom prst="rect">
            <a:avLst/>
          </a:prstGeom>
        </p:spPr>
      </p:pic>
    </p:spTree>
    <p:custDataLst>
      <p:tags r:id="rId14"/>
    </p:custDataLst>
    <p:extLst>
      <p:ext uri="{BB962C8B-B14F-4D97-AF65-F5344CB8AC3E}">
        <p14:creationId xmlns:p14="http://schemas.microsoft.com/office/powerpoint/2010/main" val="133704090"/>
      </p:ext>
    </p:extLst>
  </p:cSld>
  <p:clrMap bg1="lt1" tx1="dk1" bg2="lt2" tx2="dk2" accent1="accent1" accent2="accent2" accent3="accent3" accent4="accent4" accent5="accent5" accent6="accent6" hlink="hlink" folHlink="folHlink"/>
  <p:sldLayoutIdLst>
    <p:sldLayoutId id="2147483882" r:id="rId1"/>
    <p:sldLayoutId id="2147483883" r:id="rId2"/>
    <p:sldLayoutId id="2147483884" r:id="rId3"/>
    <p:sldLayoutId id="2147483885" r:id="rId4"/>
    <p:sldLayoutId id="2147483886" r:id="rId5"/>
    <p:sldLayoutId id="2147483887" r:id="rId6"/>
    <p:sldLayoutId id="2147483888" r:id="rId7"/>
    <p:sldLayoutId id="2147483889" r:id="rId8"/>
    <p:sldLayoutId id="2147483890" r:id="rId9"/>
    <p:sldLayoutId id="2147483891" r:id="rId10"/>
    <p:sldLayoutId id="2147483892" r:id="rId11"/>
    <p:sldLayoutId id="2147483893"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spTree>
    <p:custDataLst>
      <p:tags r:id="rId13"/>
    </p:custDataLst>
    <p:extLst>
      <p:ext uri="{BB962C8B-B14F-4D97-AF65-F5344CB8AC3E}">
        <p14:creationId xmlns:p14="http://schemas.microsoft.com/office/powerpoint/2010/main" val="351947998"/>
      </p:ext>
    </p:extLst>
  </p:cSld>
  <p:clrMap bg1="lt1" tx1="dk1" bg2="lt2" tx2="dk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 id="2147483903" r:id="rId9"/>
    <p:sldLayoutId id="2147483904" r:id="rId10"/>
    <p:sldLayoutId id="214748390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bg1"/>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3"/>
        </a:buClr>
        <a:buFont typeface="Anova Light" panose="020B0403020203020204" pitchFamily="34" charset="0"/>
        <a:buChar char="•"/>
        <a:defRPr sz="3600" b="0" i="0" kern="1200">
          <a:solidFill>
            <a:schemeClr val="bg1"/>
          </a:solidFill>
          <a:latin typeface="+mn-lt"/>
          <a:ea typeface="+mn-ea"/>
          <a:cs typeface="+mn-cs"/>
        </a:defRPr>
      </a:lvl1pPr>
      <a:lvl2pPr marL="731520" indent="-365760" algn="l" defTabSz="1371600" rtl="0" eaLnBrk="1" latinLnBrk="0" hangingPunct="1">
        <a:lnSpc>
          <a:spcPct val="85000"/>
        </a:lnSpc>
        <a:spcBef>
          <a:spcPts val="1600"/>
        </a:spcBef>
        <a:buClr>
          <a:schemeClr val="accent3"/>
        </a:buClr>
        <a:buFont typeface="Anova Light" panose="020B0403020203020204" pitchFamily="34" charset="0"/>
        <a:buChar char="–"/>
        <a:defRPr sz="2800" b="0" i="0" kern="1200">
          <a:solidFill>
            <a:schemeClr val="bg1"/>
          </a:solidFill>
          <a:latin typeface="+mn-lt"/>
          <a:ea typeface="+mn-ea"/>
          <a:cs typeface="+mn-cs"/>
        </a:defRPr>
      </a:lvl2pPr>
      <a:lvl3pPr marL="1097280" indent="-365760" algn="l" defTabSz="1371600" rtl="0" eaLnBrk="1" latinLnBrk="0" hangingPunct="1">
        <a:lnSpc>
          <a:spcPct val="85000"/>
        </a:lnSpc>
        <a:spcBef>
          <a:spcPts val="1600"/>
        </a:spcBef>
        <a:buClr>
          <a:schemeClr val="accent3"/>
        </a:buClr>
        <a:buFont typeface="Anova Light" panose="020B0403020203020204" pitchFamily="34" charset="0"/>
        <a:buChar char="•"/>
        <a:defRPr sz="2400" b="0" i="0" kern="1200">
          <a:solidFill>
            <a:schemeClr val="bg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1252432" y="9855354"/>
            <a:ext cx="5029200" cy="246221"/>
          </a:xfrm>
          <a:prstGeom prst="rect">
            <a:avLst/>
          </a:prstGeom>
          <a:noFill/>
        </p:spPr>
        <p:txBody>
          <a:bodyPr wrap="square" lIns="0" anchor="b" anchorCtr="0">
            <a:spAutoFit/>
          </a:bodyPr>
          <a:lstStyle/>
          <a:p>
            <a:pPr marL="0" marR="0" lvl="0" indent="0" algn="l" defTabSz="548626" rtl="0" eaLnBrk="0" fontAlgn="auto" latinLnBrk="0" hangingPunct="0">
              <a:lnSpc>
                <a:spcPct val="100000"/>
              </a:lnSpc>
              <a:spcBef>
                <a:spcPts val="0"/>
              </a:spcBef>
              <a:spcAft>
                <a:spcPts val="0"/>
              </a:spcAft>
              <a:buClrTx/>
              <a:buSzTx/>
              <a:buFontTx/>
              <a:buNone/>
              <a:tabLst/>
              <a:defRPr/>
            </a:pPr>
            <a:r>
              <a:rPr kumimoji="0" lang="en-US" sz="1000" b="0" i="0" u="none" strike="noStrike" kern="300" cap="none" spc="100" normalizeH="0" baseline="0" noProof="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1252432" y="2400300"/>
            <a:ext cx="15773400" cy="6865146"/>
          </a:xfrm>
          <a:prstGeom prst="rect">
            <a:avLst/>
          </a:prstGeom>
        </p:spPr>
        <p:txBody>
          <a:bodyPr vert="horz" lIns="0" tIns="0" rIns="0" bIns="0" rtlCol="0">
            <a:normAutofit/>
          </a:bodyPr>
          <a:lstStyle/>
          <a:p>
            <a:pPr lvl="0"/>
            <a:r>
              <a:rPr lang="en-US"/>
              <a:t>Click to Edit Text</a:t>
            </a:r>
          </a:p>
          <a:p>
            <a:pPr lvl="1"/>
            <a:r>
              <a:rPr lang="en-US"/>
              <a:t>Second level</a:t>
            </a:r>
          </a:p>
          <a:p>
            <a:pPr lvl="2"/>
            <a:r>
              <a:rPr lang="en-US"/>
              <a:t>Third level</a:t>
            </a:r>
          </a:p>
        </p:txBody>
      </p:sp>
      <p:sp>
        <p:nvSpPr>
          <p:cNvPr id="2" name="Title Placeholder 1"/>
          <p:cNvSpPr>
            <a:spLocks noGrp="1"/>
          </p:cNvSpPr>
          <p:nvPr>
            <p:ph type="title"/>
          </p:nvPr>
        </p:nvSpPr>
        <p:spPr>
          <a:xfrm>
            <a:off x="1252432" y="710304"/>
            <a:ext cx="15773400" cy="775596"/>
          </a:xfrm>
          <a:prstGeom prst="rect">
            <a:avLst/>
          </a:prstGeom>
        </p:spPr>
        <p:txBody>
          <a:bodyPr vert="horz" lIns="0" tIns="0" rIns="0" bIns="0" rtlCol="0" anchor="ctr">
            <a:normAutofit/>
          </a:bodyPr>
          <a:lstStyle/>
          <a:p>
            <a:r>
              <a:rPr lang="en-US"/>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6826158" y="9516543"/>
            <a:ext cx="1112812" cy="461922"/>
          </a:xfrm>
          <a:prstGeom prst="rect">
            <a:avLst/>
          </a:prstGeom>
        </p:spPr>
      </p:pic>
    </p:spTree>
    <p:custDataLst>
      <p:tags r:id="rId14"/>
    </p:custDataLst>
    <p:extLst>
      <p:ext uri="{BB962C8B-B14F-4D97-AF65-F5344CB8AC3E}">
        <p14:creationId xmlns:p14="http://schemas.microsoft.com/office/powerpoint/2010/main" val="2593680392"/>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p:titleStyle>
    <p:body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hyperlink" Target="https://www.bcg.com/publications/2024/from-potential-to-profit-with-genai" TargetMode="Externa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3.xml"/><Relationship Id="rId5" Type="http://schemas.openxmlformats.org/officeDocument/2006/relationships/image" Target="../media/image56.png"/><Relationship Id="rId4" Type="http://schemas.openxmlformats.org/officeDocument/2006/relationships/image" Target="../media/image55.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57.emf"/><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65.sv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9.sv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63.svg"/><Relationship Id="rId11" Type="http://schemas.openxmlformats.org/officeDocument/2006/relationships/image" Target="../media/image68.png"/><Relationship Id="rId5" Type="http://schemas.openxmlformats.org/officeDocument/2006/relationships/image" Target="../media/image62.png"/><Relationship Id="rId10" Type="http://schemas.openxmlformats.org/officeDocument/2006/relationships/image" Target="../media/image67.svg"/><Relationship Id="rId4" Type="http://schemas.openxmlformats.org/officeDocument/2006/relationships/image" Target="../media/image61.svg"/><Relationship Id="rId9" Type="http://schemas.openxmlformats.org/officeDocument/2006/relationships/image" Target="../media/image66.png"/></Relationships>
</file>

<file path=ppt/slides/_rels/slide18.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11.xml"/><Relationship Id="rId1" Type="http://schemas.openxmlformats.org/officeDocument/2006/relationships/slideLayout" Target="../slideLayouts/slideLayout10.xml"/><Relationship Id="rId4" Type="http://schemas.openxmlformats.org/officeDocument/2006/relationships/image" Target="../media/image71.svg"/></Relationships>
</file>

<file path=ppt/slides/_rels/slide19.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image" Target="../media/image73.svg"/></Relationships>
</file>

<file path=ppt/slides/_rels/slide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20.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image" Target="../media/image73.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8" Type="http://schemas.openxmlformats.org/officeDocument/2006/relationships/image" Target="../media/image76.svg"/><Relationship Id="rId3" Type="http://schemas.openxmlformats.org/officeDocument/2006/relationships/image" Target="../media/image74.png"/><Relationship Id="rId7"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10.xml"/><Relationship Id="rId6" Type="http://schemas.openxmlformats.org/officeDocument/2006/relationships/image" Target="../media/image73.svg"/><Relationship Id="rId5" Type="http://schemas.openxmlformats.org/officeDocument/2006/relationships/image" Target="../media/image72.png"/><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7.xml"/><Relationship Id="rId1" Type="http://schemas.openxmlformats.org/officeDocument/2006/relationships/slideLayout" Target="../slideLayouts/slideLayout10.xml"/><Relationship Id="rId5" Type="http://schemas.openxmlformats.org/officeDocument/2006/relationships/image" Target="../media/image78.png"/><Relationship Id="rId4" Type="http://schemas.microsoft.com/office/2007/relationships/hdphoto" Target="../media/hdphoto3.wdp"/></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6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61.xml"/><Relationship Id="rId1" Type="http://schemas.openxmlformats.org/officeDocument/2006/relationships/tags" Target="../tags/tag74.xml"/><Relationship Id="rId5" Type="http://schemas.openxmlformats.org/officeDocument/2006/relationships/image" Target="../media/image32.svg"/><Relationship Id="rId4" Type="http://schemas.openxmlformats.org/officeDocument/2006/relationships/image" Target="../media/image31.png"/></Relationships>
</file>

<file path=ppt/slides/_rels/slide5.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1.svg"/><Relationship Id="rId3" Type="http://schemas.openxmlformats.org/officeDocument/2006/relationships/slideLayout" Target="../slideLayouts/slideLayout70.xml"/><Relationship Id="rId7" Type="http://schemas.openxmlformats.org/officeDocument/2006/relationships/image" Target="../media/image35.png"/><Relationship Id="rId12" Type="http://schemas.openxmlformats.org/officeDocument/2006/relationships/image" Target="../media/image40.png"/><Relationship Id="rId2" Type="http://schemas.microsoft.com/office/2007/relationships/media" Target="../media/media1.m4a"/><Relationship Id="rId1" Type="http://schemas.openxmlformats.org/officeDocument/2006/relationships/audio" Target="NULL" TargetMode="Externa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notesSlide" Target="../notesSlides/notesSlide5.xml"/><Relationship Id="rId9" Type="http://schemas.openxmlformats.org/officeDocument/2006/relationships/image" Target="../media/image37.svg"/><Relationship Id="rId14" Type="http://schemas.openxmlformats.org/officeDocument/2006/relationships/image" Target="../media/image42.png"/></Relationships>
</file>

<file path=ppt/slides/_rels/slide6.xml.rels><?xml version="1.0" encoding="UTF-8" standalone="yes"?>
<Relationships xmlns="http://schemas.openxmlformats.org/package/2006/relationships"><Relationship Id="rId8" Type="http://schemas.openxmlformats.org/officeDocument/2006/relationships/image" Target="../media/image47.png"/><Relationship Id="rId13" Type="http://schemas.openxmlformats.org/officeDocument/2006/relationships/image" Target="../media/image52.svg"/><Relationship Id="rId3" Type="http://schemas.openxmlformats.org/officeDocument/2006/relationships/notesSlide" Target="../notesSlides/notesSlide6.xml"/><Relationship Id="rId7" Type="http://schemas.openxmlformats.org/officeDocument/2006/relationships/image" Target="../media/image46.svg"/><Relationship Id="rId12" Type="http://schemas.openxmlformats.org/officeDocument/2006/relationships/image" Target="../media/image51.png"/><Relationship Id="rId2" Type="http://schemas.openxmlformats.org/officeDocument/2006/relationships/slideLayout" Target="../slideLayouts/slideLayout10.xml"/><Relationship Id="rId1" Type="http://schemas.openxmlformats.org/officeDocument/2006/relationships/tags" Target="../tags/tag75.xml"/><Relationship Id="rId6" Type="http://schemas.openxmlformats.org/officeDocument/2006/relationships/image" Target="../media/image45.png"/><Relationship Id="rId11" Type="http://schemas.openxmlformats.org/officeDocument/2006/relationships/image" Target="../media/image50.svg"/><Relationship Id="rId5" Type="http://schemas.openxmlformats.org/officeDocument/2006/relationships/image" Target="../media/image44.sv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svg"/></Relationships>
</file>

<file path=ppt/slides/_rels/slide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7.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303D269-89F0-95E9-5CBA-7968E1F30A69}"/>
              </a:ext>
            </a:extLst>
          </p:cNvPr>
          <p:cNvSpPr>
            <a:spLocks noGrp="1"/>
          </p:cNvSpPr>
          <p:nvPr>
            <p:ph type="title"/>
          </p:nvPr>
        </p:nvSpPr>
        <p:spPr>
          <a:xfrm>
            <a:off x="1252431" y="2920450"/>
            <a:ext cx="15778269" cy="1200329"/>
          </a:xfrm>
        </p:spPr>
        <p:txBody>
          <a:bodyPr/>
          <a:lstStyle/>
          <a:p>
            <a:r>
              <a:rPr lang="en-US" sz="6600" dirty="0"/>
              <a:t>AI's Impact on Business Innovation</a:t>
            </a:r>
          </a:p>
        </p:txBody>
      </p:sp>
      <p:sp>
        <p:nvSpPr>
          <p:cNvPr id="2" name="Text Placeholder 1">
            <a:extLst>
              <a:ext uri="{FF2B5EF4-FFF2-40B4-BE49-F238E27FC236}">
                <a16:creationId xmlns:a16="http://schemas.microsoft.com/office/drawing/2014/main" id="{434EF432-D7C9-A7FF-DD43-49BE4F1F3539}"/>
              </a:ext>
            </a:extLst>
          </p:cNvPr>
          <p:cNvSpPr>
            <a:spLocks noGrp="1"/>
          </p:cNvSpPr>
          <p:nvPr>
            <p:ph type="body" sz="quarter" idx="10"/>
          </p:nvPr>
        </p:nvSpPr>
        <p:spPr>
          <a:xfrm>
            <a:off x="943610" y="4180413"/>
            <a:ext cx="15778269" cy="923330"/>
          </a:xfrm>
        </p:spPr>
        <p:txBody>
          <a:bodyPr/>
          <a:lstStyle/>
          <a:p>
            <a:r>
              <a:rPr lang="en-US" dirty="0"/>
              <a:t>How AI is driving digital transformation in business</a:t>
            </a:r>
          </a:p>
        </p:txBody>
      </p:sp>
      <p:sp>
        <p:nvSpPr>
          <p:cNvPr id="7" name="Text Placeholder 1">
            <a:extLst>
              <a:ext uri="{FF2B5EF4-FFF2-40B4-BE49-F238E27FC236}">
                <a16:creationId xmlns:a16="http://schemas.microsoft.com/office/drawing/2014/main" id="{CDEE0C09-8669-04CF-4FB7-A9D89D6F0E1A}"/>
              </a:ext>
            </a:extLst>
          </p:cNvPr>
          <p:cNvSpPr txBox="1">
            <a:spLocks/>
          </p:cNvSpPr>
          <p:nvPr/>
        </p:nvSpPr>
        <p:spPr>
          <a:xfrm>
            <a:off x="1139494" y="8130183"/>
            <a:ext cx="15778269" cy="923330"/>
          </a:xfrm>
          <a:prstGeom prst="rect">
            <a:avLst/>
          </a:prstGeom>
        </p:spPr>
        <p:txBody>
          <a:bodyPr vert="horz" wrap="square" lIns="0" tIns="0" rIns="0" bIns="0" rtlCol="0">
            <a:noAutofit/>
          </a:bodyPr>
          <a:lstStyle>
            <a:lvl1pPr marL="0" indent="0" algn="l" defTabSz="1371600" rtl="0" eaLnBrk="1" latinLnBrk="0" hangingPunct="1">
              <a:lnSpc>
                <a:spcPct val="100000"/>
              </a:lnSpc>
              <a:spcBef>
                <a:spcPts val="600"/>
              </a:spcBef>
              <a:buClr>
                <a:schemeClr val="accent5"/>
              </a:buClr>
              <a:buFont typeface="Anova Light" panose="020B0403020203020204" pitchFamily="34" charset="0"/>
              <a:buNone/>
              <a:defRPr sz="4800" b="0" i="0" kern="1200">
                <a:solidFill>
                  <a:schemeClr val="accent3"/>
                </a:solidFill>
                <a:latin typeface="+mn-lt"/>
                <a:ea typeface="+mn-ea"/>
                <a:cs typeface="+mn-cs"/>
              </a:defRPr>
            </a:lvl1pPr>
            <a:lvl2pPr marL="365760" indent="0" algn="l" defTabSz="1371600" rtl="0" eaLnBrk="1" latinLnBrk="0" hangingPunct="1">
              <a:lnSpc>
                <a:spcPct val="85000"/>
              </a:lnSpc>
              <a:spcBef>
                <a:spcPts val="1600"/>
              </a:spcBef>
              <a:buClr>
                <a:schemeClr val="accent5"/>
              </a:buClr>
              <a:buFont typeface="Anova Light" panose="020B0403020203020204" pitchFamily="34" charset="0"/>
              <a:buNone/>
              <a:defRPr sz="2800" b="0" i="0" kern="1200">
                <a:solidFill>
                  <a:schemeClr val="accent3"/>
                </a:solidFill>
                <a:latin typeface="+mn-lt"/>
                <a:ea typeface="+mn-ea"/>
                <a:cs typeface="+mn-cs"/>
              </a:defRPr>
            </a:lvl2pPr>
            <a:lvl3pPr marL="731520" indent="0" algn="l" defTabSz="1371600" rtl="0" eaLnBrk="1" latinLnBrk="0" hangingPunct="1">
              <a:lnSpc>
                <a:spcPct val="85000"/>
              </a:lnSpc>
              <a:spcBef>
                <a:spcPts val="1600"/>
              </a:spcBef>
              <a:buClr>
                <a:schemeClr val="accent5"/>
              </a:buClr>
              <a:buFont typeface="Anova Light" panose="020B0403020203020204" pitchFamily="34" charset="0"/>
              <a:buNone/>
              <a:defRPr sz="2400" b="0" i="0" kern="1200">
                <a:solidFill>
                  <a:schemeClr val="accent3"/>
                </a:solidFill>
                <a:latin typeface="+mn-lt"/>
                <a:ea typeface="+mn-ea"/>
                <a:cs typeface="+mn-cs"/>
              </a:defRPr>
            </a:lvl3pPr>
            <a:lvl4pPr marL="2057400" indent="0" algn="l" defTabSz="1371600" rtl="0" eaLnBrk="1" latinLnBrk="0" hangingPunct="1">
              <a:lnSpc>
                <a:spcPct val="90000"/>
              </a:lnSpc>
              <a:spcBef>
                <a:spcPts val="750"/>
              </a:spcBef>
              <a:buFont typeface="Anova Light" panose="020B0403020203020204" pitchFamily="34" charset="0"/>
              <a:buNone/>
              <a:defRPr sz="2700" kern="1200">
                <a:solidFill>
                  <a:schemeClr val="accent3"/>
                </a:solidFill>
                <a:latin typeface="+mj-lt"/>
                <a:ea typeface="+mn-ea"/>
                <a:cs typeface="+mn-cs"/>
              </a:defRPr>
            </a:lvl4pPr>
            <a:lvl5pPr marL="2743200" indent="0" algn="l" defTabSz="1371600" rtl="0" eaLnBrk="1" latinLnBrk="0" hangingPunct="1">
              <a:lnSpc>
                <a:spcPct val="90000"/>
              </a:lnSpc>
              <a:spcBef>
                <a:spcPts val="750"/>
              </a:spcBef>
              <a:buFont typeface="Anova Light" panose="020B0403020203020204" pitchFamily="34" charset="0"/>
              <a:buNone/>
              <a:defRPr sz="2700" kern="1200">
                <a:solidFill>
                  <a:schemeClr val="accent3"/>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r>
              <a:rPr lang="en-US" sz="3600" i="1" dirty="0"/>
              <a:t>Adrian Niga</a:t>
            </a:r>
          </a:p>
          <a:p>
            <a:r>
              <a:rPr lang="en-US" sz="3600" i="1" dirty="0"/>
              <a:t>Head of Channel &amp; Alliances South-East Europe</a:t>
            </a:r>
          </a:p>
        </p:txBody>
      </p:sp>
      <p:pic>
        <p:nvPicPr>
          <p:cNvPr id="1026" name="Picture 2" descr="undefined">
            <a:extLst>
              <a:ext uri="{FF2B5EF4-FFF2-40B4-BE49-F238E27FC236}">
                <a16:creationId xmlns:a16="http://schemas.microsoft.com/office/drawing/2014/main" id="{3A0F28FE-6436-DA6A-884E-3A3456E3340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90929" y="1486670"/>
            <a:ext cx="4397071" cy="35176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829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35BB1CD-A036-20B3-512C-8F6E75743402}"/>
              </a:ext>
            </a:extLst>
          </p:cNvPr>
          <p:cNvSpPr txBox="1"/>
          <p:nvPr/>
        </p:nvSpPr>
        <p:spPr>
          <a:xfrm>
            <a:off x="3955530" y="2902792"/>
            <a:ext cx="10376939" cy="369331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0766D1"/>
                </a:solidFill>
                <a:effectLst/>
                <a:uLnTx/>
                <a:uFillTx/>
                <a:latin typeface="Anova Bold"/>
                <a:ea typeface="+mn-ea"/>
                <a:cs typeface="+mn-cs"/>
              </a:rPr>
              <a:t>66%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00000"/>
                </a:solidFill>
                <a:effectLst/>
                <a:uLnTx/>
                <a:uFillTx/>
                <a:latin typeface="Anova Light"/>
                <a:ea typeface="+mn-ea"/>
                <a:cs typeface="+mn-cs"/>
              </a:rPr>
              <a:t>of leaders are ambivalent or dissatisfied with their progress on </a:t>
            </a:r>
            <a:r>
              <a:rPr kumimoji="0" lang="en-US" sz="4400" b="0" i="0" u="none" strike="noStrike" kern="1200" cap="none" spc="0" normalizeH="0" baseline="0" noProof="0" err="1">
                <a:ln>
                  <a:noFill/>
                </a:ln>
                <a:solidFill>
                  <a:srgbClr val="000000"/>
                </a:solidFill>
                <a:effectLst/>
                <a:uLnTx/>
                <a:uFillTx/>
                <a:latin typeface="Anova Light"/>
                <a:ea typeface="+mn-ea"/>
                <a:cs typeface="+mn-cs"/>
              </a:rPr>
              <a:t>GenAI</a:t>
            </a:r>
            <a:r>
              <a:rPr kumimoji="0" lang="en-US" sz="4400" b="0" i="0" u="none" strike="noStrike" kern="1200" cap="none" spc="0" normalizeH="0" baseline="0" noProof="0">
                <a:ln>
                  <a:noFill/>
                </a:ln>
                <a:solidFill>
                  <a:srgbClr val="000000"/>
                </a:solidFill>
                <a:effectLst/>
                <a:uLnTx/>
                <a:uFillTx/>
                <a:latin typeface="Anova Light"/>
                <a:ea typeface="+mn-ea"/>
                <a:cs typeface="+mn-cs"/>
              </a:rPr>
              <a:t> and AI</a:t>
            </a:r>
          </a:p>
        </p:txBody>
      </p:sp>
      <p:sp>
        <p:nvSpPr>
          <p:cNvPr id="3" name="TextBox 2">
            <a:extLst>
              <a:ext uri="{FF2B5EF4-FFF2-40B4-BE49-F238E27FC236}">
                <a16:creationId xmlns:a16="http://schemas.microsoft.com/office/drawing/2014/main" id="{BBF288FB-39D7-9F23-3737-6C50CFE92E60}"/>
              </a:ext>
            </a:extLst>
          </p:cNvPr>
          <p:cNvSpPr txBox="1"/>
          <p:nvPr/>
        </p:nvSpPr>
        <p:spPr>
          <a:xfrm>
            <a:off x="7893656" y="6596111"/>
            <a:ext cx="2500685" cy="369332"/>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766D1"/>
                </a:solidFill>
                <a:effectLst/>
                <a:uLnTx/>
                <a:uFillTx/>
                <a:latin typeface="Anova Light"/>
                <a:ea typeface="+mn-ea"/>
                <a:cs typeface="+mn-cs"/>
                <a:hlinkClick r:id="rId2">
                  <a:extLst>
                    <a:ext uri="{A12FA001-AC4F-418D-AE19-62706E023703}">
                      <ahyp:hlinkClr xmlns:ahyp="http://schemas.microsoft.com/office/drawing/2018/hyperlinkcolor" val="tx"/>
                    </a:ext>
                  </a:extLst>
                </a:hlinkClick>
              </a:rPr>
              <a:t>BCG Survey, 2024</a:t>
            </a:r>
            <a:endParaRPr kumimoji="0" lang="en-US" sz="2400" b="0" i="0" u="none" strike="noStrike" kern="1200" cap="none" spc="0" normalizeH="0" baseline="0" noProof="0">
              <a:ln>
                <a:noFill/>
              </a:ln>
              <a:solidFill>
                <a:srgbClr val="0766D1"/>
              </a:solidFill>
              <a:effectLst/>
              <a:uLnTx/>
              <a:uFillTx/>
              <a:latin typeface="Anova Light"/>
              <a:ea typeface="+mn-ea"/>
              <a:cs typeface="+mn-cs"/>
            </a:endParaRPr>
          </a:p>
        </p:txBody>
      </p:sp>
      <p:sp>
        <p:nvSpPr>
          <p:cNvPr id="4" name="Title 4">
            <a:extLst>
              <a:ext uri="{FF2B5EF4-FFF2-40B4-BE49-F238E27FC236}">
                <a16:creationId xmlns:a16="http://schemas.microsoft.com/office/drawing/2014/main" id="{3A5B1B3C-0945-F8A1-3E31-BAF7C3F521C3}"/>
              </a:ext>
            </a:extLst>
          </p:cNvPr>
          <p:cNvSpPr>
            <a:spLocks noGrp="1"/>
          </p:cNvSpPr>
          <p:nvPr>
            <p:ph type="title"/>
          </p:nvPr>
        </p:nvSpPr>
        <p:spPr>
          <a:xfrm>
            <a:off x="1257300" y="710304"/>
            <a:ext cx="15773400" cy="775596"/>
          </a:xfrm>
        </p:spPr>
        <p:txBody>
          <a:bodyPr/>
          <a:lstStyle/>
          <a:p>
            <a:r>
              <a:rPr lang="en-US"/>
              <a:t>However…</a:t>
            </a:r>
          </a:p>
        </p:txBody>
      </p:sp>
    </p:spTree>
    <p:extLst>
      <p:ext uri="{BB962C8B-B14F-4D97-AF65-F5344CB8AC3E}">
        <p14:creationId xmlns:p14="http://schemas.microsoft.com/office/powerpoint/2010/main" val="1565365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_BG_Img_Grad">
            <a:extLst>
              <a:ext uri="{FF2B5EF4-FFF2-40B4-BE49-F238E27FC236}">
                <a16:creationId xmlns:a16="http://schemas.microsoft.com/office/drawing/2014/main" id="{81A8812B-90D6-904F-EC95-C1B42CA13BA1}"/>
              </a:ext>
            </a:extLst>
          </p:cNvPr>
          <p:cNvGrpSpPr/>
          <p:nvPr/>
        </p:nvGrpSpPr>
        <p:grpSpPr>
          <a:xfrm>
            <a:off x="-2014387" y="-4037"/>
            <a:ext cx="34452000" cy="10297088"/>
            <a:chOff x="-2014548" y="-4037"/>
            <a:chExt cx="34452000" cy="10297088"/>
          </a:xfrm>
        </p:grpSpPr>
        <p:pic>
          <p:nvPicPr>
            <p:cNvPr id="3" name="BG_Img_01">
              <a:extLst>
                <a:ext uri="{FF2B5EF4-FFF2-40B4-BE49-F238E27FC236}">
                  <a16:creationId xmlns:a16="http://schemas.microsoft.com/office/drawing/2014/main" id="{A1DFD069-C43F-7AAE-D16C-132A713B0AD3}"/>
                </a:ext>
              </a:extLst>
            </p:cNvPr>
            <p:cNvPicPr>
              <a:picLocks noChangeAspect="1"/>
            </p:cNvPicPr>
            <p:nvPr/>
          </p:nvPicPr>
          <p:blipFill rotWithShape="1">
            <a:blip r:embed="rId3">
              <a:extLst>
                <a:ext uri="{28A0092B-C50C-407E-A947-70E740481C1C}">
                  <a14:useLocalDpi xmlns:a14="http://schemas.microsoft.com/office/drawing/2010/main" val="0"/>
                </a:ext>
              </a:extLst>
            </a:blip>
            <a:srcRect l="2403" t="5621" r="16132"/>
            <a:stretch/>
          </p:blipFill>
          <p:spPr>
            <a:xfrm>
              <a:off x="-2005944" y="-2949"/>
              <a:ext cx="13071441" cy="10296000"/>
            </a:xfrm>
            <a:custGeom>
              <a:avLst/>
              <a:gdLst>
                <a:gd name="connsiteX0" fmla="*/ 2030063 w 13060014"/>
                <a:gd name="connsiteY0" fmla="*/ 0 h 10287000"/>
                <a:gd name="connsiteX1" fmla="*/ 13060014 w 13060014"/>
                <a:gd name="connsiteY1" fmla="*/ 0 h 10287000"/>
                <a:gd name="connsiteX2" fmla="*/ 13060014 w 13060014"/>
                <a:gd name="connsiteY2" fmla="*/ 10287000 h 10287000"/>
                <a:gd name="connsiteX3" fmla="*/ 7525226 w 13060014"/>
                <a:gd name="connsiteY3" fmla="*/ 10287000 h 10287000"/>
                <a:gd name="connsiteX4" fmla="*/ 7924800 w 13060014"/>
                <a:gd name="connsiteY4" fmla="*/ 9887426 h 10287000"/>
                <a:gd name="connsiteX5" fmla="*/ 7924800 w 13060014"/>
                <a:gd name="connsiteY5" fmla="*/ 9848374 h 10287000"/>
                <a:gd name="connsiteX6" fmla="*/ 7525226 w 13060014"/>
                <a:gd name="connsiteY6" fmla="*/ 9448800 h 10287000"/>
                <a:gd name="connsiteX7" fmla="*/ 1447801 w 13060014"/>
                <a:gd name="connsiteY7" fmla="*/ 9448800 h 10287000"/>
                <a:gd name="connsiteX8" fmla="*/ 1178433 w 13060014"/>
                <a:gd name="connsiteY8" fmla="*/ 9337167 h 10287000"/>
                <a:gd name="connsiteX9" fmla="*/ 1066800 w 13060014"/>
                <a:gd name="connsiteY9" fmla="*/ 9067800 h 10287000"/>
                <a:gd name="connsiteX10" fmla="*/ 1447801 w 13060014"/>
                <a:gd name="connsiteY10" fmla="*/ 8686800 h 10287000"/>
                <a:gd name="connsiteX11" fmla="*/ 3505200 w 13060014"/>
                <a:gd name="connsiteY11" fmla="*/ 8686800 h 10287000"/>
                <a:gd name="connsiteX12" fmla="*/ 3909346 w 13060014"/>
                <a:gd name="connsiteY12" fmla="*/ 8519446 h 10287000"/>
                <a:gd name="connsiteX13" fmla="*/ 4076700 w 13060014"/>
                <a:gd name="connsiteY13" fmla="*/ 8115300 h 10287000"/>
                <a:gd name="connsiteX14" fmla="*/ 3505200 w 13060014"/>
                <a:gd name="connsiteY14" fmla="*/ 7543800 h 10287000"/>
                <a:gd name="connsiteX15" fmla="*/ 934499 w 13060014"/>
                <a:gd name="connsiteY15" fmla="*/ 7543800 h 10287000"/>
                <a:gd name="connsiteX16" fmla="*/ 0 w 13060014"/>
                <a:gd name="connsiteY16" fmla="*/ 6609207 h 10287000"/>
                <a:gd name="connsiteX17" fmla="*/ 934499 w 13060014"/>
                <a:gd name="connsiteY17" fmla="*/ 5674709 h 10287000"/>
                <a:gd name="connsiteX18" fmla="*/ 11031093 w 13060014"/>
                <a:gd name="connsiteY18" fmla="*/ 5674709 h 10287000"/>
                <a:gd name="connsiteX19" fmla="*/ 11734800 w 13060014"/>
                <a:gd name="connsiteY19" fmla="*/ 4970907 h 10287000"/>
                <a:gd name="connsiteX20" fmla="*/ 11031093 w 13060014"/>
                <a:gd name="connsiteY20" fmla="*/ 4267200 h 10287000"/>
                <a:gd name="connsiteX21" fmla="*/ 8763000 w 13060014"/>
                <a:gd name="connsiteY21" fmla="*/ 4267200 h 10287000"/>
                <a:gd name="connsiteX22" fmla="*/ 9032367 w 13060014"/>
                <a:gd name="connsiteY22" fmla="*/ 4378832 h 10287000"/>
                <a:gd name="connsiteX23" fmla="*/ 9144000 w 13060014"/>
                <a:gd name="connsiteY23" fmla="*/ 4648200 h 10287000"/>
                <a:gd name="connsiteX24" fmla="*/ 8763000 w 13060014"/>
                <a:gd name="connsiteY24" fmla="*/ 5029200 h 10287000"/>
                <a:gd name="connsiteX25" fmla="*/ 3543300 w 13060014"/>
                <a:gd name="connsiteY25" fmla="*/ 5029200 h 10287000"/>
                <a:gd name="connsiteX26" fmla="*/ 2869787 w 13060014"/>
                <a:gd name="connsiteY26" fmla="*/ 4750213 h 10287000"/>
                <a:gd name="connsiteX27" fmla="*/ 2590800 w 13060014"/>
                <a:gd name="connsiteY27" fmla="*/ 4076700 h 10287000"/>
                <a:gd name="connsiteX28" fmla="*/ 3543300 w 13060014"/>
                <a:gd name="connsiteY28" fmla="*/ 3124200 h 10287000"/>
                <a:gd name="connsiteX29" fmla="*/ 5562600 w 13060014"/>
                <a:gd name="connsiteY29" fmla="*/ 3124200 h 10287000"/>
                <a:gd name="connsiteX30" fmla="*/ 5185410 w 13060014"/>
                <a:gd name="connsiteY30" fmla="*/ 2967990 h 10287000"/>
                <a:gd name="connsiteX31" fmla="*/ 5029200 w 13060014"/>
                <a:gd name="connsiteY31" fmla="*/ 2590800 h 10287000"/>
                <a:gd name="connsiteX32" fmla="*/ 5562600 w 13060014"/>
                <a:gd name="connsiteY32" fmla="*/ 2057400 h 10287000"/>
                <a:gd name="connsiteX33" fmla="*/ 5638800 w 13060014"/>
                <a:gd name="connsiteY33" fmla="*/ 2057400 h 10287000"/>
                <a:gd name="connsiteX34" fmla="*/ 5638800 w 13060014"/>
                <a:gd name="connsiteY34" fmla="*/ 2046636 h 10287000"/>
                <a:gd name="connsiteX35" fmla="*/ 9454229 w 13060014"/>
                <a:gd name="connsiteY35" fmla="*/ 2046636 h 10287000"/>
                <a:gd name="connsiteX36" fmla="*/ 9982200 w 13060014"/>
                <a:gd name="connsiteY36" fmla="*/ 1518571 h 10287000"/>
                <a:gd name="connsiteX37" fmla="*/ 9454229 w 13060014"/>
                <a:gd name="connsiteY37" fmla="*/ 990600 h 10287000"/>
                <a:gd name="connsiteX38" fmla="*/ 3020663 w 13060014"/>
                <a:gd name="connsiteY38" fmla="*/ 990600 h 10287000"/>
                <a:gd name="connsiteX39" fmla="*/ 2030063 w 13060014"/>
                <a:gd name="connsiteY39" fmla="*/ 0 h 10287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3060014" h="10287000">
                  <a:moveTo>
                    <a:pt x="2030063" y="0"/>
                  </a:moveTo>
                  <a:lnTo>
                    <a:pt x="13060014" y="0"/>
                  </a:lnTo>
                  <a:lnTo>
                    <a:pt x="13060014" y="10287000"/>
                  </a:lnTo>
                  <a:lnTo>
                    <a:pt x="7525226" y="10287000"/>
                  </a:lnTo>
                  <a:cubicBezTo>
                    <a:pt x="7745920" y="10287000"/>
                    <a:pt x="7924800" y="10108120"/>
                    <a:pt x="7924800" y="9887426"/>
                  </a:cubicBezTo>
                  <a:lnTo>
                    <a:pt x="7924800" y="9848374"/>
                  </a:lnTo>
                  <a:cubicBezTo>
                    <a:pt x="7924800" y="9627679"/>
                    <a:pt x="7745920" y="9448800"/>
                    <a:pt x="7525226" y="9448800"/>
                  </a:cubicBezTo>
                  <a:lnTo>
                    <a:pt x="1447801" y="9448800"/>
                  </a:lnTo>
                  <a:cubicBezTo>
                    <a:pt x="1342645" y="9448800"/>
                    <a:pt x="1247394" y="9406128"/>
                    <a:pt x="1178433" y="9337167"/>
                  </a:cubicBezTo>
                  <a:cubicBezTo>
                    <a:pt x="1109472" y="9268206"/>
                    <a:pt x="1066800" y="9172956"/>
                    <a:pt x="1066800" y="9067800"/>
                  </a:cubicBezTo>
                  <a:cubicBezTo>
                    <a:pt x="1066800" y="8857393"/>
                    <a:pt x="1237393" y="8686800"/>
                    <a:pt x="1447801" y="8686800"/>
                  </a:cubicBezTo>
                  <a:lnTo>
                    <a:pt x="3505200" y="8686800"/>
                  </a:lnTo>
                  <a:cubicBezTo>
                    <a:pt x="3663029" y="8686800"/>
                    <a:pt x="3805904" y="8622792"/>
                    <a:pt x="3909346" y="8519446"/>
                  </a:cubicBezTo>
                  <a:cubicBezTo>
                    <a:pt x="4012692" y="8416004"/>
                    <a:pt x="4076700" y="8273129"/>
                    <a:pt x="4076700" y="8115300"/>
                  </a:cubicBezTo>
                  <a:cubicBezTo>
                    <a:pt x="4076700" y="7799641"/>
                    <a:pt x="3820859" y="7543800"/>
                    <a:pt x="3505200" y="7543800"/>
                  </a:cubicBezTo>
                  <a:lnTo>
                    <a:pt x="934499" y="7543800"/>
                  </a:lnTo>
                  <a:cubicBezTo>
                    <a:pt x="418434" y="7543800"/>
                    <a:pt x="0" y="7125367"/>
                    <a:pt x="0" y="6609207"/>
                  </a:cubicBezTo>
                  <a:cubicBezTo>
                    <a:pt x="0" y="6093142"/>
                    <a:pt x="418434" y="5674709"/>
                    <a:pt x="934499" y="5674709"/>
                  </a:cubicBezTo>
                  <a:lnTo>
                    <a:pt x="11031093" y="5674709"/>
                  </a:lnTo>
                  <a:cubicBezTo>
                    <a:pt x="11419714" y="5674709"/>
                    <a:pt x="11734800" y="5359622"/>
                    <a:pt x="11734800" y="4970907"/>
                  </a:cubicBezTo>
                  <a:cubicBezTo>
                    <a:pt x="11734800" y="4582287"/>
                    <a:pt x="11419714" y="4267200"/>
                    <a:pt x="11031093" y="4267200"/>
                  </a:cubicBezTo>
                  <a:lnTo>
                    <a:pt x="8763000" y="4267200"/>
                  </a:lnTo>
                  <a:cubicBezTo>
                    <a:pt x="8868156" y="4267200"/>
                    <a:pt x="8963406" y="4309872"/>
                    <a:pt x="9032367" y="4378832"/>
                  </a:cubicBezTo>
                  <a:cubicBezTo>
                    <a:pt x="9101328" y="4447794"/>
                    <a:pt x="9144000" y="4543044"/>
                    <a:pt x="9144000" y="4648200"/>
                  </a:cubicBezTo>
                  <a:cubicBezTo>
                    <a:pt x="9144000" y="4858607"/>
                    <a:pt x="8973408" y="5029200"/>
                    <a:pt x="8763000" y="5029200"/>
                  </a:cubicBezTo>
                  <a:lnTo>
                    <a:pt x="3543300" y="5029200"/>
                  </a:lnTo>
                  <a:cubicBezTo>
                    <a:pt x="3280220" y="5029200"/>
                    <a:pt x="3042095" y="4922615"/>
                    <a:pt x="2869787" y="4750213"/>
                  </a:cubicBezTo>
                  <a:cubicBezTo>
                    <a:pt x="2697385" y="4577905"/>
                    <a:pt x="2590800" y="4339780"/>
                    <a:pt x="2590800" y="4076700"/>
                  </a:cubicBezTo>
                  <a:cubicBezTo>
                    <a:pt x="2590800" y="3550634"/>
                    <a:pt x="3017234" y="3124200"/>
                    <a:pt x="3543300" y="3124200"/>
                  </a:cubicBezTo>
                  <a:lnTo>
                    <a:pt x="5562600" y="3124200"/>
                  </a:lnTo>
                  <a:cubicBezTo>
                    <a:pt x="5415344" y="3124200"/>
                    <a:pt x="5281994" y="3064478"/>
                    <a:pt x="5185410" y="2967990"/>
                  </a:cubicBezTo>
                  <a:cubicBezTo>
                    <a:pt x="5088922" y="2871406"/>
                    <a:pt x="5029200" y="2738056"/>
                    <a:pt x="5029200" y="2590800"/>
                  </a:cubicBezTo>
                  <a:cubicBezTo>
                    <a:pt x="5029200" y="2296192"/>
                    <a:pt x="5267992" y="2057400"/>
                    <a:pt x="5562600" y="2057400"/>
                  </a:cubicBezTo>
                  <a:lnTo>
                    <a:pt x="5638800" y="2057400"/>
                  </a:lnTo>
                  <a:lnTo>
                    <a:pt x="5638800" y="2046636"/>
                  </a:lnTo>
                  <a:lnTo>
                    <a:pt x="9454229" y="2046636"/>
                  </a:lnTo>
                  <a:cubicBezTo>
                    <a:pt x="9745789" y="2046636"/>
                    <a:pt x="9982200" y="1810226"/>
                    <a:pt x="9982200" y="1518571"/>
                  </a:cubicBezTo>
                  <a:cubicBezTo>
                    <a:pt x="9982200" y="1227011"/>
                    <a:pt x="9745789" y="990600"/>
                    <a:pt x="9454229" y="990600"/>
                  </a:cubicBezTo>
                  <a:lnTo>
                    <a:pt x="3020663" y="990600"/>
                  </a:lnTo>
                  <a:cubicBezTo>
                    <a:pt x="2473548" y="990600"/>
                    <a:pt x="2030063" y="547116"/>
                    <a:pt x="2030063" y="0"/>
                  </a:cubicBezTo>
                  <a:close/>
                </a:path>
              </a:pathLst>
            </a:custGeom>
            <a:solidFill>
              <a:schemeClr val="bg2">
                <a:alpha val="39000"/>
              </a:schemeClr>
            </a:solidFill>
          </p:spPr>
        </p:pic>
        <p:sp>
          <p:nvSpPr>
            <p:cNvPr id="4" name="BG_Img_Grad">
              <a:extLst>
                <a:ext uri="{FF2B5EF4-FFF2-40B4-BE49-F238E27FC236}">
                  <a16:creationId xmlns:a16="http://schemas.microsoft.com/office/drawing/2014/main" id="{B122D731-BFEE-C0F0-94BB-F4A3292F7654}"/>
                </a:ext>
              </a:extLst>
            </p:cNvPr>
            <p:cNvSpPr/>
            <p:nvPr/>
          </p:nvSpPr>
          <p:spPr>
            <a:xfrm flipV="1">
              <a:off x="-2014548" y="-4037"/>
              <a:ext cx="34452000" cy="10294485"/>
            </a:xfrm>
            <a:custGeom>
              <a:avLst/>
              <a:gdLst>
                <a:gd name="connsiteX0" fmla="*/ 21355171 w 34425255"/>
                <a:gd name="connsiteY0" fmla="*/ 10301969 h 10301969"/>
                <a:gd name="connsiteX1" fmla="*/ 26894227 w 34425255"/>
                <a:gd name="connsiteY1" fmla="*/ 10301969 h 10301969"/>
                <a:gd name="connsiteX2" fmla="*/ 26494345 w 34425255"/>
                <a:gd name="connsiteY2" fmla="*/ 9901813 h 10301969"/>
                <a:gd name="connsiteX3" fmla="*/ 26494345 w 34425255"/>
                <a:gd name="connsiteY3" fmla="*/ 9862705 h 10301969"/>
                <a:gd name="connsiteX4" fmla="*/ 26894227 w 34425255"/>
                <a:gd name="connsiteY4" fmla="*/ 9462549 h 10301969"/>
                <a:gd name="connsiteX5" fmla="*/ 32976339 w 34425255"/>
                <a:gd name="connsiteY5" fmla="*/ 9462549 h 10301969"/>
                <a:gd name="connsiteX6" fmla="*/ 33245915 w 34425255"/>
                <a:gd name="connsiteY6" fmla="*/ 9350754 h 10301969"/>
                <a:gd name="connsiteX7" fmla="*/ 33357635 w 34425255"/>
                <a:gd name="connsiteY7" fmla="*/ 9080995 h 10301969"/>
                <a:gd name="connsiteX8" fmla="*/ 32976339 w 34425255"/>
                <a:gd name="connsiteY8" fmla="*/ 8699441 h 10301969"/>
                <a:gd name="connsiteX9" fmla="*/ 30917351 w 34425255"/>
                <a:gd name="connsiteY9" fmla="*/ 8699441 h 10301969"/>
                <a:gd name="connsiteX10" fmla="*/ 30512895 w 34425255"/>
                <a:gd name="connsiteY10" fmla="*/ 8531843 h 10301969"/>
                <a:gd name="connsiteX11" fmla="*/ 30345411 w 34425255"/>
                <a:gd name="connsiteY11" fmla="*/ 8127109 h 10301969"/>
                <a:gd name="connsiteX12" fmla="*/ 30917351 w 34425255"/>
                <a:gd name="connsiteY12" fmla="*/ 7554777 h 10301969"/>
                <a:gd name="connsiteX13" fmla="*/ 33490039 w 34425255"/>
                <a:gd name="connsiteY13" fmla="*/ 7554777 h 10301969"/>
                <a:gd name="connsiteX14" fmla="*/ 34425255 w 34425255"/>
                <a:gd name="connsiteY14" fmla="*/ 6618825 h 10301969"/>
                <a:gd name="connsiteX15" fmla="*/ 33490039 w 34425255"/>
                <a:gd name="connsiteY15" fmla="*/ 5682967 h 10301969"/>
                <a:gd name="connsiteX16" fmla="*/ 23385657 w 34425255"/>
                <a:gd name="connsiteY16" fmla="*/ 5682967 h 10301969"/>
                <a:gd name="connsiteX17" fmla="*/ 22681407 w 34425255"/>
                <a:gd name="connsiteY17" fmla="*/ 4978141 h 10301969"/>
                <a:gd name="connsiteX18" fmla="*/ 23385657 w 34425255"/>
                <a:gd name="connsiteY18" fmla="*/ 4273410 h 10301969"/>
                <a:gd name="connsiteX19" fmla="*/ 25655499 w 34425255"/>
                <a:gd name="connsiteY19" fmla="*/ 4273410 h 10301969"/>
                <a:gd name="connsiteX20" fmla="*/ 25385923 w 34425255"/>
                <a:gd name="connsiteY20" fmla="*/ 4385205 h 10301969"/>
                <a:gd name="connsiteX21" fmla="*/ 25274205 w 34425255"/>
                <a:gd name="connsiteY21" fmla="*/ 4654965 h 10301969"/>
                <a:gd name="connsiteX22" fmla="*/ 25655499 w 34425255"/>
                <a:gd name="connsiteY22" fmla="*/ 5036519 h 10301969"/>
                <a:gd name="connsiteX23" fmla="*/ 30879223 w 34425255"/>
                <a:gd name="connsiteY23" fmla="*/ 5036519 h 10301969"/>
                <a:gd name="connsiteX24" fmla="*/ 31553255 w 34425255"/>
                <a:gd name="connsiteY24" fmla="*/ 4757126 h 10301969"/>
                <a:gd name="connsiteX25" fmla="*/ 31832459 w 34425255"/>
                <a:gd name="connsiteY25" fmla="*/ 4082633 h 10301969"/>
                <a:gd name="connsiteX26" fmla="*/ 30879223 w 34425255"/>
                <a:gd name="connsiteY26" fmla="*/ 3128747 h 10301969"/>
                <a:gd name="connsiteX27" fmla="*/ 28858367 w 34425255"/>
                <a:gd name="connsiteY27" fmla="*/ 3128747 h 10301969"/>
                <a:gd name="connsiteX28" fmla="*/ 29235847 w 34425255"/>
                <a:gd name="connsiteY28" fmla="*/ 2972309 h 10301969"/>
                <a:gd name="connsiteX29" fmla="*/ 29392179 w 34425255"/>
                <a:gd name="connsiteY29" fmla="*/ 2594571 h 10301969"/>
                <a:gd name="connsiteX30" fmla="*/ 28858367 w 34425255"/>
                <a:gd name="connsiteY30" fmla="*/ 2060395 h 10301969"/>
                <a:gd name="connsiteX31" fmla="*/ 28782107 w 34425255"/>
                <a:gd name="connsiteY31" fmla="*/ 2060395 h 10301969"/>
                <a:gd name="connsiteX32" fmla="*/ 28782107 w 34425255"/>
                <a:gd name="connsiteY32" fmla="*/ 2049615 h 10301969"/>
                <a:gd name="connsiteX33" fmla="*/ 24963737 w 34425255"/>
                <a:gd name="connsiteY33" fmla="*/ 2049615 h 10301969"/>
                <a:gd name="connsiteX34" fmla="*/ 24435359 w 34425255"/>
                <a:gd name="connsiteY34" fmla="*/ 1520782 h 10301969"/>
                <a:gd name="connsiteX35" fmla="*/ 24963737 w 34425255"/>
                <a:gd name="connsiteY35" fmla="*/ 992042 h 10301969"/>
                <a:gd name="connsiteX36" fmla="*/ 31402263 w 34425255"/>
                <a:gd name="connsiteY36" fmla="*/ 992042 h 10301969"/>
                <a:gd name="connsiteX37" fmla="*/ 32393627 w 34425255"/>
                <a:gd name="connsiteY37" fmla="*/ 1 h 10301969"/>
                <a:gd name="connsiteX38" fmla="*/ 21381971 w 34425255"/>
                <a:gd name="connsiteY38" fmla="*/ 1 h 10301969"/>
                <a:gd name="connsiteX39" fmla="*/ 21381971 w 34425255"/>
                <a:gd name="connsiteY39" fmla="*/ 0 h 10301969"/>
                <a:gd name="connsiteX40" fmla="*/ 11907967 w 34425255"/>
                <a:gd name="connsiteY40" fmla="*/ 0 h 10301969"/>
                <a:gd name="connsiteX41" fmla="*/ 11907967 w 34425255"/>
                <a:gd name="connsiteY41" fmla="*/ 1 h 10301969"/>
                <a:gd name="connsiteX42" fmla="*/ 7531029 w 34425255"/>
                <a:gd name="connsiteY42" fmla="*/ 1 h 10301969"/>
                <a:gd name="connsiteX43" fmla="*/ 7930911 w 34425255"/>
                <a:gd name="connsiteY43" fmla="*/ 400156 h 10301969"/>
                <a:gd name="connsiteX44" fmla="*/ 7930911 w 34425255"/>
                <a:gd name="connsiteY44" fmla="*/ 439265 h 10301969"/>
                <a:gd name="connsiteX45" fmla="*/ 7531029 w 34425255"/>
                <a:gd name="connsiteY45" fmla="*/ 839421 h 10301969"/>
                <a:gd name="connsiteX46" fmla="*/ 1448916 w 34425255"/>
                <a:gd name="connsiteY46" fmla="*/ 839421 h 10301969"/>
                <a:gd name="connsiteX47" fmla="*/ 1179342 w 34425255"/>
                <a:gd name="connsiteY47" fmla="*/ 951216 h 10301969"/>
                <a:gd name="connsiteX48" fmla="*/ 1067623 w 34425255"/>
                <a:gd name="connsiteY48" fmla="*/ 1220975 h 10301969"/>
                <a:gd name="connsiteX49" fmla="*/ 1448916 w 34425255"/>
                <a:gd name="connsiteY49" fmla="*/ 1602529 h 10301969"/>
                <a:gd name="connsiteX50" fmla="*/ 3507902 w 34425255"/>
                <a:gd name="connsiteY50" fmla="*/ 1602529 h 10301969"/>
                <a:gd name="connsiteX51" fmla="*/ 3912360 w 34425255"/>
                <a:gd name="connsiteY51" fmla="*/ 1770127 h 10301969"/>
                <a:gd name="connsiteX52" fmla="*/ 4079843 w 34425255"/>
                <a:gd name="connsiteY52" fmla="*/ 2174861 h 10301969"/>
                <a:gd name="connsiteX53" fmla="*/ 3507902 w 34425255"/>
                <a:gd name="connsiteY53" fmla="*/ 2747193 h 10301969"/>
                <a:gd name="connsiteX54" fmla="*/ 935219 w 34425255"/>
                <a:gd name="connsiteY54" fmla="*/ 2747193 h 10301969"/>
                <a:gd name="connsiteX55" fmla="*/ 0 w 34425255"/>
                <a:gd name="connsiteY55" fmla="*/ 3683145 h 10301969"/>
                <a:gd name="connsiteX56" fmla="*/ 935219 w 34425255"/>
                <a:gd name="connsiteY56" fmla="*/ 4619003 h 10301969"/>
                <a:gd name="connsiteX57" fmla="*/ 11039599 w 34425255"/>
                <a:gd name="connsiteY57" fmla="*/ 4619003 h 10301969"/>
                <a:gd name="connsiteX58" fmla="*/ 11743847 w 34425255"/>
                <a:gd name="connsiteY58" fmla="*/ 5323829 h 10301969"/>
                <a:gd name="connsiteX59" fmla="*/ 11039599 w 34425255"/>
                <a:gd name="connsiteY59" fmla="*/ 6028560 h 10301969"/>
                <a:gd name="connsiteX60" fmla="*/ 8769757 w 34425255"/>
                <a:gd name="connsiteY60" fmla="*/ 6028560 h 10301969"/>
                <a:gd name="connsiteX61" fmla="*/ 9039331 w 34425255"/>
                <a:gd name="connsiteY61" fmla="*/ 5916766 h 10301969"/>
                <a:gd name="connsiteX62" fmla="*/ 9151050 w 34425255"/>
                <a:gd name="connsiteY62" fmla="*/ 5647006 h 10301969"/>
                <a:gd name="connsiteX63" fmla="*/ 8769757 w 34425255"/>
                <a:gd name="connsiteY63" fmla="*/ 5265452 h 10301969"/>
                <a:gd name="connsiteX64" fmla="*/ 3546031 w 34425255"/>
                <a:gd name="connsiteY64" fmla="*/ 5265452 h 10301969"/>
                <a:gd name="connsiteX65" fmla="*/ 2872000 w 34425255"/>
                <a:gd name="connsiteY65" fmla="*/ 5544844 h 10301969"/>
                <a:gd name="connsiteX66" fmla="*/ 2592798 w 34425255"/>
                <a:gd name="connsiteY66" fmla="*/ 6219337 h 10301969"/>
                <a:gd name="connsiteX67" fmla="*/ 3546031 w 34425255"/>
                <a:gd name="connsiteY67" fmla="*/ 7173223 h 10301969"/>
                <a:gd name="connsiteX68" fmla="*/ 5566890 w 34425255"/>
                <a:gd name="connsiteY68" fmla="*/ 7173223 h 10301969"/>
                <a:gd name="connsiteX69" fmla="*/ 5189407 w 34425255"/>
                <a:gd name="connsiteY69" fmla="*/ 7329661 h 10301969"/>
                <a:gd name="connsiteX70" fmla="*/ 5033077 w 34425255"/>
                <a:gd name="connsiteY70" fmla="*/ 7707399 h 10301969"/>
                <a:gd name="connsiteX71" fmla="*/ 5566890 w 34425255"/>
                <a:gd name="connsiteY71" fmla="*/ 8241575 h 10301969"/>
                <a:gd name="connsiteX72" fmla="*/ 5643147 w 34425255"/>
                <a:gd name="connsiteY72" fmla="*/ 8241575 h 10301969"/>
                <a:gd name="connsiteX73" fmla="*/ 5643147 w 34425255"/>
                <a:gd name="connsiteY73" fmla="*/ 8252355 h 10301969"/>
                <a:gd name="connsiteX74" fmla="*/ 9461519 w 34425255"/>
                <a:gd name="connsiteY74" fmla="*/ 8252355 h 10301969"/>
                <a:gd name="connsiteX75" fmla="*/ 9989897 w 34425255"/>
                <a:gd name="connsiteY75" fmla="*/ 8781188 h 10301969"/>
                <a:gd name="connsiteX76" fmla="*/ 9461519 w 34425255"/>
                <a:gd name="connsiteY76" fmla="*/ 9309928 h 10301969"/>
                <a:gd name="connsiteX77" fmla="*/ 3022992 w 34425255"/>
                <a:gd name="connsiteY77" fmla="*/ 9309928 h 10301969"/>
                <a:gd name="connsiteX78" fmla="*/ 2031629 w 34425255"/>
                <a:gd name="connsiteY78" fmla="*/ 10301969 h 10301969"/>
                <a:gd name="connsiteX79" fmla="*/ 13070083 w 34425255"/>
                <a:gd name="connsiteY79" fmla="*/ 10301969 h 10301969"/>
                <a:gd name="connsiteX80" fmla="*/ 13070083 w 34425255"/>
                <a:gd name="connsiteY80" fmla="*/ 10301968 h 10301969"/>
                <a:gd name="connsiteX81" fmla="*/ 21355171 w 34425255"/>
                <a:gd name="connsiteY81" fmla="*/ 10301968 h 10301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34425255" h="10301969">
                  <a:moveTo>
                    <a:pt x="21355171" y="10301969"/>
                  </a:moveTo>
                  <a:lnTo>
                    <a:pt x="26894227" y="10301969"/>
                  </a:lnTo>
                  <a:cubicBezTo>
                    <a:pt x="26673363" y="10301969"/>
                    <a:pt x="26494345" y="10122829"/>
                    <a:pt x="26494345" y="9901813"/>
                  </a:cubicBezTo>
                  <a:lnTo>
                    <a:pt x="26494345" y="9862705"/>
                  </a:lnTo>
                  <a:cubicBezTo>
                    <a:pt x="26494345" y="9641689"/>
                    <a:pt x="26673363" y="9462549"/>
                    <a:pt x="26894227" y="9462549"/>
                  </a:cubicBezTo>
                  <a:lnTo>
                    <a:pt x="32976339" y="9462549"/>
                  </a:lnTo>
                  <a:cubicBezTo>
                    <a:pt x="33081575" y="9462549"/>
                    <a:pt x="33176899" y="9419815"/>
                    <a:pt x="33245915" y="9350754"/>
                  </a:cubicBezTo>
                  <a:cubicBezTo>
                    <a:pt x="33314927" y="9281693"/>
                    <a:pt x="33357635" y="9186304"/>
                    <a:pt x="33357635" y="9080995"/>
                  </a:cubicBezTo>
                  <a:cubicBezTo>
                    <a:pt x="33357635" y="8870282"/>
                    <a:pt x="33186907" y="8699441"/>
                    <a:pt x="32976339" y="8699441"/>
                  </a:cubicBezTo>
                  <a:lnTo>
                    <a:pt x="30917351" y="8699441"/>
                  </a:lnTo>
                  <a:cubicBezTo>
                    <a:pt x="30759403" y="8699441"/>
                    <a:pt x="30616419" y="8635339"/>
                    <a:pt x="30512895" y="8531843"/>
                  </a:cubicBezTo>
                  <a:cubicBezTo>
                    <a:pt x="30409471" y="8428251"/>
                    <a:pt x="30345411" y="8285168"/>
                    <a:pt x="30345411" y="8127109"/>
                  </a:cubicBezTo>
                  <a:cubicBezTo>
                    <a:pt x="30345411" y="7810991"/>
                    <a:pt x="30601451" y="7554777"/>
                    <a:pt x="30917351" y="7554777"/>
                  </a:cubicBezTo>
                  <a:lnTo>
                    <a:pt x="33490039" y="7554777"/>
                  </a:lnTo>
                  <a:cubicBezTo>
                    <a:pt x="34006499" y="7554777"/>
                    <a:pt x="34425255" y="7135736"/>
                    <a:pt x="34425255" y="6618825"/>
                  </a:cubicBezTo>
                  <a:cubicBezTo>
                    <a:pt x="34425255" y="6102009"/>
                    <a:pt x="34006499" y="5682967"/>
                    <a:pt x="33490039" y="5682967"/>
                  </a:cubicBezTo>
                  <a:lnTo>
                    <a:pt x="23385657" y="5682967"/>
                  </a:lnTo>
                  <a:cubicBezTo>
                    <a:pt x="22996737" y="5682967"/>
                    <a:pt x="22681407" y="5367422"/>
                    <a:pt x="22681407" y="4978141"/>
                  </a:cubicBezTo>
                  <a:cubicBezTo>
                    <a:pt x="22681407" y="4588956"/>
                    <a:pt x="22996737" y="4273410"/>
                    <a:pt x="23385657" y="4273410"/>
                  </a:cubicBezTo>
                  <a:lnTo>
                    <a:pt x="25655499" y="4273410"/>
                  </a:lnTo>
                  <a:cubicBezTo>
                    <a:pt x="25550261" y="4273410"/>
                    <a:pt x="25454939" y="4316144"/>
                    <a:pt x="25385923" y="4385205"/>
                  </a:cubicBezTo>
                  <a:cubicBezTo>
                    <a:pt x="25316911" y="4454267"/>
                    <a:pt x="25274205" y="4549656"/>
                    <a:pt x="25274205" y="4654965"/>
                  </a:cubicBezTo>
                  <a:cubicBezTo>
                    <a:pt x="25274205" y="4865678"/>
                    <a:pt x="25444927" y="5036519"/>
                    <a:pt x="25655499" y="5036519"/>
                  </a:cubicBezTo>
                  <a:lnTo>
                    <a:pt x="30879223" y="5036519"/>
                  </a:lnTo>
                  <a:cubicBezTo>
                    <a:pt x="31142507" y="5036519"/>
                    <a:pt x="31380815" y="4929779"/>
                    <a:pt x="31553255" y="4757126"/>
                  </a:cubicBezTo>
                  <a:cubicBezTo>
                    <a:pt x="31725791" y="4584567"/>
                    <a:pt x="31832459" y="4346096"/>
                    <a:pt x="31832459" y="4082633"/>
                  </a:cubicBezTo>
                  <a:cubicBezTo>
                    <a:pt x="31832459" y="3555802"/>
                    <a:pt x="31405695" y="3128747"/>
                    <a:pt x="30879223" y="3128747"/>
                  </a:cubicBezTo>
                  <a:lnTo>
                    <a:pt x="28858367" y="3128747"/>
                  </a:lnTo>
                  <a:cubicBezTo>
                    <a:pt x="29005735" y="3128747"/>
                    <a:pt x="29139191" y="3068938"/>
                    <a:pt x="29235847" y="2972309"/>
                  </a:cubicBezTo>
                  <a:cubicBezTo>
                    <a:pt x="29332411" y="2875585"/>
                    <a:pt x="29392179" y="2742041"/>
                    <a:pt x="29392179" y="2594571"/>
                  </a:cubicBezTo>
                  <a:cubicBezTo>
                    <a:pt x="29392179" y="2299534"/>
                    <a:pt x="29153203" y="2060395"/>
                    <a:pt x="28858367" y="2060395"/>
                  </a:cubicBezTo>
                  <a:lnTo>
                    <a:pt x="28782107" y="2060395"/>
                  </a:lnTo>
                  <a:lnTo>
                    <a:pt x="28782107" y="2049615"/>
                  </a:lnTo>
                  <a:lnTo>
                    <a:pt x="24963737" y="2049615"/>
                  </a:lnTo>
                  <a:cubicBezTo>
                    <a:pt x="24671951" y="2049615"/>
                    <a:pt x="24435359" y="1812861"/>
                    <a:pt x="24435359" y="1520782"/>
                  </a:cubicBezTo>
                  <a:cubicBezTo>
                    <a:pt x="24435359" y="1228797"/>
                    <a:pt x="24671951" y="992042"/>
                    <a:pt x="24963737" y="992042"/>
                  </a:cubicBezTo>
                  <a:lnTo>
                    <a:pt x="31402263" y="992042"/>
                  </a:lnTo>
                  <a:cubicBezTo>
                    <a:pt x="31949803" y="992042"/>
                    <a:pt x="32393627" y="547913"/>
                    <a:pt x="32393627" y="1"/>
                  </a:cubicBezTo>
                  <a:lnTo>
                    <a:pt x="21381971" y="1"/>
                  </a:lnTo>
                  <a:lnTo>
                    <a:pt x="21381971" y="0"/>
                  </a:lnTo>
                  <a:lnTo>
                    <a:pt x="11907967" y="0"/>
                  </a:lnTo>
                  <a:lnTo>
                    <a:pt x="11907967" y="1"/>
                  </a:lnTo>
                  <a:lnTo>
                    <a:pt x="7531029" y="1"/>
                  </a:lnTo>
                  <a:cubicBezTo>
                    <a:pt x="7751893" y="1"/>
                    <a:pt x="7930911" y="179141"/>
                    <a:pt x="7930911" y="400156"/>
                  </a:cubicBezTo>
                  <a:lnTo>
                    <a:pt x="7930911" y="439265"/>
                  </a:lnTo>
                  <a:cubicBezTo>
                    <a:pt x="7930911" y="660281"/>
                    <a:pt x="7751893" y="839421"/>
                    <a:pt x="7531029" y="839421"/>
                  </a:cubicBezTo>
                  <a:lnTo>
                    <a:pt x="1448916" y="839421"/>
                  </a:lnTo>
                  <a:cubicBezTo>
                    <a:pt x="1343679" y="839421"/>
                    <a:pt x="1248356" y="882155"/>
                    <a:pt x="1179342" y="951216"/>
                  </a:cubicBezTo>
                  <a:cubicBezTo>
                    <a:pt x="1110328" y="1020277"/>
                    <a:pt x="1067623" y="1115666"/>
                    <a:pt x="1067623" y="1220975"/>
                  </a:cubicBezTo>
                  <a:cubicBezTo>
                    <a:pt x="1067623" y="1431688"/>
                    <a:pt x="1238347" y="1602529"/>
                    <a:pt x="1448916" y="1602529"/>
                  </a:cubicBezTo>
                  <a:lnTo>
                    <a:pt x="3507902" y="1602529"/>
                  </a:lnTo>
                  <a:cubicBezTo>
                    <a:pt x="3665854" y="1602529"/>
                    <a:pt x="3808838" y="1666631"/>
                    <a:pt x="3912360" y="1770127"/>
                  </a:cubicBezTo>
                  <a:cubicBezTo>
                    <a:pt x="4015785" y="1873719"/>
                    <a:pt x="4079843" y="2016802"/>
                    <a:pt x="4079843" y="2174861"/>
                  </a:cubicBezTo>
                  <a:cubicBezTo>
                    <a:pt x="4079843" y="2490979"/>
                    <a:pt x="3823806" y="2747193"/>
                    <a:pt x="3507902" y="2747193"/>
                  </a:cubicBezTo>
                  <a:lnTo>
                    <a:pt x="935219" y="2747193"/>
                  </a:lnTo>
                  <a:cubicBezTo>
                    <a:pt x="418756" y="2747193"/>
                    <a:pt x="0" y="3166234"/>
                    <a:pt x="0" y="3683145"/>
                  </a:cubicBezTo>
                  <a:cubicBezTo>
                    <a:pt x="0" y="4199961"/>
                    <a:pt x="418756" y="4619003"/>
                    <a:pt x="935219" y="4619003"/>
                  </a:cubicBezTo>
                  <a:lnTo>
                    <a:pt x="11039599" y="4619003"/>
                  </a:lnTo>
                  <a:cubicBezTo>
                    <a:pt x="11428519" y="4619003"/>
                    <a:pt x="11743847" y="4934549"/>
                    <a:pt x="11743847" y="5323829"/>
                  </a:cubicBezTo>
                  <a:cubicBezTo>
                    <a:pt x="11743847" y="5713015"/>
                    <a:pt x="11428519" y="6028560"/>
                    <a:pt x="11039599" y="6028560"/>
                  </a:cubicBezTo>
                  <a:lnTo>
                    <a:pt x="8769757" y="6028560"/>
                  </a:lnTo>
                  <a:cubicBezTo>
                    <a:pt x="8874994" y="6028560"/>
                    <a:pt x="8970318" y="5985826"/>
                    <a:pt x="9039331" y="5916766"/>
                  </a:cubicBezTo>
                  <a:cubicBezTo>
                    <a:pt x="9108346" y="5847704"/>
                    <a:pt x="9151050" y="5752315"/>
                    <a:pt x="9151050" y="5647006"/>
                  </a:cubicBezTo>
                  <a:cubicBezTo>
                    <a:pt x="9151050" y="5436293"/>
                    <a:pt x="8980327" y="5265452"/>
                    <a:pt x="8769757" y="5265452"/>
                  </a:cubicBezTo>
                  <a:lnTo>
                    <a:pt x="3546031" y="5265452"/>
                  </a:lnTo>
                  <a:cubicBezTo>
                    <a:pt x="3282749" y="5265452"/>
                    <a:pt x="3044441" y="5372192"/>
                    <a:pt x="2872000" y="5544844"/>
                  </a:cubicBezTo>
                  <a:cubicBezTo>
                    <a:pt x="2699465" y="5717403"/>
                    <a:pt x="2592798" y="5955875"/>
                    <a:pt x="2592798" y="6219337"/>
                  </a:cubicBezTo>
                  <a:cubicBezTo>
                    <a:pt x="2592798" y="6746169"/>
                    <a:pt x="3019560" y="7173223"/>
                    <a:pt x="3546031" y="7173223"/>
                  </a:cubicBezTo>
                  <a:lnTo>
                    <a:pt x="5566890" y="7173223"/>
                  </a:lnTo>
                  <a:cubicBezTo>
                    <a:pt x="5419519" y="7173223"/>
                    <a:pt x="5286067" y="7233032"/>
                    <a:pt x="5189407" y="7329661"/>
                  </a:cubicBezTo>
                  <a:cubicBezTo>
                    <a:pt x="5092845" y="7426385"/>
                    <a:pt x="5033077" y="7559929"/>
                    <a:pt x="5033077" y="7707399"/>
                  </a:cubicBezTo>
                  <a:cubicBezTo>
                    <a:pt x="5033077" y="8002436"/>
                    <a:pt x="5272054" y="8241575"/>
                    <a:pt x="5566890" y="8241575"/>
                  </a:cubicBezTo>
                  <a:lnTo>
                    <a:pt x="5643147" y="8241575"/>
                  </a:lnTo>
                  <a:lnTo>
                    <a:pt x="5643147" y="8252355"/>
                  </a:lnTo>
                  <a:lnTo>
                    <a:pt x="9461519" y="8252355"/>
                  </a:lnTo>
                  <a:cubicBezTo>
                    <a:pt x="9753304" y="8252355"/>
                    <a:pt x="9989897" y="8489109"/>
                    <a:pt x="9989897" y="8781188"/>
                  </a:cubicBezTo>
                  <a:cubicBezTo>
                    <a:pt x="9989897" y="9073173"/>
                    <a:pt x="9753304" y="9309928"/>
                    <a:pt x="9461519" y="9309928"/>
                  </a:cubicBezTo>
                  <a:lnTo>
                    <a:pt x="3022992" y="9309928"/>
                  </a:lnTo>
                  <a:cubicBezTo>
                    <a:pt x="2475455" y="9309928"/>
                    <a:pt x="2031629" y="9754057"/>
                    <a:pt x="2031629" y="10301969"/>
                  </a:cubicBezTo>
                  <a:lnTo>
                    <a:pt x="13070083" y="10301969"/>
                  </a:lnTo>
                  <a:lnTo>
                    <a:pt x="13070083" y="10301968"/>
                  </a:lnTo>
                  <a:lnTo>
                    <a:pt x="21355171" y="10301968"/>
                  </a:lnTo>
                  <a:close/>
                </a:path>
              </a:pathLst>
            </a:custGeom>
            <a:gradFill>
              <a:gsLst>
                <a:gs pos="0">
                  <a:schemeClr val="accent1">
                    <a:alpha val="20000"/>
                  </a:schemeClr>
                </a:gs>
                <a:gs pos="34000">
                  <a:schemeClr val="accent1"/>
                </a:gs>
              </a:gsLst>
              <a:lin ang="0" scaled="0"/>
            </a:gradFill>
            <a:ln w="0" cap="flat">
              <a:noFill/>
              <a:prstDash val="solid"/>
              <a:miter/>
            </a:ln>
          </p:spPr>
          <p:txBody>
            <a:bodyPr wrap="square" rtlCol="0" anchor="ctr">
              <a:noAutofit/>
            </a:bodyPr>
            <a:lstStyle/>
            <a:p>
              <a:endParaRPr lang="en-GB"/>
            </a:p>
          </p:txBody>
        </p:sp>
      </p:grpSp>
      <p:sp>
        <p:nvSpPr>
          <p:cNvPr id="5" name="!!_Mask">
            <a:extLst>
              <a:ext uri="{FF2B5EF4-FFF2-40B4-BE49-F238E27FC236}">
                <a16:creationId xmlns:a16="http://schemas.microsoft.com/office/drawing/2014/main" id="{6AF824D5-6F1D-2CBA-5C2B-C9772C95C9F3}"/>
              </a:ext>
            </a:extLst>
          </p:cNvPr>
          <p:cNvSpPr>
            <a:spLocks/>
          </p:cNvSpPr>
          <p:nvPr/>
        </p:nvSpPr>
        <p:spPr>
          <a:xfrm>
            <a:off x="10091048" y="1796004"/>
            <a:ext cx="2472368" cy="7271657"/>
          </a:xfrm>
          <a:custGeom>
            <a:avLst/>
            <a:gdLst>
              <a:gd name="connsiteX0" fmla="*/ 1229456 w 2472368"/>
              <a:gd name="connsiteY0" fmla="*/ 5250045 h 7271657"/>
              <a:gd name="connsiteX1" fmla="*/ 419716 w 2472368"/>
              <a:gd name="connsiteY1" fmla="*/ 6059787 h 7271657"/>
              <a:gd name="connsiteX2" fmla="*/ 1229456 w 2472368"/>
              <a:gd name="connsiteY2" fmla="*/ 6869529 h 7271657"/>
              <a:gd name="connsiteX3" fmla="*/ 2039200 w 2472368"/>
              <a:gd name="connsiteY3" fmla="*/ 6059787 h 7271657"/>
              <a:gd name="connsiteX4" fmla="*/ 1229456 w 2472368"/>
              <a:gd name="connsiteY4" fmla="*/ 5250045 h 7271657"/>
              <a:gd name="connsiteX5" fmla="*/ 1229456 w 2472368"/>
              <a:gd name="connsiteY5" fmla="*/ 2798217 h 7271657"/>
              <a:gd name="connsiteX6" fmla="*/ 419716 w 2472368"/>
              <a:gd name="connsiteY6" fmla="*/ 3607959 h 7271657"/>
              <a:gd name="connsiteX7" fmla="*/ 1229456 w 2472368"/>
              <a:gd name="connsiteY7" fmla="*/ 4417701 h 7271657"/>
              <a:gd name="connsiteX8" fmla="*/ 2039200 w 2472368"/>
              <a:gd name="connsiteY8" fmla="*/ 3607959 h 7271657"/>
              <a:gd name="connsiteX9" fmla="*/ 1229456 w 2472368"/>
              <a:gd name="connsiteY9" fmla="*/ 2798217 h 7271657"/>
              <a:gd name="connsiteX10" fmla="*/ 1229456 w 2472368"/>
              <a:gd name="connsiteY10" fmla="*/ 320792 h 7271657"/>
              <a:gd name="connsiteX11" fmla="*/ 419716 w 2472368"/>
              <a:gd name="connsiteY11" fmla="*/ 1130534 h 7271657"/>
              <a:gd name="connsiteX12" fmla="*/ 1229456 w 2472368"/>
              <a:gd name="connsiteY12" fmla="*/ 1940276 h 7271657"/>
              <a:gd name="connsiteX13" fmla="*/ 2039200 w 2472368"/>
              <a:gd name="connsiteY13" fmla="*/ 1130534 h 7271657"/>
              <a:gd name="connsiteX14" fmla="*/ 1229456 w 2472368"/>
              <a:gd name="connsiteY14" fmla="*/ 320792 h 7271657"/>
              <a:gd name="connsiteX15" fmla="*/ 0 w 2472368"/>
              <a:gd name="connsiteY15" fmla="*/ 0 h 7271657"/>
              <a:gd name="connsiteX16" fmla="*/ 2472368 w 2472368"/>
              <a:gd name="connsiteY16" fmla="*/ 0 h 7271657"/>
              <a:gd name="connsiteX17" fmla="*/ 2472368 w 2472368"/>
              <a:gd name="connsiteY17" fmla="*/ 7271657 h 7271657"/>
              <a:gd name="connsiteX18" fmla="*/ 0 w 2472368"/>
              <a:gd name="connsiteY18" fmla="*/ 7271657 h 72716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472368" h="7271657">
                <a:moveTo>
                  <a:pt x="1229456" y="5250045"/>
                </a:moveTo>
                <a:cubicBezTo>
                  <a:pt x="782248" y="5250045"/>
                  <a:pt x="419716" y="5612579"/>
                  <a:pt x="419716" y="6059787"/>
                </a:cubicBezTo>
                <a:cubicBezTo>
                  <a:pt x="419716" y="6506995"/>
                  <a:pt x="782248" y="6869529"/>
                  <a:pt x="1229456" y="6869529"/>
                </a:cubicBezTo>
                <a:cubicBezTo>
                  <a:pt x="1676664" y="6869529"/>
                  <a:pt x="2039200" y="6506995"/>
                  <a:pt x="2039200" y="6059787"/>
                </a:cubicBezTo>
                <a:cubicBezTo>
                  <a:pt x="2039200" y="5612579"/>
                  <a:pt x="1676664" y="5250045"/>
                  <a:pt x="1229456" y="5250045"/>
                </a:cubicBezTo>
                <a:close/>
                <a:moveTo>
                  <a:pt x="1229456" y="2798217"/>
                </a:moveTo>
                <a:cubicBezTo>
                  <a:pt x="782248" y="2798217"/>
                  <a:pt x="419716" y="3160751"/>
                  <a:pt x="419716" y="3607959"/>
                </a:cubicBezTo>
                <a:cubicBezTo>
                  <a:pt x="419716" y="4055167"/>
                  <a:pt x="782248" y="4417701"/>
                  <a:pt x="1229456" y="4417701"/>
                </a:cubicBezTo>
                <a:cubicBezTo>
                  <a:pt x="1676664" y="4417701"/>
                  <a:pt x="2039200" y="4055167"/>
                  <a:pt x="2039200" y="3607959"/>
                </a:cubicBezTo>
                <a:cubicBezTo>
                  <a:pt x="2039200" y="3160751"/>
                  <a:pt x="1676664" y="2798217"/>
                  <a:pt x="1229456" y="2798217"/>
                </a:cubicBezTo>
                <a:close/>
                <a:moveTo>
                  <a:pt x="1229456" y="320792"/>
                </a:moveTo>
                <a:cubicBezTo>
                  <a:pt x="782248" y="320792"/>
                  <a:pt x="419716" y="683326"/>
                  <a:pt x="419716" y="1130534"/>
                </a:cubicBezTo>
                <a:cubicBezTo>
                  <a:pt x="419716" y="1577742"/>
                  <a:pt x="782248" y="1940276"/>
                  <a:pt x="1229456" y="1940276"/>
                </a:cubicBezTo>
                <a:cubicBezTo>
                  <a:pt x="1676664" y="1940276"/>
                  <a:pt x="2039200" y="1577742"/>
                  <a:pt x="2039200" y="1130534"/>
                </a:cubicBezTo>
                <a:cubicBezTo>
                  <a:pt x="2039200" y="683326"/>
                  <a:pt x="1676664" y="320792"/>
                  <a:pt x="1229456" y="320792"/>
                </a:cubicBezTo>
                <a:close/>
                <a:moveTo>
                  <a:pt x="0" y="0"/>
                </a:moveTo>
                <a:lnTo>
                  <a:pt x="2472368" y="0"/>
                </a:lnTo>
                <a:lnTo>
                  <a:pt x="2472368" y="7271657"/>
                </a:lnTo>
                <a:lnTo>
                  <a:pt x="0" y="7271657"/>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6" name="!!_Flash_02">
            <a:extLst>
              <a:ext uri="{FF2B5EF4-FFF2-40B4-BE49-F238E27FC236}">
                <a16:creationId xmlns:a16="http://schemas.microsoft.com/office/drawing/2014/main" id="{AEE91B13-FD22-E88E-9601-A2870BC613B4}"/>
              </a:ext>
            </a:extLst>
          </p:cNvPr>
          <p:cNvSpPr/>
          <p:nvPr/>
        </p:nvSpPr>
        <p:spPr>
          <a:xfrm>
            <a:off x="-516066" y="3835436"/>
            <a:ext cx="3902284" cy="339035"/>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_Flash_01">
            <a:extLst>
              <a:ext uri="{FF2B5EF4-FFF2-40B4-BE49-F238E27FC236}">
                <a16:creationId xmlns:a16="http://schemas.microsoft.com/office/drawing/2014/main" id="{197EC7B7-68B7-2175-425C-0E9E1F768DEF}"/>
              </a:ext>
            </a:extLst>
          </p:cNvPr>
          <p:cNvSpPr/>
          <p:nvPr/>
        </p:nvSpPr>
        <p:spPr>
          <a:xfrm>
            <a:off x="5946086" y="526930"/>
            <a:ext cx="11422185" cy="966631"/>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_S9_Title">
            <a:extLst>
              <a:ext uri="{FF2B5EF4-FFF2-40B4-BE49-F238E27FC236}">
                <a16:creationId xmlns:a16="http://schemas.microsoft.com/office/drawing/2014/main" id="{1D27DF05-C4C8-CB03-92BC-C28A5B4313FB}"/>
              </a:ext>
            </a:extLst>
          </p:cNvPr>
          <p:cNvSpPr txBox="1"/>
          <p:nvPr/>
        </p:nvSpPr>
        <p:spPr>
          <a:xfrm>
            <a:off x="10331733" y="644901"/>
            <a:ext cx="7445851" cy="769441"/>
          </a:xfrm>
          <a:prstGeom prst="rect">
            <a:avLst/>
          </a:prstGeom>
          <a:noFill/>
        </p:spPr>
        <p:txBody>
          <a:bodyPr wrap="square" lIns="91440" tIns="45720" rIns="91440" bIns="45720" anchor="t">
            <a:spAutoFit/>
          </a:bodyPr>
          <a:lstStyle/>
          <a:p>
            <a:r>
              <a:rPr lang="en-US" sz="4400" b="1">
                <a:solidFill>
                  <a:schemeClr val="bg1"/>
                </a:solidFill>
                <a:latin typeface="+mj-lt"/>
              </a:rPr>
              <a:t>Hurdles To Overcome</a:t>
            </a:r>
            <a:endParaRPr lang="en-GB" sz="4400" b="1">
              <a:solidFill>
                <a:schemeClr val="bg1"/>
              </a:solidFill>
            </a:endParaRPr>
          </a:p>
        </p:txBody>
      </p:sp>
      <p:pic>
        <p:nvPicPr>
          <p:cNvPr id="10" name="!!_Hurdle">
            <a:extLst>
              <a:ext uri="{FF2B5EF4-FFF2-40B4-BE49-F238E27FC236}">
                <a16:creationId xmlns:a16="http://schemas.microsoft.com/office/drawing/2014/main" id="{D69222EF-67CE-436B-699C-B122E20785BD}"/>
              </a:ext>
            </a:extLst>
          </p:cNvPr>
          <p:cNvPicPr>
            <a:picLocks noChangeAspect="1"/>
          </p:cNvPicPr>
          <p:nvPr/>
        </p:nvPicPr>
        <p:blipFill rotWithShape="1">
          <a:blip r:embed="rId4">
            <a:extLst>
              <a:ext uri="{28A0092B-C50C-407E-A947-70E740481C1C}">
                <a14:useLocalDpi xmlns:a14="http://schemas.microsoft.com/office/drawing/2010/main" val="0"/>
              </a:ext>
            </a:extLst>
          </a:blip>
          <a:srcRect l="30547" t="50995" r="48756" b="15219"/>
          <a:stretch/>
        </p:blipFill>
        <p:spPr>
          <a:xfrm>
            <a:off x="2412652" y="4846750"/>
            <a:ext cx="3437163" cy="3814788"/>
          </a:xfrm>
          <a:prstGeom prst="rect">
            <a:avLst/>
          </a:prstGeom>
        </p:spPr>
      </p:pic>
      <p:pic>
        <p:nvPicPr>
          <p:cNvPr id="11" name="!!_Runner">
            <a:extLst>
              <a:ext uri="{FF2B5EF4-FFF2-40B4-BE49-F238E27FC236}">
                <a16:creationId xmlns:a16="http://schemas.microsoft.com/office/drawing/2014/main" id="{1C89AF8A-FF61-1FBD-1747-6927FA444E7C}"/>
              </a:ext>
            </a:extLst>
          </p:cNvPr>
          <p:cNvPicPr>
            <a:picLocks noChangeAspect="1"/>
          </p:cNvPicPr>
          <p:nvPr/>
        </p:nvPicPr>
        <p:blipFill rotWithShape="1">
          <a:blip r:embed="rId5">
            <a:extLst>
              <a:ext uri="{28A0092B-C50C-407E-A947-70E740481C1C}">
                <a14:useLocalDpi xmlns:a14="http://schemas.microsoft.com/office/drawing/2010/main" val="0"/>
              </a:ext>
            </a:extLst>
          </a:blip>
          <a:srcRect l="18654" t="17291" r="43568" b="37384"/>
          <a:stretch/>
        </p:blipFill>
        <p:spPr>
          <a:xfrm>
            <a:off x="609600" y="1272817"/>
            <a:ext cx="6068382" cy="4949958"/>
          </a:xfrm>
          <a:prstGeom prst="rect">
            <a:avLst/>
          </a:prstGeom>
        </p:spPr>
      </p:pic>
      <p:sp>
        <p:nvSpPr>
          <p:cNvPr id="12" name="!!_ROI_Start">
            <a:extLst>
              <a:ext uri="{FF2B5EF4-FFF2-40B4-BE49-F238E27FC236}">
                <a16:creationId xmlns:a16="http://schemas.microsoft.com/office/drawing/2014/main" id="{F54645FB-BEB9-9DBB-E4E4-E343D3FD6FC8}"/>
              </a:ext>
            </a:extLst>
          </p:cNvPr>
          <p:cNvSpPr/>
          <p:nvPr/>
        </p:nvSpPr>
        <p:spPr>
          <a:xfrm>
            <a:off x="10412125" y="2042703"/>
            <a:ext cx="1619484" cy="1619483"/>
          </a:xfrm>
          <a:prstGeom prst="flowChartConnector">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_ROI_Text">
            <a:extLst>
              <a:ext uri="{FF2B5EF4-FFF2-40B4-BE49-F238E27FC236}">
                <a16:creationId xmlns:a16="http://schemas.microsoft.com/office/drawing/2014/main" id="{F3D2ACF9-47FA-3647-6CF6-63DA785F6DE0}"/>
              </a:ext>
            </a:extLst>
          </p:cNvPr>
          <p:cNvSpPr txBox="1"/>
          <p:nvPr/>
        </p:nvSpPr>
        <p:spPr>
          <a:xfrm>
            <a:off x="12628818" y="2649538"/>
            <a:ext cx="949299" cy="615553"/>
          </a:xfrm>
          <a:prstGeom prst="rect">
            <a:avLst/>
          </a:prstGeom>
          <a:noFill/>
        </p:spPr>
        <p:txBody>
          <a:bodyPr wrap="none" lIns="0" tIns="0" rIns="0" bIns="0" rtlCol="0">
            <a:spAutoFit/>
          </a:bodyPr>
          <a:lstStyle/>
          <a:p>
            <a:pPr algn="l"/>
            <a:r>
              <a:rPr lang="en-GB" sz="4000" b="1" spc="200">
                <a:solidFill>
                  <a:schemeClr val="bg1"/>
                </a:solidFill>
              </a:rPr>
              <a:t>ROI</a:t>
            </a:r>
          </a:p>
        </p:txBody>
      </p:sp>
      <p:sp>
        <p:nvSpPr>
          <p:cNvPr id="14" name="!!_ROI_Start">
            <a:extLst>
              <a:ext uri="{FF2B5EF4-FFF2-40B4-BE49-F238E27FC236}">
                <a16:creationId xmlns:a16="http://schemas.microsoft.com/office/drawing/2014/main" id="{60F823AB-A5EB-9A32-D590-8F9B2E3114DB}"/>
              </a:ext>
            </a:extLst>
          </p:cNvPr>
          <p:cNvSpPr/>
          <p:nvPr/>
        </p:nvSpPr>
        <p:spPr>
          <a:xfrm>
            <a:off x="10434686" y="4008770"/>
            <a:ext cx="1619484" cy="1619483"/>
          </a:xfrm>
          <a:prstGeom prst="flowChartConnector">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_ROI_Text">
            <a:extLst>
              <a:ext uri="{FF2B5EF4-FFF2-40B4-BE49-F238E27FC236}">
                <a16:creationId xmlns:a16="http://schemas.microsoft.com/office/drawing/2014/main" id="{47DDB54C-E8B2-3F70-609B-4A494E29B514}"/>
              </a:ext>
            </a:extLst>
          </p:cNvPr>
          <p:cNvSpPr txBox="1"/>
          <p:nvPr/>
        </p:nvSpPr>
        <p:spPr>
          <a:xfrm>
            <a:off x="12563416" y="4421067"/>
            <a:ext cx="1200650" cy="615553"/>
          </a:xfrm>
          <a:prstGeom prst="rect">
            <a:avLst/>
          </a:prstGeom>
          <a:noFill/>
        </p:spPr>
        <p:txBody>
          <a:bodyPr wrap="none" lIns="0" tIns="0" rIns="0" bIns="0" rtlCol="0">
            <a:spAutoFit/>
          </a:bodyPr>
          <a:lstStyle/>
          <a:p>
            <a:pPr algn="l"/>
            <a:r>
              <a:rPr lang="en-GB" sz="4000" b="1" spc="200">
                <a:solidFill>
                  <a:schemeClr val="bg1"/>
                </a:solidFill>
              </a:rPr>
              <a:t>Data</a:t>
            </a:r>
          </a:p>
        </p:txBody>
      </p:sp>
      <p:sp>
        <p:nvSpPr>
          <p:cNvPr id="16" name="!!_ROI_Start">
            <a:extLst>
              <a:ext uri="{FF2B5EF4-FFF2-40B4-BE49-F238E27FC236}">
                <a16:creationId xmlns:a16="http://schemas.microsoft.com/office/drawing/2014/main" id="{68692ED7-1A00-442D-D188-CB68C454317F}"/>
              </a:ext>
            </a:extLst>
          </p:cNvPr>
          <p:cNvSpPr/>
          <p:nvPr/>
        </p:nvSpPr>
        <p:spPr>
          <a:xfrm>
            <a:off x="10477977" y="5877343"/>
            <a:ext cx="1619484" cy="1619483"/>
          </a:xfrm>
          <a:prstGeom prst="flowChartConnector">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_ROI_Text">
            <a:extLst>
              <a:ext uri="{FF2B5EF4-FFF2-40B4-BE49-F238E27FC236}">
                <a16:creationId xmlns:a16="http://schemas.microsoft.com/office/drawing/2014/main" id="{541AD826-DED2-214F-A8E7-7A96ED0C5673}"/>
              </a:ext>
            </a:extLst>
          </p:cNvPr>
          <p:cNvSpPr txBox="1"/>
          <p:nvPr/>
        </p:nvSpPr>
        <p:spPr>
          <a:xfrm>
            <a:off x="12484390" y="6248074"/>
            <a:ext cx="2906245" cy="615553"/>
          </a:xfrm>
          <a:prstGeom prst="rect">
            <a:avLst/>
          </a:prstGeom>
          <a:noFill/>
        </p:spPr>
        <p:txBody>
          <a:bodyPr wrap="none" lIns="0" tIns="0" rIns="0" bIns="0" rtlCol="0">
            <a:spAutoFit/>
          </a:bodyPr>
          <a:lstStyle/>
          <a:p>
            <a:pPr algn="l"/>
            <a:r>
              <a:rPr lang="en-GB" sz="4000" b="1" spc="200">
                <a:solidFill>
                  <a:schemeClr val="bg1"/>
                </a:solidFill>
              </a:rPr>
              <a:t>Technology</a:t>
            </a:r>
          </a:p>
        </p:txBody>
      </p:sp>
      <p:sp>
        <p:nvSpPr>
          <p:cNvPr id="18" name="!!_ROI_Start">
            <a:extLst>
              <a:ext uri="{FF2B5EF4-FFF2-40B4-BE49-F238E27FC236}">
                <a16:creationId xmlns:a16="http://schemas.microsoft.com/office/drawing/2014/main" id="{904D069F-7B04-BF21-3BF3-AF1B263DF60F}"/>
              </a:ext>
            </a:extLst>
          </p:cNvPr>
          <p:cNvSpPr/>
          <p:nvPr/>
        </p:nvSpPr>
        <p:spPr>
          <a:xfrm>
            <a:off x="10477977" y="7863476"/>
            <a:ext cx="1619484" cy="1619483"/>
          </a:xfrm>
          <a:prstGeom prst="flowChartConnector">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_ROI_Text">
            <a:extLst>
              <a:ext uri="{FF2B5EF4-FFF2-40B4-BE49-F238E27FC236}">
                <a16:creationId xmlns:a16="http://schemas.microsoft.com/office/drawing/2014/main" id="{1667B272-FCED-C968-BB23-CD8882C0FC14}"/>
              </a:ext>
            </a:extLst>
          </p:cNvPr>
          <p:cNvSpPr txBox="1"/>
          <p:nvPr/>
        </p:nvSpPr>
        <p:spPr>
          <a:xfrm>
            <a:off x="12525247" y="8242063"/>
            <a:ext cx="1631857" cy="615553"/>
          </a:xfrm>
          <a:prstGeom prst="rect">
            <a:avLst/>
          </a:prstGeom>
          <a:noFill/>
        </p:spPr>
        <p:txBody>
          <a:bodyPr wrap="none" lIns="0" tIns="0" rIns="0" bIns="0" rtlCol="0">
            <a:spAutoFit/>
          </a:bodyPr>
          <a:lstStyle/>
          <a:p>
            <a:pPr algn="l"/>
            <a:r>
              <a:rPr lang="en-GB" sz="4000" b="1" spc="200">
                <a:solidFill>
                  <a:schemeClr val="bg1"/>
                </a:solidFill>
              </a:rPr>
              <a:t>Talent</a:t>
            </a:r>
          </a:p>
        </p:txBody>
      </p:sp>
      <p:sp>
        <p:nvSpPr>
          <p:cNvPr id="20" name="TextBox 19">
            <a:extLst>
              <a:ext uri="{FF2B5EF4-FFF2-40B4-BE49-F238E27FC236}">
                <a16:creationId xmlns:a16="http://schemas.microsoft.com/office/drawing/2014/main" id="{93C64CA2-A178-60AA-06B4-C84B69CC5FB9}"/>
              </a:ext>
            </a:extLst>
          </p:cNvPr>
          <p:cNvSpPr txBox="1"/>
          <p:nvPr/>
        </p:nvSpPr>
        <p:spPr>
          <a:xfrm>
            <a:off x="7556751" y="9876251"/>
            <a:ext cx="15560222" cy="276999"/>
          </a:xfrm>
          <a:prstGeom prst="rect">
            <a:avLst/>
          </a:prstGeom>
          <a:noFill/>
        </p:spPr>
        <p:txBody>
          <a:bodyPr wrap="none" lIns="0" tIns="0" rIns="0" bIns="0" rtlCol="0">
            <a:spAutoFit/>
          </a:bodyPr>
          <a:lstStyle/>
          <a:p>
            <a:r>
              <a:rPr lang="en-US" sz="1800">
                <a:solidFill>
                  <a:schemeClr val="bg1"/>
                </a:solidFill>
              </a:rPr>
              <a:t>Source: Colemans Report Market Research (North America, Survey covers 300 </a:t>
            </a:r>
            <a:r>
              <a:rPr lang="en-US" sz="1800">
                <a:solidFill>
                  <a:schemeClr val="bg1"/>
                </a:solidFill>
                <a:latin typeface="Avenir Next LT Pro" panose="020B0504020202020204" pitchFamily="34" charset="0"/>
              </a:rPr>
              <a:t>Decision-Makers for Gen AI Strategy or Data Analytics, across industries</a:t>
            </a:r>
            <a:r>
              <a:rPr lang="en-US" sz="1800">
                <a:solidFill>
                  <a:schemeClr val="bg1"/>
                </a:solidFill>
              </a:rPr>
              <a:t>)</a:t>
            </a:r>
          </a:p>
        </p:txBody>
      </p:sp>
    </p:spTree>
    <p:extLst>
      <p:ext uri="{BB962C8B-B14F-4D97-AF65-F5344CB8AC3E}">
        <p14:creationId xmlns:p14="http://schemas.microsoft.com/office/powerpoint/2010/main" val="734414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C92BB1-CC0C-A84A-760F-D861CBE92980}"/>
              </a:ext>
            </a:extLst>
          </p:cNvPr>
          <p:cNvSpPr>
            <a:spLocks noGrp="1"/>
          </p:cNvSpPr>
          <p:nvPr>
            <p:ph type="title"/>
          </p:nvPr>
        </p:nvSpPr>
        <p:spPr>
          <a:xfrm>
            <a:off x="1257299" y="693070"/>
            <a:ext cx="15773400" cy="1551194"/>
          </a:xfrm>
        </p:spPr>
        <p:txBody>
          <a:bodyPr/>
          <a:lstStyle/>
          <a:p>
            <a:r>
              <a:rPr lang="en-US"/>
              <a:t>Beyond the Buzz: </a:t>
            </a:r>
            <a:br>
              <a:rPr lang="en-US"/>
            </a:br>
            <a:r>
              <a:rPr lang="en-US" i="1">
                <a:latin typeface="+mn-lt"/>
              </a:rPr>
              <a:t>Challenges span across different personas</a:t>
            </a:r>
            <a:endParaRPr lang="en-US" i="1">
              <a:solidFill>
                <a:schemeClr val="accent4"/>
              </a:solidFill>
              <a:latin typeface="+mn-lt"/>
            </a:endParaRPr>
          </a:p>
        </p:txBody>
      </p:sp>
      <p:sp>
        <p:nvSpPr>
          <p:cNvPr id="3" name="Rounded Rectangle 2">
            <a:extLst>
              <a:ext uri="{FF2B5EF4-FFF2-40B4-BE49-F238E27FC236}">
                <a16:creationId xmlns:a16="http://schemas.microsoft.com/office/drawing/2014/main" id="{48294C1A-495C-0D1E-A105-B510FD79E0F1}"/>
              </a:ext>
            </a:extLst>
          </p:cNvPr>
          <p:cNvSpPr/>
          <p:nvPr/>
        </p:nvSpPr>
        <p:spPr>
          <a:xfrm>
            <a:off x="4872186" y="3251639"/>
            <a:ext cx="8543627" cy="1637414"/>
          </a:xfrm>
          <a:prstGeom prst="roundRect">
            <a:avLst/>
          </a:prstGeom>
          <a:no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 name="TextBox 3">
            <a:extLst>
              <a:ext uri="{FF2B5EF4-FFF2-40B4-BE49-F238E27FC236}">
                <a16:creationId xmlns:a16="http://schemas.microsoft.com/office/drawing/2014/main" id="{FD4D9211-0991-086B-3B71-2AD4BC1694CA}"/>
              </a:ext>
            </a:extLst>
          </p:cNvPr>
          <p:cNvSpPr txBox="1"/>
          <p:nvPr/>
        </p:nvSpPr>
        <p:spPr>
          <a:xfrm>
            <a:off x="5161079" y="3039110"/>
            <a:ext cx="5063575" cy="369332"/>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Bold"/>
                <a:ea typeface="+mn-ea"/>
                <a:cs typeface="+mn-cs"/>
              </a:rPr>
              <a:t>  HEAD OF DATA AND ANALYTICS </a:t>
            </a:r>
          </a:p>
        </p:txBody>
      </p:sp>
      <p:sp>
        <p:nvSpPr>
          <p:cNvPr id="5" name="TextBox 4">
            <a:extLst>
              <a:ext uri="{FF2B5EF4-FFF2-40B4-BE49-F238E27FC236}">
                <a16:creationId xmlns:a16="http://schemas.microsoft.com/office/drawing/2014/main" id="{2CDC361A-B62F-CF04-B801-7C0FF677089D}"/>
              </a:ext>
            </a:extLst>
          </p:cNvPr>
          <p:cNvSpPr txBox="1"/>
          <p:nvPr/>
        </p:nvSpPr>
        <p:spPr>
          <a:xfrm>
            <a:off x="5037783" y="3544878"/>
            <a:ext cx="7621091" cy="1209049"/>
          </a:xfrm>
          <a:prstGeom prst="rect">
            <a:avLst/>
          </a:prstGeom>
          <a:noFill/>
        </p:spPr>
        <p:txBody>
          <a:bodyPr wrap="square">
            <a:spAutoFit/>
          </a:bodyPr>
          <a:lstStyle/>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Creating new business models with Generative AI</a:t>
            </a:r>
          </a:p>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Scale existing investment on Generative AI</a:t>
            </a:r>
          </a:p>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Reshaping workforce to harness Generative AI potential</a:t>
            </a:r>
          </a:p>
        </p:txBody>
      </p:sp>
      <p:sp>
        <p:nvSpPr>
          <p:cNvPr id="6" name="Rounded Rectangle 5">
            <a:extLst>
              <a:ext uri="{FF2B5EF4-FFF2-40B4-BE49-F238E27FC236}">
                <a16:creationId xmlns:a16="http://schemas.microsoft.com/office/drawing/2014/main" id="{A399DA1D-452B-1C80-6C97-64BF294202D3}"/>
              </a:ext>
            </a:extLst>
          </p:cNvPr>
          <p:cNvSpPr/>
          <p:nvPr/>
        </p:nvSpPr>
        <p:spPr>
          <a:xfrm>
            <a:off x="4872186" y="5325730"/>
            <a:ext cx="8543627" cy="1637414"/>
          </a:xfrm>
          <a:prstGeom prst="roundRect">
            <a:avLst/>
          </a:prstGeom>
          <a:no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 name="TextBox 6">
            <a:extLst>
              <a:ext uri="{FF2B5EF4-FFF2-40B4-BE49-F238E27FC236}">
                <a16:creationId xmlns:a16="http://schemas.microsoft.com/office/drawing/2014/main" id="{F739EB71-F966-C414-2F88-9C1B1CC8C6BC}"/>
              </a:ext>
            </a:extLst>
          </p:cNvPr>
          <p:cNvSpPr txBox="1"/>
          <p:nvPr/>
        </p:nvSpPr>
        <p:spPr>
          <a:xfrm>
            <a:off x="5161079" y="5137488"/>
            <a:ext cx="1932448" cy="369332"/>
          </a:xfrm>
          <a:prstGeom prst="rect">
            <a:avLst/>
          </a:prstGeom>
          <a:solidFill>
            <a:schemeClr val="bg1"/>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Bold"/>
                <a:ea typeface="+mn-ea"/>
                <a:cs typeface="+mn-cs"/>
              </a:rPr>
              <a:t>  HEAD OF IT</a:t>
            </a:r>
          </a:p>
        </p:txBody>
      </p:sp>
      <p:sp>
        <p:nvSpPr>
          <p:cNvPr id="8" name="TextBox 7">
            <a:extLst>
              <a:ext uri="{FF2B5EF4-FFF2-40B4-BE49-F238E27FC236}">
                <a16:creationId xmlns:a16="http://schemas.microsoft.com/office/drawing/2014/main" id="{3ACC7640-9D39-8B80-2BB9-4514CCD8F364}"/>
              </a:ext>
            </a:extLst>
          </p:cNvPr>
          <p:cNvSpPr txBox="1"/>
          <p:nvPr/>
        </p:nvSpPr>
        <p:spPr>
          <a:xfrm>
            <a:off x="5049497" y="5611693"/>
            <a:ext cx="8052290" cy="1209049"/>
          </a:xfrm>
          <a:prstGeom prst="rect">
            <a:avLst/>
          </a:prstGeom>
          <a:noFill/>
        </p:spPr>
        <p:txBody>
          <a:bodyPr wrap="square">
            <a:spAutoFit/>
          </a:bodyPr>
          <a:lstStyle/>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Risk of IP i</a:t>
            </a:r>
            <a:r>
              <a:rPr kumimoji="0" lang="en-US" sz="1800" b="0" i="0" u="none" strike="noStrike" kern="1200" cap="none" spc="0" normalizeH="0" baseline="0" noProof="0" err="1">
                <a:ln>
                  <a:noFill/>
                </a:ln>
                <a:solidFill>
                  <a:srgbClr val="000000"/>
                </a:solidFill>
                <a:effectLst/>
                <a:uLnTx/>
                <a:uFillTx/>
                <a:latin typeface="Anova Light"/>
                <a:ea typeface="+mn-ea"/>
                <a:cs typeface="Arial"/>
              </a:rPr>
              <a:t>nfringement</a:t>
            </a:r>
            <a:endParaRPr kumimoji="0" lang="en-US" sz="1800" b="0" i="0" u="none" strike="noStrike" kern="1200" cap="none" spc="0" normalizeH="0" baseline="0" noProof="0">
              <a:ln>
                <a:noFill/>
              </a:ln>
              <a:solidFill>
                <a:srgbClr val="000000"/>
              </a:solidFill>
              <a:effectLst/>
              <a:uLnTx/>
              <a:uFillTx/>
              <a:latin typeface="Anova Light"/>
              <a:ea typeface="+mn-ea"/>
              <a:cs typeface="Arial"/>
            </a:endParaRPr>
          </a:p>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Integration with existing business and data workflows</a:t>
            </a:r>
          </a:p>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Oversight on Generative AI initiatives (costs)</a:t>
            </a:r>
          </a:p>
        </p:txBody>
      </p:sp>
      <p:sp>
        <p:nvSpPr>
          <p:cNvPr id="9" name="Rounded Rectangle 8">
            <a:extLst>
              <a:ext uri="{FF2B5EF4-FFF2-40B4-BE49-F238E27FC236}">
                <a16:creationId xmlns:a16="http://schemas.microsoft.com/office/drawing/2014/main" id="{A9E896B2-19EC-C95A-D155-05F67621D72E}"/>
              </a:ext>
            </a:extLst>
          </p:cNvPr>
          <p:cNvSpPr/>
          <p:nvPr/>
        </p:nvSpPr>
        <p:spPr>
          <a:xfrm>
            <a:off x="4872186" y="7542223"/>
            <a:ext cx="8543627" cy="1637414"/>
          </a:xfrm>
          <a:prstGeom prst="roundRect">
            <a:avLst/>
          </a:prstGeom>
          <a:noFill/>
          <a:ln>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10" name="TextBox 9">
            <a:extLst>
              <a:ext uri="{FF2B5EF4-FFF2-40B4-BE49-F238E27FC236}">
                <a16:creationId xmlns:a16="http://schemas.microsoft.com/office/drawing/2014/main" id="{017EF907-0EC4-158B-6C3D-AF4F9978D769}"/>
              </a:ext>
            </a:extLst>
          </p:cNvPr>
          <p:cNvSpPr txBox="1"/>
          <p:nvPr/>
        </p:nvSpPr>
        <p:spPr>
          <a:xfrm>
            <a:off x="5161079" y="7361461"/>
            <a:ext cx="1253575" cy="369332"/>
          </a:xfrm>
          <a:prstGeom prst="rect">
            <a:avLst/>
          </a:prstGeom>
          <a:solidFill>
            <a:schemeClr val="bg1"/>
          </a:solid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Bold"/>
                <a:ea typeface="+mn-ea"/>
                <a:cs typeface="+mn-cs"/>
              </a:rPr>
              <a:t>USERS</a:t>
            </a:r>
          </a:p>
        </p:txBody>
      </p:sp>
      <p:sp>
        <p:nvSpPr>
          <p:cNvPr id="11" name="TextBox 10">
            <a:extLst>
              <a:ext uri="{FF2B5EF4-FFF2-40B4-BE49-F238E27FC236}">
                <a16:creationId xmlns:a16="http://schemas.microsoft.com/office/drawing/2014/main" id="{2B616ED2-07F2-6310-D596-A2A10C5B4294}"/>
              </a:ext>
            </a:extLst>
          </p:cNvPr>
          <p:cNvSpPr txBox="1"/>
          <p:nvPr/>
        </p:nvSpPr>
        <p:spPr>
          <a:xfrm>
            <a:off x="5049497" y="7835666"/>
            <a:ext cx="8738090" cy="1209049"/>
          </a:xfrm>
          <a:prstGeom prst="rect">
            <a:avLst/>
          </a:prstGeom>
          <a:noFill/>
        </p:spPr>
        <p:txBody>
          <a:bodyPr wrap="square">
            <a:spAutoFit/>
          </a:bodyPr>
          <a:lstStyle/>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Understanding and explaining model output</a:t>
            </a:r>
          </a:p>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Improve LLM Accuracy</a:t>
            </a:r>
          </a:p>
          <a:p>
            <a:pPr marL="365760" marR="0" lvl="0" indent="-365760" algn="l" defTabSz="1371600" rtl="0" eaLnBrk="1" fontAlgn="auto" latinLnBrk="0" hangingPunct="1">
              <a:lnSpc>
                <a:spcPct val="85000"/>
              </a:lnSpc>
              <a:spcBef>
                <a:spcPts val="1600"/>
              </a:spcBef>
              <a:spcAft>
                <a:spcPts val="0"/>
              </a:spcAft>
              <a:buClr>
                <a:srgbClr val="000000"/>
              </a:buClr>
              <a:buSzTx/>
              <a:buFont typeface="Anova Light"/>
              <a:buChar char="•"/>
              <a:tabLst/>
              <a:defRPr/>
            </a:pPr>
            <a:r>
              <a:rPr kumimoji="0" lang="en-US" sz="1800" b="0" i="0" u="none" strike="noStrike" kern="1200" cap="none" spc="0" normalizeH="0" baseline="0" noProof="0">
                <a:ln>
                  <a:noFill/>
                </a:ln>
                <a:solidFill>
                  <a:srgbClr val="000000"/>
                </a:solidFill>
                <a:effectLst/>
                <a:uLnTx/>
                <a:uFillTx/>
                <a:latin typeface="Anova Light"/>
                <a:ea typeface="+mn-ea"/>
                <a:cs typeface="Arial"/>
              </a:rPr>
              <a:t>Build and Deploy Generative AI projects faster (productivity)</a:t>
            </a:r>
          </a:p>
        </p:txBody>
      </p:sp>
      <p:sp>
        <p:nvSpPr>
          <p:cNvPr id="12" name="Freeform 6">
            <a:extLst>
              <a:ext uri="{FF2B5EF4-FFF2-40B4-BE49-F238E27FC236}">
                <a16:creationId xmlns:a16="http://schemas.microsoft.com/office/drawing/2014/main" id="{F8AFC312-0B4E-B805-A953-FCC3FA6CA239}"/>
              </a:ext>
            </a:extLst>
          </p:cNvPr>
          <p:cNvSpPr>
            <a:spLocks noChangeAspect="1" noEditPoints="1"/>
          </p:cNvSpPr>
          <p:nvPr/>
        </p:nvSpPr>
        <p:spPr bwMode="auto">
          <a:xfrm>
            <a:off x="3441347" y="5677110"/>
            <a:ext cx="1116813" cy="934653"/>
          </a:xfrm>
          <a:custGeom>
            <a:avLst/>
            <a:gdLst>
              <a:gd name="T0" fmla="*/ 1986 w 4120"/>
              <a:gd name="T1" fmla="*/ 2874 h 3446"/>
              <a:gd name="T2" fmla="*/ 2116 w 4120"/>
              <a:gd name="T3" fmla="*/ 2895 h 3446"/>
              <a:gd name="T4" fmla="*/ 2056 w 4120"/>
              <a:gd name="T5" fmla="*/ 2778 h 3446"/>
              <a:gd name="T6" fmla="*/ 2192 w 4120"/>
              <a:gd name="T7" fmla="*/ 2819 h 3446"/>
              <a:gd name="T8" fmla="*/ 2089 w 4120"/>
              <a:gd name="T9" fmla="*/ 2987 h 3446"/>
              <a:gd name="T10" fmla="*/ 1921 w 4120"/>
              <a:gd name="T11" fmla="*/ 2883 h 3446"/>
              <a:gd name="T12" fmla="*/ 2025 w 4120"/>
              <a:gd name="T13" fmla="*/ 2716 h 3446"/>
              <a:gd name="T14" fmla="*/ 2101 w 4120"/>
              <a:gd name="T15" fmla="*/ 1964 h 3446"/>
              <a:gd name="T16" fmla="*/ 2013 w 4120"/>
              <a:gd name="T17" fmla="*/ 1981 h 3446"/>
              <a:gd name="T18" fmla="*/ 1983 w 4120"/>
              <a:gd name="T19" fmla="*/ 1729 h 3446"/>
              <a:gd name="T20" fmla="*/ 1805 w 4120"/>
              <a:gd name="T21" fmla="*/ 1879 h 3446"/>
              <a:gd name="T22" fmla="*/ 1784 w 4120"/>
              <a:gd name="T23" fmla="*/ 1802 h 3446"/>
              <a:gd name="T24" fmla="*/ 2306 w 4120"/>
              <a:gd name="T25" fmla="*/ 1783 h 3446"/>
              <a:gd name="T26" fmla="*/ 2473 w 4120"/>
              <a:gd name="T27" fmla="*/ 1976 h 3446"/>
              <a:gd name="T28" fmla="*/ 2262 w 4120"/>
              <a:gd name="T29" fmla="*/ 1844 h 3446"/>
              <a:gd name="T30" fmla="*/ 2162 w 4120"/>
              <a:gd name="T31" fmla="*/ 1925 h 3446"/>
              <a:gd name="T32" fmla="*/ 2487 w 4120"/>
              <a:gd name="T33" fmla="*/ 1596 h 3446"/>
              <a:gd name="T34" fmla="*/ 2210 w 4120"/>
              <a:gd name="T35" fmla="*/ 1608 h 3446"/>
              <a:gd name="T36" fmla="*/ 1909 w 4120"/>
              <a:gd name="T37" fmla="*/ 1593 h 3446"/>
              <a:gd name="T38" fmla="*/ 1650 w 4120"/>
              <a:gd name="T39" fmla="*/ 1596 h 3446"/>
              <a:gd name="T40" fmla="*/ 1834 w 4120"/>
              <a:gd name="T41" fmla="*/ 1305 h 3446"/>
              <a:gd name="T42" fmla="*/ 1929 w 4120"/>
              <a:gd name="T43" fmla="*/ 1521 h 3446"/>
              <a:gd name="T44" fmla="*/ 1755 w 4120"/>
              <a:gd name="T45" fmla="*/ 1330 h 3446"/>
              <a:gd name="T46" fmla="*/ 2323 w 4120"/>
              <a:gd name="T47" fmla="*/ 1290 h 3446"/>
              <a:gd name="T48" fmla="*/ 2348 w 4120"/>
              <a:gd name="T49" fmla="*/ 1367 h 3446"/>
              <a:gd name="T50" fmla="*/ 2130 w 4120"/>
              <a:gd name="T51" fmla="*/ 1461 h 3446"/>
              <a:gd name="T52" fmla="*/ 2055 w 4120"/>
              <a:gd name="T53" fmla="*/ 1191 h 3446"/>
              <a:gd name="T54" fmla="*/ 2060 w 4120"/>
              <a:gd name="T55" fmla="*/ 1442 h 3446"/>
              <a:gd name="T56" fmla="*/ 2055 w 4120"/>
              <a:gd name="T57" fmla="*/ 1191 h 3446"/>
              <a:gd name="T58" fmla="*/ 410 w 4120"/>
              <a:gd name="T59" fmla="*/ 507 h 3446"/>
              <a:gd name="T60" fmla="*/ 468 w 4120"/>
              <a:gd name="T61" fmla="*/ 2515 h 3446"/>
              <a:gd name="T62" fmla="*/ 3686 w 4120"/>
              <a:gd name="T63" fmla="*/ 2486 h 3446"/>
              <a:gd name="T64" fmla="*/ 3686 w 4120"/>
              <a:gd name="T65" fmla="*/ 463 h 3446"/>
              <a:gd name="T66" fmla="*/ 3601 w 4120"/>
              <a:gd name="T67" fmla="*/ 312 h 3446"/>
              <a:gd name="T68" fmla="*/ 3808 w 4120"/>
              <a:gd name="T69" fmla="*/ 456 h 3446"/>
              <a:gd name="T70" fmla="*/ 3769 w 4120"/>
              <a:gd name="T71" fmla="*/ 2560 h 3446"/>
              <a:gd name="T72" fmla="*/ 476 w 4120"/>
              <a:gd name="T73" fmla="*/ 2634 h 3446"/>
              <a:gd name="T74" fmla="*/ 298 w 4120"/>
              <a:gd name="T75" fmla="*/ 2457 h 3446"/>
              <a:gd name="T76" fmla="*/ 373 w 4120"/>
              <a:gd name="T77" fmla="*/ 363 h 3446"/>
              <a:gd name="T78" fmla="*/ 3898 w 4120"/>
              <a:gd name="T79" fmla="*/ 2 h 3446"/>
              <a:gd name="T80" fmla="*/ 4106 w 4120"/>
              <a:gd name="T81" fmla="*/ 181 h 3446"/>
              <a:gd name="T82" fmla="*/ 4069 w 4120"/>
              <a:gd name="T83" fmla="*/ 3078 h 3446"/>
              <a:gd name="T84" fmla="*/ 2427 w 4120"/>
              <a:gd name="T85" fmla="*/ 3186 h 3446"/>
              <a:gd name="T86" fmla="*/ 2367 w 4120"/>
              <a:gd name="T87" fmla="*/ 3305 h 3446"/>
              <a:gd name="T88" fmla="*/ 3214 w 4120"/>
              <a:gd name="T89" fmla="*/ 3357 h 3446"/>
              <a:gd name="T90" fmla="*/ 3170 w 4120"/>
              <a:gd name="T91" fmla="*/ 3446 h 3446"/>
              <a:gd name="T92" fmla="*/ 2267 w 4120"/>
              <a:gd name="T93" fmla="*/ 3355 h 3446"/>
              <a:gd name="T94" fmla="*/ 2296 w 4120"/>
              <a:gd name="T95" fmla="*/ 3130 h 3446"/>
              <a:gd name="T96" fmla="*/ 3885 w 4120"/>
              <a:gd name="T97" fmla="*/ 3073 h 3446"/>
              <a:gd name="T98" fmla="*/ 4009 w 4120"/>
              <a:gd name="T99" fmla="*/ 2920 h 3446"/>
              <a:gd name="T100" fmla="*/ 3914 w 4120"/>
              <a:gd name="T101" fmla="*/ 122 h 3446"/>
              <a:gd name="T102" fmla="*/ 156 w 4120"/>
              <a:gd name="T103" fmla="*/ 156 h 3446"/>
              <a:gd name="T104" fmla="*/ 124 w 4120"/>
              <a:gd name="T105" fmla="*/ 2980 h 3446"/>
              <a:gd name="T106" fmla="*/ 1683 w 4120"/>
              <a:gd name="T107" fmla="*/ 3075 h 3446"/>
              <a:gd name="T108" fmla="*/ 1858 w 4120"/>
              <a:gd name="T109" fmla="*/ 3189 h 3446"/>
              <a:gd name="T110" fmla="*/ 1790 w 4120"/>
              <a:gd name="T111" fmla="*/ 3415 h 3446"/>
              <a:gd name="T112" fmla="*/ 900 w 4120"/>
              <a:gd name="T113" fmla="*/ 3424 h 3446"/>
              <a:gd name="T114" fmla="*/ 945 w 4120"/>
              <a:gd name="T115" fmla="*/ 3335 h 3446"/>
              <a:gd name="T116" fmla="*/ 1757 w 4120"/>
              <a:gd name="T117" fmla="*/ 3237 h 3446"/>
              <a:gd name="T118" fmla="*/ 222 w 4120"/>
              <a:gd name="T119" fmla="*/ 3183 h 3446"/>
              <a:gd name="T120" fmla="*/ 14 w 4120"/>
              <a:gd name="T121" fmla="*/ 3004 h 3446"/>
              <a:gd name="T122" fmla="*/ 51 w 4120"/>
              <a:gd name="T123" fmla="*/ 109 h 3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0" h="3446">
                <a:moveTo>
                  <a:pt x="2056" y="2778"/>
                </a:moveTo>
                <a:lnTo>
                  <a:pt x="2033" y="2782"/>
                </a:lnTo>
                <a:lnTo>
                  <a:pt x="2013" y="2792"/>
                </a:lnTo>
                <a:lnTo>
                  <a:pt x="1996" y="2808"/>
                </a:lnTo>
                <a:lnTo>
                  <a:pt x="1986" y="2828"/>
                </a:lnTo>
                <a:lnTo>
                  <a:pt x="1983" y="2852"/>
                </a:lnTo>
                <a:lnTo>
                  <a:pt x="1986" y="2874"/>
                </a:lnTo>
                <a:lnTo>
                  <a:pt x="1996" y="2895"/>
                </a:lnTo>
                <a:lnTo>
                  <a:pt x="2013" y="2910"/>
                </a:lnTo>
                <a:lnTo>
                  <a:pt x="2033" y="2922"/>
                </a:lnTo>
                <a:lnTo>
                  <a:pt x="2056" y="2925"/>
                </a:lnTo>
                <a:lnTo>
                  <a:pt x="2080" y="2922"/>
                </a:lnTo>
                <a:lnTo>
                  <a:pt x="2100" y="2910"/>
                </a:lnTo>
                <a:lnTo>
                  <a:pt x="2116" y="2895"/>
                </a:lnTo>
                <a:lnTo>
                  <a:pt x="2126" y="2874"/>
                </a:lnTo>
                <a:lnTo>
                  <a:pt x="2130" y="2852"/>
                </a:lnTo>
                <a:lnTo>
                  <a:pt x="2126" y="2828"/>
                </a:lnTo>
                <a:lnTo>
                  <a:pt x="2116" y="2808"/>
                </a:lnTo>
                <a:lnTo>
                  <a:pt x="2100" y="2792"/>
                </a:lnTo>
                <a:lnTo>
                  <a:pt x="2080" y="2782"/>
                </a:lnTo>
                <a:lnTo>
                  <a:pt x="2056" y="2778"/>
                </a:lnTo>
                <a:close/>
                <a:moveTo>
                  <a:pt x="2056" y="2712"/>
                </a:moveTo>
                <a:lnTo>
                  <a:pt x="2089" y="2716"/>
                </a:lnTo>
                <a:lnTo>
                  <a:pt x="2117" y="2727"/>
                </a:lnTo>
                <a:lnTo>
                  <a:pt x="2144" y="2743"/>
                </a:lnTo>
                <a:lnTo>
                  <a:pt x="2165" y="2764"/>
                </a:lnTo>
                <a:lnTo>
                  <a:pt x="2181" y="2791"/>
                </a:lnTo>
                <a:lnTo>
                  <a:pt x="2192" y="2819"/>
                </a:lnTo>
                <a:lnTo>
                  <a:pt x="2196" y="2852"/>
                </a:lnTo>
                <a:lnTo>
                  <a:pt x="2192" y="2883"/>
                </a:lnTo>
                <a:lnTo>
                  <a:pt x="2181" y="2913"/>
                </a:lnTo>
                <a:lnTo>
                  <a:pt x="2165" y="2939"/>
                </a:lnTo>
                <a:lnTo>
                  <a:pt x="2144" y="2960"/>
                </a:lnTo>
                <a:lnTo>
                  <a:pt x="2117" y="2977"/>
                </a:lnTo>
                <a:lnTo>
                  <a:pt x="2089" y="2987"/>
                </a:lnTo>
                <a:lnTo>
                  <a:pt x="2056" y="2990"/>
                </a:lnTo>
                <a:lnTo>
                  <a:pt x="2025" y="2987"/>
                </a:lnTo>
                <a:lnTo>
                  <a:pt x="1995" y="2977"/>
                </a:lnTo>
                <a:lnTo>
                  <a:pt x="1969" y="2960"/>
                </a:lnTo>
                <a:lnTo>
                  <a:pt x="1948" y="2939"/>
                </a:lnTo>
                <a:lnTo>
                  <a:pt x="1931" y="2913"/>
                </a:lnTo>
                <a:lnTo>
                  <a:pt x="1921" y="2883"/>
                </a:lnTo>
                <a:lnTo>
                  <a:pt x="1918" y="2852"/>
                </a:lnTo>
                <a:lnTo>
                  <a:pt x="1921" y="2819"/>
                </a:lnTo>
                <a:lnTo>
                  <a:pt x="1931" y="2791"/>
                </a:lnTo>
                <a:lnTo>
                  <a:pt x="1948" y="2764"/>
                </a:lnTo>
                <a:lnTo>
                  <a:pt x="1969" y="2743"/>
                </a:lnTo>
                <a:lnTo>
                  <a:pt x="1995" y="2727"/>
                </a:lnTo>
                <a:lnTo>
                  <a:pt x="2025" y="2716"/>
                </a:lnTo>
                <a:lnTo>
                  <a:pt x="2056" y="2712"/>
                </a:lnTo>
                <a:close/>
                <a:moveTo>
                  <a:pt x="2009" y="1734"/>
                </a:moveTo>
                <a:lnTo>
                  <a:pt x="2034" y="1740"/>
                </a:lnTo>
                <a:lnTo>
                  <a:pt x="2060" y="1743"/>
                </a:lnTo>
                <a:lnTo>
                  <a:pt x="2086" y="1740"/>
                </a:lnTo>
                <a:lnTo>
                  <a:pt x="2101" y="1799"/>
                </a:lnTo>
                <a:lnTo>
                  <a:pt x="2101" y="1964"/>
                </a:lnTo>
                <a:lnTo>
                  <a:pt x="2097" y="1981"/>
                </a:lnTo>
                <a:lnTo>
                  <a:pt x="2087" y="1996"/>
                </a:lnTo>
                <a:lnTo>
                  <a:pt x="2074" y="2006"/>
                </a:lnTo>
                <a:lnTo>
                  <a:pt x="2055" y="2010"/>
                </a:lnTo>
                <a:lnTo>
                  <a:pt x="2038" y="2006"/>
                </a:lnTo>
                <a:lnTo>
                  <a:pt x="2023" y="1996"/>
                </a:lnTo>
                <a:lnTo>
                  <a:pt x="2013" y="1981"/>
                </a:lnTo>
                <a:lnTo>
                  <a:pt x="2009" y="1964"/>
                </a:lnTo>
                <a:lnTo>
                  <a:pt x="2009" y="1734"/>
                </a:lnTo>
                <a:close/>
                <a:moveTo>
                  <a:pt x="1929" y="1666"/>
                </a:moveTo>
                <a:lnTo>
                  <a:pt x="1944" y="1688"/>
                </a:lnTo>
                <a:lnTo>
                  <a:pt x="1963" y="1707"/>
                </a:lnTo>
                <a:lnTo>
                  <a:pt x="1985" y="1723"/>
                </a:lnTo>
                <a:lnTo>
                  <a:pt x="1983" y="1729"/>
                </a:lnTo>
                <a:lnTo>
                  <a:pt x="1979" y="1737"/>
                </a:lnTo>
                <a:lnTo>
                  <a:pt x="1974" y="1742"/>
                </a:lnTo>
                <a:lnTo>
                  <a:pt x="1849" y="1867"/>
                </a:lnTo>
                <a:lnTo>
                  <a:pt x="1839" y="1874"/>
                </a:lnTo>
                <a:lnTo>
                  <a:pt x="1828" y="1879"/>
                </a:lnTo>
                <a:lnTo>
                  <a:pt x="1817" y="1880"/>
                </a:lnTo>
                <a:lnTo>
                  <a:pt x="1805" y="1879"/>
                </a:lnTo>
                <a:lnTo>
                  <a:pt x="1794" y="1874"/>
                </a:lnTo>
                <a:lnTo>
                  <a:pt x="1784" y="1867"/>
                </a:lnTo>
                <a:lnTo>
                  <a:pt x="1775" y="1855"/>
                </a:lnTo>
                <a:lnTo>
                  <a:pt x="1772" y="1842"/>
                </a:lnTo>
                <a:lnTo>
                  <a:pt x="1772" y="1828"/>
                </a:lnTo>
                <a:lnTo>
                  <a:pt x="1775" y="1814"/>
                </a:lnTo>
                <a:lnTo>
                  <a:pt x="1784" y="1802"/>
                </a:lnTo>
                <a:lnTo>
                  <a:pt x="1909" y="1677"/>
                </a:lnTo>
                <a:lnTo>
                  <a:pt x="1919" y="1671"/>
                </a:lnTo>
                <a:lnTo>
                  <a:pt x="1929" y="1666"/>
                </a:lnTo>
                <a:close/>
                <a:moveTo>
                  <a:pt x="2080" y="1616"/>
                </a:moveTo>
                <a:lnTo>
                  <a:pt x="2390" y="1698"/>
                </a:lnTo>
                <a:lnTo>
                  <a:pt x="2308" y="1779"/>
                </a:lnTo>
                <a:lnTo>
                  <a:pt x="2306" y="1783"/>
                </a:lnTo>
                <a:lnTo>
                  <a:pt x="2305" y="1787"/>
                </a:lnTo>
                <a:lnTo>
                  <a:pt x="2305" y="1790"/>
                </a:lnTo>
                <a:lnTo>
                  <a:pt x="2306" y="1794"/>
                </a:lnTo>
                <a:lnTo>
                  <a:pt x="2308" y="1798"/>
                </a:lnTo>
                <a:lnTo>
                  <a:pt x="2463" y="1953"/>
                </a:lnTo>
                <a:lnTo>
                  <a:pt x="2471" y="1964"/>
                </a:lnTo>
                <a:lnTo>
                  <a:pt x="2473" y="1976"/>
                </a:lnTo>
                <a:lnTo>
                  <a:pt x="2471" y="1989"/>
                </a:lnTo>
                <a:lnTo>
                  <a:pt x="2463" y="1999"/>
                </a:lnTo>
                <a:lnTo>
                  <a:pt x="2453" y="2006"/>
                </a:lnTo>
                <a:lnTo>
                  <a:pt x="2441" y="2009"/>
                </a:lnTo>
                <a:lnTo>
                  <a:pt x="2428" y="2006"/>
                </a:lnTo>
                <a:lnTo>
                  <a:pt x="2417" y="1999"/>
                </a:lnTo>
                <a:lnTo>
                  <a:pt x="2262" y="1844"/>
                </a:lnTo>
                <a:lnTo>
                  <a:pt x="2260" y="1843"/>
                </a:lnTo>
                <a:lnTo>
                  <a:pt x="2256" y="1842"/>
                </a:lnTo>
                <a:lnTo>
                  <a:pt x="2254" y="1840"/>
                </a:lnTo>
                <a:lnTo>
                  <a:pt x="2250" y="1842"/>
                </a:lnTo>
                <a:lnTo>
                  <a:pt x="2246" y="1843"/>
                </a:lnTo>
                <a:lnTo>
                  <a:pt x="2244" y="1844"/>
                </a:lnTo>
                <a:lnTo>
                  <a:pt x="2162" y="1925"/>
                </a:lnTo>
                <a:lnTo>
                  <a:pt x="2080" y="1616"/>
                </a:lnTo>
                <a:close/>
                <a:moveTo>
                  <a:pt x="2204" y="1549"/>
                </a:moveTo>
                <a:lnTo>
                  <a:pt x="2441" y="1549"/>
                </a:lnTo>
                <a:lnTo>
                  <a:pt x="2458" y="1553"/>
                </a:lnTo>
                <a:lnTo>
                  <a:pt x="2473" y="1563"/>
                </a:lnTo>
                <a:lnTo>
                  <a:pt x="2483" y="1578"/>
                </a:lnTo>
                <a:lnTo>
                  <a:pt x="2487" y="1596"/>
                </a:lnTo>
                <a:lnTo>
                  <a:pt x="2483" y="1614"/>
                </a:lnTo>
                <a:lnTo>
                  <a:pt x="2473" y="1628"/>
                </a:lnTo>
                <a:lnTo>
                  <a:pt x="2458" y="1638"/>
                </a:lnTo>
                <a:lnTo>
                  <a:pt x="2441" y="1642"/>
                </a:lnTo>
                <a:lnTo>
                  <a:pt x="2281" y="1642"/>
                </a:lnTo>
                <a:lnTo>
                  <a:pt x="2207" y="1622"/>
                </a:lnTo>
                <a:lnTo>
                  <a:pt x="2210" y="1608"/>
                </a:lnTo>
                <a:lnTo>
                  <a:pt x="2211" y="1593"/>
                </a:lnTo>
                <a:lnTo>
                  <a:pt x="2209" y="1571"/>
                </a:lnTo>
                <a:lnTo>
                  <a:pt x="2204" y="1549"/>
                </a:lnTo>
                <a:close/>
                <a:moveTo>
                  <a:pt x="1695" y="1549"/>
                </a:moveTo>
                <a:lnTo>
                  <a:pt x="1916" y="1549"/>
                </a:lnTo>
                <a:lnTo>
                  <a:pt x="1911" y="1571"/>
                </a:lnTo>
                <a:lnTo>
                  <a:pt x="1909" y="1593"/>
                </a:lnTo>
                <a:lnTo>
                  <a:pt x="1911" y="1618"/>
                </a:lnTo>
                <a:lnTo>
                  <a:pt x="1919" y="1642"/>
                </a:lnTo>
                <a:lnTo>
                  <a:pt x="1695" y="1642"/>
                </a:lnTo>
                <a:lnTo>
                  <a:pt x="1678" y="1638"/>
                </a:lnTo>
                <a:lnTo>
                  <a:pt x="1663" y="1628"/>
                </a:lnTo>
                <a:lnTo>
                  <a:pt x="1654" y="1614"/>
                </a:lnTo>
                <a:lnTo>
                  <a:pt x="1650" y="1596"/>
                </a:lnTo>
                <a:lnTo>
                  <a:pt x="1654" y="1578"/>
                </a:lnTo>
                <a:lnTo>
                  <a:pt x="1663" y="1563"/>
                </a:lnTo>
                <a:lnTo>
                  <a:pt x="1678" y="1553"/>
                </a:lnTo>
                <a:lnTo>
                  <a:pt x="1695" y="1549"/>
                </a:lnTo>
                <a:close/>
                <a:moveTo>
                  <a:pt x="1808" y="1292"/>
                </a:moveTo>
                <a:lnTo>
                  <a:pt x="1822" y="1296"/>
                </a:lnTo>
                <a:lnTo>
                  <a:pt x="1834" y="1305"/>
                </a:lnTo>
                <a:lnTo>
                  <a:pt x="1974" y="1445"/>
                </a:lnTo>
                <a:lnTo>
                  <a:pt x="1979" y="1451"/>
                </a:lnTo>
                <a:lnTo>
                  <a:pt x="1983" y="1457"/>
                </a:lnTo>
                <a:lnTo>
                  <a:pt x="1985" y="1463"/>
                </a:lnTo>
                <a:lnTo>
                  <a:pt x="1963" y="1480"/>
                </a:lnTo>
                <a:lnTo>
                  <a:pt x="1944" y="1498"/>
                </a:lnTo>
                <a:lnTo>
                  <a:pt x="1929" y="1521"/>
                </a:lnTo>
                <a:lnTo>
                  <a:pt x="1921" y="1518"/>
                </a:lnTo>
                <a:lnTo>
                  <a:pt x="1915" y="1514"/>
                </a:lnTo>
                <a:lnTo>
                  <a:pt x="1909" y="1509"/>
                </a:lnTo>
                <a:lnTo>
                  <a:pt x="1769" y="1370"/>
                </a:lnTo>
                <a:lnTo>
                  <a:pt x="1760" y="1358"/>
                </a:lnTo>
                <a:lnTo>
                  <a:pt x="1755" y="1345"/>
                </a:lnTo>
                <a:lnTo>
                  <a:pt x="1755" y="1330"/>
                </a:lnTo>
                <a:lnTo>
                  <a:pt x="1760" y="1317"/>
                </a:lnTo>
                <a:lnTo>
                  <a:pt x="1769" y="1305"/>
                </a:lnTo>
                <a:lnTo>
                  <a:pt x="1780" y="1296"/>
                </a:lnTo>
                <a:lnTo>
                  <a:pt x="1794" y="1292"/>
                </a:lnTo>
                <a:lnTo>
                  <a:pt x="1808" y="1292"/>
                </a:lnTo>
                <a:close/>
                <a:moveTo>
                  <a:pt x="2308" y="1290"/>
                </a:moveTo>
                <a:lnTo>
                  <a:pt x="2323" y="1290"/>
                </a:lnTo>
                <a:lnTo>
                  <a:pt x="2336" y="1293"/>
                </a:lnTo>
                <a:lnTo>
                  <a:pt x="2348" y="1302"/>
                </a:lnTo>
                <a:lnTo>
                  <a:pt x="2357" y="1315"/>
                </a:lnTo>
                <a:lnTo>
                  <a:pt x="2361" y="1328"/>
                </a:lnTo>
                <a:lnTo>
                  <a:pt x="2361" y="1342"/>
                </a:lnTo>
                <a:lnTo>
                  <a:pt x="2357" y="1356"/>
                </a:lnTo>
                <a:lnTo>
                  <a:pt x="2348" y="1367"/>
                </a:lnTo>
                <a:lnTo>
                  <a:pt x="2202" y="1514"/>
                </a:lnTo>
                <a:lnTo>
                  <a:pt x="2199" y="1517"/>
                </a:lnTo>
                <a:lnTo>
                  <a:pt x="2195" y="1519"/>
                </a:lnTo>
                <a:lnTo>
                  <a:pt x="2191" y="1521"/>
                </a:lnTo>
                <a:lnTo>
                  <a:pt x="2175" y="1497"/>
                </a:lnTo>
                <a:lnTo>
                  <a:pt x="2154" y="1476"/>
                </a:lnTo>
                <a:lnTo>
                  <a:pt x="2130" y="1461"/>
                </a:lnTo>
                <a:lnTo>
                  <a:pt x="2131" y="1457"/>
                </a:lnTo>
                <a:lnTo>
                  <a:pt x="2134" y="1453"/>
                </a:lnTo>
                <a:lnTo>
                  <a:pt x="2136" y="1450"/>
                </a:lnTo>
                <a:lnTo>
                  <a:pt x="2283" y="1302"/>
                </a:lnTo>
                <a:lnTo>
                  <a:pt x="2296" y="1293"/>
                </a:lnTo>
                <a:lnTo>
                  <a:pt x="2308" y="1290"/>
                </a:lnTo>
                <a:close/>
                <a:moveTo>
                  <a:pt x="2055" y="1191"/>
                </a:moveTo>
                <a:lnTo>
                  <a:pt x="2074" y="1194"/>
                </a:lnTo>
                <a:lnTo>
                  <a:pt x="2087" y="1204"/>
                </a:lnTo>
                <a:lnTo>
                  <a:pt x="2097" y="1219"/>
                </a:lnTo>
                <a:lnTo>
                  <a:pt x="2101" y="1236"/>
                </a:lnTo>
                <a:lnTo>
                  <a:pt x="2101" y="1450"/>
                </a:lnTo>
                <a:lnTo>
                  <a:pt x="2081" y="1445"/>
                </a:lnTo>
                <a:lnTo>
                  <a:pt x="2060" y="1442"/>
                </a:lnTo>
                <a:lnTo>
                  <a:pt x="2034" y="1445"/>
                </a:lnTo>
                <a:lnTo>
                  <a:pt x="2009" y="1452"/>
                </a:lnTo>
                <a:lnTo>
                  <a:pt x="2009" y="1236"/>
                </a:lnTo>
                <a:lnTo>
                  <a:pt x="2013" y="1219"/>
                </a:lnTo>
                <a:lnTo>
                  <a:pt x="2023" y="1204"/>
                </a:lnTo>
                <a:lnTo>
                  <a:pt x="2038" y="1194"/>
                </a:lnTo>
                <a:lnTo>
                  <a:pt x="2055" y="1191"/>
                </a:lnTo>
                <a:close/>
                <a:moveTo>
                  <a:pt x="516" y="423"/>
                </a:moveTo>
                <a:lnTo>
                  <a:pt x="491" y="426"/>
                </a:lnTo>
                <a:lnTo>
                  <a:pt x="468" y="434"/>
                </a:lnTo>
                <a:lnTo>
                  <a:pt x="447" y="447"/>
                </a:lnTo>
                <a:lnTo>
                  <a:pt x="431" y="463"/>
                </a:lnTo>
                <a:lnTo>
                  <a:pt x="417" y="484"/>
                </a:lnTo>
                <a:lnTo>
                  <a:pt x="410" y="507"/>
                </a:lnTo>
                <a:lnTo>
                  <a:pt x="407" y="532"/>
                </a:lnTo>
                <a:lnTo>
                  <a:pt x="407" y="2417"/>
                </a:lnTo>
                <a:lnTo>
                  <a:pt x="410" y="2442"/>
                </a:lnTo>
                <a:lnTo>
                  <a:pt x="417" y="2465"/>
                </a:lnTo>
                <a:lnTo>
                  <a:pt x="431" y="2486"/>
                </a:lnTo>
                <a:lnTo>
                  <a:pt x="447" y="2502"/>
                </a:lnTo>
                <a:lnTo>
                  <a:pt x="468" y="2515"/>
                </a:lnTo>
                <a:lnTo>
                  <a:pt x="491" y="2523"/>
                </a:lnTo>
                <a:lnTo>
                  <a:pt x="516" y="2526"/>
                </a:lnTo>
                <a:lnTo>
                  <a:pt x="3601" y="2526"/>
                </a:lnTo>
                <a:lnTo>
                  <a:pt x="3626" y="2523"/>
                </a:lnTo>
                <a:lnTo>
                  <a:pt x="3649" y="2515"/>
                </a:lnTo>
                <a:lnTo>
                  <a:pt x="3669" y="2502"/>
                </a:lnTo>
                <a:lnTo>
                  <a:pt x="3686" y="2486"/>
                </a:lnTo>
                <a:lnTo>
                  <a:pt x="3699" y="2465"/>
                </a:lnTo>
                <a:lnTo>
                  <a:pt x="3707" y="2442"/>
                </a:lnTo>
                <a:lnTo>
                  <a:pt x="3710" y="2417"/>
                </a:lnTo>
                <a:lnTo>
                  <a:pt x="3710" y="532"/>
                </a:lnTo>
                <a:lnTo>
                  <a:pt x="3707" y="507"/>
                </a:lnTo>
                <a:lnTo>
                  <a:pt x="3699" y="484"/>
                </a:lnTo>
                <a:lnTo>
                  <a:pt x="3686" y="463"/>
                </a:lnTo>
                <a:lnTo>
                  <a:pt x="3669" y="447"/>
                </a:lnTo>
                <a:lnTo>
                  <a:pt x="3649" y="434"/>
                </a:lnTo>
                <a:lnTo>
                  <a:pt x="3626" y="426"/>
                </a:lnTo>
                <a:lnTo>
                  <a:pt x="3601" y="423"/>
                </a:lnTo>
                <a:lnTo>
                  <a:pt x="516" y="423"/>
                </a:lnTo>
                <a:close/>
                <a:moveTo>
                  <a:pt x="516" y="312"/>
                </a:moveTo>
                <a:lnTo>
                  <a:pt x="3601" y="312"/>
                </a:lnTo>
                <a:lnTo>
                  <a:pt x="3641" y="315"/>
                </a:lnTo>
                <a:lnTo>
                  <a:pt x="3678" y="326"/>
                </a:lnTo>
                <a:lnTo>
                  <a:pt x="3712" y="342"/>
                </a:lnTo>
                <a:lnTo>
                  <a:pt x="3743" y="363"/>
                </a:lnTo>
                <a:lnTo>
                  <a:pt x="3769" y="390"/>
                </a:lnTo>
                <a:lnTo>
                  <a:pt x="3792" y="421"/>
                </a:lnTo>
                <a:lnTo>
                  <a:pt x="3808" y="456"/>
                </a:lnTo>
                <a:lnTo>
                  <a:pt x="3818" y="492"/>
                </a:lnTo>
                <a:lnTo>
                  <a:pt x="3822" y="532"/>
                </a:lnTo>
                <a:lnTo>
                  <a:pt x="3822" y="2417"/>
                </a:lnTo>
                <a:lnTo>
                  <a:pt x="3818" y="2457"/>
                </a:lnTo>
                <a:lnTo>
                  <a:pt x="3808" y="2493"/>
                </a:lnTo>
                <a:lnTo>
                  <a:pt x="3792" y="2528"/>
                </a:lnTo>
                <a:lnTo>
                  <a:pt x="3769" y="2560"/>
                </a:lnTo>
                <a:lnTo>
                  <a:pt x="3743" y="2586"/>
                </a:lnTo>
                <a:lnTo>
                  <a:pt x="3712" y="2607"/>
                </a:lnTo>
                <a:lnTo>
                  <a:pt x="3678" y="2623"/>
                </a:lnTo>
                <a:lnTo>
                  <a:pt x="3641" y="2634"/>
                </a:lnTo>
                <a:lnTo>
                  <a:pt x="3601" y="2637"/>
                </a:lnTo>
                <a:lnTo>
                  <a:pt x="516" y="2637"/>
                </a:lnTo>
                <a:lnTo>
                  <a:pt x="476" y="2634"/>
                </a:lnTo>
                <a:lnTo>
                  <a:pt x="438" y="2623"/>
                </a:lnTo>
                <a:lnTo>
                  <a:pt x="405" y="2607"/>
                </a:lnTo>
                <a:lnTo>
                  <a:pt x="373" y="2586"/>
                </a:lnTo>
                <a:lnTo>
                  <a:pt x="347" y="2560"/>
                </a:lnTo>
                <a:lnTo>
                  <a:pt x="326" y="2528"/>
                </a:lnTo>
                <a:lnTo>
                  <a:pt x="310" y="2493"/>
                </a:lnTo>
                <a:lnTo>
                  <a:pt x="298" y="2457"/>
                </a:lnTo>
                <a:lnTo>
                  <a:pt x="295" y="2417"/>
                </a:lnTo>
                <a:lnTo>
                  <a:pt x="295" y="532"/>
                </a:lnTo>
                <a:lnTo>
                  <a:pt x="298" y="492"/>
                </a:lnTo>
                <a:lnTo>
                  <a:pt x="310" y="456"/>
                </a:lnTo>
                <a:lnTo>
                  <a:pt x="326" y="421"/>
                </a:lnTo>
                <a:lnTo>
                  <a:pt x="347" y="390"/>
                </a:lnTo>
                <a:lnTo>
                  <a:pt x="373" y="363"/>
                </a:lnTo>
                <a:lnTo>
                  <a:pt x="405" y="342"/>
                </a:lnTo>
                <a:lnTo>
                  <a:pt x="438" y="326"/>
                </a:lnTo>
                <a:lnTo>
                  <a:pt x="476" y="315"/>
                </a:lnTo>
                <a:lnTo>
                  <a:pt x="516" y="312"/>
                </a:lnTo>
                <a:close/>
                <a:moveTo>
                  <a:pt x="266" y="0"/>
                </a:moveTo>
                <a:lnTo>
                  <a:pt x="3854" y="0"/>
                </a:lnTo>
                <a:lnTo>
                  <a:pt x="3898" y="2"/>
                </a:lnTo>
                <a:lnTo>
                  <a:pt x="3938" y="14"/>
                </a:lnTo>
                <a:lnTo>
                  <a:pt x="3976" y="29"/>
                </a:lnTo>
                <a:lnTo>
                  <a:pt x="4011" y="51"/>
                </a:lnTo>
                <a:lnTo>
                  <a:pt x="4043" y="77"/>
                </a:lnTo>
                <a:lnTo>
                  <a:pt x="4069" y="109"/>
                </a:lnTo>
                <a:lnTo>
                  <a:pt x="4090" y="144"/>
                </a:lnTo>
                <a:lnTo>
                  <a:pt x="4106" y="181"/>
                </a:lnTo>
                <a:lnTo>
                  <a:pt x="4116" y="222"/>
                </a:lnTo>
                <a:lnTo>
                  <a:pt x="4120" y="266"/>
                </a:lnTo>
                <a:lnTo>
                  <a:pt x="4120" y="2920"/>
                </a:lnTo>
                <a:lnTo>
                  <a:pt x="4116" y="2964"/>
                </a:lnTo>
                <a:lnTo>
                  <a:pt x="4106" y="3004"/>
                </a:lnTo>
                <a:lnTo>
                  <a:pt x="4090" y="3043"/>
                </a:lnTo>
                <a:lnTo>
                  <a:pt x="4069" y="3078"/>
                </a:lnTo>
                <a:lnTo>
                  <a:pt x="4043" y="3109"/>
                </a:lnTo>
                <a:lnTo>
                  <a:pt x="4011" y="3135"/>
                </a:lnTo>
                <a:lnTo>
                  <a:pt x="3976" y="3156"/>
                </a:lnTo>
                <a:lnTo>
                  <a:pt x="3938" y="3173"/>
                </a:lnTo>
                <a:lnTo>
                  <a:pt x="3898" y="3183"/>
                </a:lnTo>
                <a:lnTo>
                  <a:pt x="3854" y="3186"/>
                </a:lnTo>
                <a:lnTo>
                  <a:pt x="2427" y="3186"/>
                </a:lnTo>
                <a:lnTo>
                  <a:pt x="2403" y="3190"/>
                </a:lnTo>
                <a:lnTo>
                  <a:pt x="2383" y="3201"/>
                </a:lnTo>
                <a:lnTo>
                  <a:pt x="2367" y="3216"/>
                </a:lnTo>
                <a:lnTo>
                  <a:pt x="2357" y="3237"/>
                </a:lnTo>
                <a:lnTo>
                  <a:pt x="2353" y="3261"/>
                </a:lnTo>
                <a:lnTo>
                  <a:pt x="2357" y="3284"/>
                </a:lnTo>
                <a:lnTo>
                  <a:pt x="2367" y="3305"/>
                </a:lnTo>
                <a:lnTo>
                  <a:pt x="2383" y="3321"/>
                </a:lnTo>
                <a:lnTo>
                  <a:pt x="2405" y="3331"/>
                </a:lnTo>
                <a:lnTo>
                  <a:pt x="2427" y="3335"/>
                </a:lnTo>
                <a:lnTo>
                  <a:pt x="3170" y="3335"/>
                </a:lnTo>
                <a:lnTo>
                  <a:pt x="3187" y="3337"/>
                </a:lnTo>
                <a:lnTo>
                  <a:pt x="3202" y="3346"/>
                </a:lnTo>
                <a:lnTo>
                  <a:pt x="3214" y="3357"/>
                </a:lnTo>
                <a:lnTo>
                  <a:pt x="3222" y="3374"/>
                </a:lnTo>
                <a:lnTo>
                  <a:pt x="3225" y="3391"/>
                </a:lnTo>
                <a:lnTo>
                  <a:pt x="3222" y="3409"/>
                </a:lnTo>
                <a:lnTo>
                  <a:pt x="3214" y="3424"/>
                </a:lnTo>
                <a:lnTo>
                  <a:pt x="3202" y="3436"/>
                </a:lnTo>
                <a:lnTo>
                  <a:pt x="3187" y="3444"/>
                </a:lnTo>
                <a:lnTo>
                  <a:pt x="3170" y="3446"/>
                </a:lnTo>
                <a:lnTo>
                  <a:pt x="2433" y="3446"/>
                </a:lnTo>
                <a:lnTo>
                  <a:pt x="2398" y="3444"/>
                </a:lnTo>
                <a:lnTo>
                  <a:pt x="2366" y="3435"/>
                </a:lnTo>
                <a:lnTo>
                  <a:pt x="2336" y="3421"/>
                </a:lnTo>
                <a:lnTo>
                  <a:pt x="2308" y="3402"/>
                </a:lnTo>
                <a:lnTo>
                  <a:pt x="2286" y="3380"/>
                </a:lnTo>
                <a:lnTo>
                  <a:pt x="2267" y="3355"/>
                </a:lnTo>
                <a:lnTo>
                  <a:pt x="2254" y="3325"/>
                </a:lnTo>
                <a:lnTo>
                  <a:pt x="2245" y="3294"/>
                </a:lnTo>
                <a:lnTo>
                  <a:pt x="2242" y="3261"/>
                </a:lnTo>
                <a:lnTo>
                  <a:pt x="2246" y="3224"/>
                </a:lnTo>
                <a:lnTo>
                  <a:pt x="2256" y="3189"/>
                </a:lnTo>
                <a:lnTo>
                  <a:pt x="2273" y="3158"/>
                </a:lnTo>
                <a:lnTo>
                  <a:pt x="2296" y="3130"/>
                </a:lnTo>
                <a:lnTo>
                  <a:pt x="2323" y="3106"/>
                </a:lnTo>
                <a:lnTo>
                  <a:pt x="2356" y="3090"/>
                </a:lnTo>
                <a:lnTo>
                  <a:pt x="2390" y="3079"/>
                </a:lnTo>
                <a:lnTo>
                  <a:pt x="2427" y="3075"/>
                </a:lnTo>
                <a:lnTo>
                  <a:pt x="2436" y="3075"/>
                </a:lnTo>
                <a:lnTo>
                  <a:pt x="3854" y="3075"/>
                </a:lnTo>
                <a:lnTo>
                  <a:pt x="3885" y="3073"/>
                </a:lnTo>
                <a:lnTo>
                  <a:pt x="3914" y="3063"/>
                </a:lnTo>
                <a:lnTo>
                  <a:pt x="3940" y="3049"/>
                </a:lnTo>
                <a:lnTo>
                  <a:pt x="3964" y="3030"/>
                </a:lnTo>
                <a:lnTo>
                  <a:pt x="3983" y="3007"/>
                </a:lnTo>
                <a:lnTo>
                  <a:pt x="3996" y="2980"/>
                </a:lnTo>
                <a:lnTo>
                  <a:pt x="4005" y="2952"/>
                </a:lnTo>
                <a:lnTo>
                  <a:pt x="4009" y="2920"/>
                </a:lnTo>
                <a:lnTo>
                  <a:pt x="4009" y="266"/>
                </a:lnTo>
                <a:lnTo>
                  <a:pt x="4005" y="235"/>
                </a:lnTo>
                <a:lnTo>
                  <a:pt x="3996" y="205"/>
                </a:lnTo>
                <a:lnTo>
                  <a:pt x="3983" y="179"/>
                </a:lnTo>
                <a:lnTo>
                  <a:pt x="3964" y="156"/>
                </a:lnTo>
                <a:lnTo>
                  <a:pt x="3940" y="137"/>
                </a:lnTo>
                <a:lnTo>
                  <a:pt x="3914" y="122"/>
                </a:lnTo>
                <a:lnTo>
                  <a:pt x="3885" y="114"/>
                </a:lnTo>
                <a:lnTo>
                  <a:pt x="3854" y="111"/>
                </a:lnTo>
                <a:lnTo>
                  <a:pt x="266" y="111"/>
                </a:lnTo>
                <a:lnTo>
                  <a:pt x="235" y="114"/>
                </a:lnTo>
                <a:lnTo>
                  <a:pt x="206" y="122"/>
                </a:lnTo>
                <a:lnTo>
                  <a:pt x="180" y="137"/>
                </a:lnTo>
                <a:lnTo>
                  <a:pt x="156" y="156"/>
                </a:lnTo>
                <a:lnTo>
                  <a:pt x="137" y="179"/>
                </a:lnTo>
                <a:lnTo>
                  <a:pt x="124" y="205"/>
                </a:lnTo>
                <a:lnTo>
                  <a:pt x="115" y="235"/>
                </a:lnTo>
                <a:lnTo>
                  <a:pt x="111" y="266"/>
                </a:lnTo>
                <a:lnTo>
                  <a:pt x="111" y="2920"/>
                </a:lnTo>
                <a:lnTo>
                  <a:pt x="115" y="2952"/>
                </a:lnTo>
                <a:lnTo>
                  <a:pt x="124" y="2980"/>
                </a:lnTo>
                <a:lnTo>
                  <a:pt x="137" y="3007"/>
                </a:lnTo>
                <a:lnTo>
                  <a:pt x="156" y="3030"/>
                </a:lnTo>
                <a:lnTo>
                  <a:pt x="180" y="3049"/>
                </a:lnTo>
                <a:lnTo>
                  <a:pt x="206" y="3063"/>
                </a:lnTo>
                <a:lnTo>
                  <a:pt x="235" y="3073"/>
                </a:lnTo>
                <a:lnTo>
                  <a:pt x="266" y="3075"/>
                </a:lnTo>
                <a:lnTo>
                  <a:pt x="1683" y="3075"/>
                </a:lnTo>
                <a:lnTo>
                  <a:pt x="1688" y="3075"/>
                </a:lnTo>
                <a:lnTo>
                  <a:pt x="1725" y="3079"/>
                </a:lnTo>
                <a:lnTo>
                  <a:pt x="1759" y="3090"/>
                </a:lnTo>
                <a:lnTo>
                  <a:pt x="1790" y="3108"/>
                </a:lnTo>
                <a:lnTo>
                  <a:pt x="1818" y="3130"/>
                </a:lnTo>
                <a:lnTo>
                  <a:pt x="1840" y="3158"/>
                </a:lnTo>
                <a:lnTo>
                  <a:pt x="1858" y="3189"/>
                </a:lnTo>
                <a:lnTo>
                  <a:pt x="1868" y="3224"/>
                </a:lnTo>
                <a:lnTo>
                  <a:pt x="1871" y="3261"/>
                </a:lnTo>
                <a:lnTo>
                  <a:pt x="1868" y="3299"/>
                </a:lnTo>
                <a:lnTo>
                  <a:pt x="1858" y="3332"/>
                </a:lnTo>
                <a:lnTo>
                  <a:pt x="1840" y="3365"/>
                </a:lnTo>
                <a:lnTo>
                  <a:pt x="1818" y="3392"/>
                </a:lnTo>
                <a:lnTo>
                  <a:pt x="1790" y="3415"/>
                </a:lnTo>
                <a:lnTo>
                  <a:pt x="1759" y="3431"/>
                </a:lnTo>
                <a:lnTo>
                  <a:pt x="1724" y="3442"/>
                </a:lnTo>
                <a:lnTo>
                  <a:pt x="1687" y="3446"/>
                </a:lnTo>
                <a:lnTo>
                  <a:pt x="945" y="3446"/>
                </a:lnTo>
                <a:lnTo>
                  <a:pt x="928" y="3444"/>
                </a:lnTo>
                <a:lnTo>
                  <a:pt x="911" y="3436"/>
                </a:lnTo>
                <a:lnTo>
                  <a:pt x="900" y="3424"/>
                </a:lnTo>
                <a:lnTo>
                  <a:pt x="891" y="3409"/>
                </a:lnTo>
                <a:lnTo>
                  <a:pt x="889" y="3391"/>
                </a:lnTo>
                <a:lnTo>
                  <a:pt x="891" y="3374"/>
                </a:lnTo>
                <a:lnTo>
                  <a:pt x="900" y="3357"/>
                </a:lnTo>
                <a:lnTo>
                  <a:pt x="911" y="3346"/>
                </a:lnTo>
                <a:lnTo>
                  <a:pt x="928" y="3337"/>
                </a:lnTo>
                <a:lnTo>
                  <a:pt x="945" y="3335"/>
                </a:lnTo>
                <a:lnTo>
                  <a:pt x="1687" y="3335"/>
                </a:lnTo>
                <a:lnTo>
                  <a:pt x="1710" y="3331"/>
                </a:lnTo>
                <a:lnTo>
                  <a:pt x="1730" y="3321"/>
                </a:lnTo>
                <a:lnTo>
                  <a:pt x="1747" y="3305"/>
                </a:lnTo>
                <a:lnTo>
                  <a:pt x="1757" y="3284"/>
                </a:lnTo>
                <a:lnTo>
                  <a:pt x="1760" y="3261"/>
                </a:lnTo>
                <a:lnTo>
                  <a:pt x="1757" y="3237"/>
                </a:lnTo>
                <a:lnTo>
                  <a:pt x="1747" y="3218"/>
                </a:lnTo>
                <a:lnTo>
                  <a:pt x="1730" y="3201"/>
                </a:lnTo>
                <a:lnTo>
                  <a:pt x="1710" y="3191"/>
                </a:lnTo>
                <a:lnTo>
                  <a:pt x="1687" y="3188"/>
                </a:lnTo>
                <a:lnTo>
                  <a:pt x="1680" y="3186"/>
                </a:lnTo>
                <a:lnTo>
                  <a:pt x="266" y="3186"/>
                </a:lnTo>
                <a:lnTo>
                  <a:pt x="222" y="3183"/>
                </a:lnTo>
                <a:lnTo>
                  <a:pt x="182" y="3173"/>
                </a:lnTo>
                <a:lnTo>
                  <a:pt x="144" y="3156"/>
                </a:lnTo>
                <a:lnTo>
                  <a:pt x="109" y="3135"/>
                </a:lnTo>
                <a:lnTo>
                  <a:pt x="77" y="3109"/>
                </a:lnTo>
                <a:lnTo>
                  <a:pt x="51" y="3078"/>
                </a:lnTo>
                <a:lnTo>
                  <a:pt x="30" y="3043"/>
                </a:lnTo>
                <a:lnTo>
                  <a:pt x="14" y="3004"/>
                </a:lnTo>
                <a:lnTo>
                  <a:pt x="4" y="2964"/>
                </a:lnTo>
                <a:lnTo>
                  <a:pt x="0" y="2920"/>
                </a:lnTo>
                <a:lnTo>
                  <a:pt x="0" y="266"/>
                </a:lnTo>
                <a:lnTo>
                  <a:pt x="4" y="222"/>
                </a:lnTo>
                <a:lnTo>
                  <a:pt x="14" y="181"/>
                </a:lnTo>
                <a:lnTo>
                  <a:pt x="30" y="144"/>
                </a:lnTo>
                <a:lnTo>
                  <a:pt x="51" y="109"/>
                </a:lnTo>
                <a:lnTo>
                  <a:pt x="77" y="77"/>
                </a:lnTo>
                <a:lnTo>
                  <a:pt x="109" y="51"/>
                </a:lnTo>
                <a:lnTo>
                  <a:pt x="144" y="29"/>
                </a:lnTo>
                <a:lnTo>
                  <a:pt x="182" y="14"/>
                </a:lnTo>
                <a:lnTo>
                  <a:pt x="222" y="2"/>
                </a:lnTo>
                <a:lnTo>
                  <a:pt x="266"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3" name="Freeform 16">
            <a:extLst>
              <a:ext uri="{FF2B5EF4-FFF2-40B4-BE49-F238E27FC236}">
                <a16:creationId xmlns:a16="http://schemas.microsoft.com/office/drawing/2014/main" id="{A65058BB-8751-CDAB-BDCF-2193F597E30A}"/>
              </a:ext>
            </a:extLst>
          </p:cNvPr>
          <p:cNvSpPr>
            <a:spLocks noChangeAspect="1" noEditPoints="1"/>
          </p:cNvSpPr>
          <p:nvPr/>
        </p:nvSpPr>
        <p:spPr bwMode="auto">
          <a:xfrm>
            <a:off x="3481637" y="3450666"/>
            <a:ext cx="1036232" cy="1020041"/>
          </a:xfrm>
          <a:custGeom>
            <a:avLst/>
            <a:gdLst>
              <a:gd name="T0" fmla="*/ 1946 w 5760"/>
              <a:gd name="T1" fmla="*/ 4556 h 5669"/>
              <a:gd name="T2" fmla="*/ 2184 w 5760"/>
              <a:gd name="T3" fmla="*/ 5509 h 5669"/>
              <a:gd name="T4" fmla="*/ 2908 w 5760"/>
              <a:gd name="T5" fmla="*/ 5271 h 5669"/>
              <a:gd name="T6" fmla="*/ 2671 w 5760"/>
              <a:gd name="T7" fmla="*/ 4319 h 5669"/>
              <a:gd name="T8" fmla="*/ 2992 w 5760"/>
              <a:gd name="T9" fmla="*/ 4321 h 5669"/>
              <a:gd name="T10" fmla="*/ 2992 w 5760"/>
              <a:gd name="T11" fmla="*/ 5507 h 5669"/>
              <a:gd name="T12" fmla="*/ 2058 w 5760"/>
              <a:gd name="T13" fmla="*/ 5648 h 5669"/>
              <a:gd name="T14" fmla="*/ 1786 w 5760"/>
              <a:gd name="T15" fmla="*/ 4556 h 5669"/>
              <a:gd name="T16" fmla="*/ 2119 w 5760"/>
              <a:gd name="T17" fmla="*/ 4164 h 5669"/>
              <a:gd name="T18" fmla="*/ 264 w 5760"/>
              <a:gd name="T19" fmla="*/ 3806 h 5669"/>
              <a:gd name="T20" fmla="*/ 447 w 5760"/>
              <a:gd name="T21" fmla="*/ 5503 h 5669"/>
              <a:gd name="T22" fmla="*/ 1192 w 5760"/>
              <a:gd name="T23" fmla="*/ 5320 h 5669"/>
              <a:gd name="T24" fmla="*/ 1009 w 5760"/>
              <a:gd name="T25" fmla="*/ 3621 h 5669"/>
              <a:gd name="T26" fmla="*/ 1241 w 5760"/>
              <a:gd name="T27" fmla="*/ 3572 h 5669"/>
              <a:gd name="T28" fmla="*/ 1314 w 5760"/>
              <a:gd name="T29" fmla="*/ 5454 h 5669"/>
              <a:gd name="T30" fmla="*/ 431 w 5760"/>
              <a:gd name="T31" fmla="*/ 5664 h 5669"/>
              <a:gd name="T32" fmla="*/ 98 w 5760"/>
              <a:gd name="T33" fmla="*/ 5271 h 5669"/>
              <a:gd name="T34" fmla="*/ 370 w 5760"/>
              <a:gd name="T35" fmla="*/ 3476 h 5669"/>
              <a:gd name="T36" fmla="*/ 3690 w 5760"/>
              <a:gd name="T37" fmla="*/ 3377 h 5669"/>
              <a:gd name="T38" fmla="*/ 3816 w 5760"/>
              <a:gd name="T39" fmla="*/ 5489 h 5669"/>
              <a:gd name="T40" fmla="*/ 4591 w 5760"/>
              <a:gd name="T41" fmla="*/ 5364 h 5669"/>
              <a:gd name="T42" fmla="*/ 4463 w 5760"/>
              <a:gd name="T43" fmla="*/ 3251 h 5669"/>
              <a:gd name="T44" fmla="*/ 4606 w 5760"/>
              <a:gd name="T45" fmla="*/ 3148 h 5669"/>
              <a:gd name="T46" fmla="*/ 4749 w 5760"/>
              <a:gd name="T47" fmla="*/ 5397 h 5669"/>
              <a:gd name="T48" fmla="*/ 3908 w 5760"/>
              <a:gd name="T49" fmla="*/ 5669 h 5669"/>
              <a:gd name="T50" fmla="*/ 3515 w 5760"/>
              <a:gd name="T51" fmla="*/ 5336 h 5669"/>
              <a:gd name="T52" fmla="*/ 3725 w 5760"/>
              <a:gd name="T53" fmla="*/ 3115 h 5669"/>
              <a:gd name="T54" fmla="*/ 206 w 5760"/>
              <a:gd name="T55" fmla="*/ 2712 h 5669"/>
              <a:gd name="T56" fmla="*/ 319 w 5760"/>
              <a:gd name="T57" fmla="*/ 3098 h 5669"/>
              <a:gd name="T58" fmla="*/ 677 w 5760"/>
              <a:gd name="T59" fmla="*/ 2911 h 5669"/>
              <a:gd name="T60" fmla="*/ 422 w 5760"/>
              <a:gd name="T61" fmla="*/ 2597 h 5669"/>
              <a:gd name="T62" fmla="*/ 2644 w 5760"/>
              <a:gd name="T63" fmla="*/ 2852 h 5669"/>
              <a:gd name="T64" fmla="*/ 2959 w 5760"/>
              <a:gd name="T65" fmla="*/ 3108 h 5669"/>
              <a:gd name="T66" fmla="*/ 3147 w 5760"/>
              <a:gd name="T67" fmla="*/ 2751 h 5669"/>
              <a:gd name="T68" fmla="*/ 1726 w 5760"/>
              <a:gd name="T69" fmla="*/ 1535 h 5669"/>
              <a:gd name="T70" fmla="*/ 1611 w 5760"/>
              <a:gd name="T71" fmla="*/ 1920 h 5669"/>
              <a:gd name="T72" fmla="*/ 2013 w 5760"/>
              <a:gd name="T73" fmla="*/ 1959 h 5669"/>
              <a:gd name="T74" fmla="*/ 1972 w 5760"/>
              <a:gd name="T75" fmla="*/ 1558 h 5669"/>
              <a:gd name="T76" fmla="*/ 5121 w 5760"/>
              <a:gd name="T77" fmla="*/ 276 h 5669"/>
              <a:gd name="T78" fmla="*/ 5236 w 5760"/>
              <a:gd name="T79" fmla="*/ 661 h 5669"/>
              <a:gd name="T80" fmla="*/ 5594 w 5760"/>
              <a:gd name="T81" fmla="*/ 474 h 5669"/>
              <a:gd name="T82" fmla="*/ 5338 w 5760"/>
              <a:gd name="T83" fmla="*/ 160 h 5669"/>
              <a:gd name="T84" fmla="*/ 5713 w 5760"/>
              <a:gd name="T85" fmla="*/ 228 h 5669"/>
              <a:gd name="T86" fmla="*/ 5587 w 5760"/>
              <a:gd name="T87" fmla="*/ 760 h 5669"/>
              <a:gd name="T88" fmla="*/ 3259 w 5760"/>
              <a:gd name="T89" fmla="*/ 2625 h 5669"/>
              <a:gd name="T90" fmla="*/ 3205 w 5760"/>
              <a:gd name="T91" fmla="*/ 3150 h 5669"/>
              <a:gd name="T92" fmla="*/ 2657 w 5760"/>
              <a:gd name="T93" fmla="*/ 3192 h 5669"/>
              <a:gd name="T94" fmla="*/ 2526 w 5760"/>
              <a:gd name="T95" fmla="*/ 2669 h 5669"/>
              <a:gd name="T96" fmla="*/ 1651 w 5760"/>
              <a:gd name="T97" fmla="*/ 2156 h 5669"/>
              <a:gd name="T98" fmla="*/ 822 w 5760"/>
              <a:gd name="T99" fmla="*/ 2991 h 5669"/>
              <a:gd name="T100" fmla="*/ 353 w 5760"/>
              <a:gd name="T101" fmla="*/ 3274 h 5669"/>
              <a:gd name="T102" fmla="*/ 0 w 5760"/>
              <a:gd name="T103" fmla="*/ 2859 h 5669"/>
              <a:gd name="T104" fmla="*/ 353 w 5760"/>
              <a:gd name="T105" fmla="*/ 2442 h 5669"/>
              <a:gd name="T106" fmla="*/ 1419 w 5760"/>
              <a:gd name="T107" fmla="*/ 1875 h 5669"/>
              <a:gd name="T108" fmla="*/ 1634 w 5760"/>
              <a:gd name="T109" fmla="*/ 1401 h 5669"/>
              <a:gd name="T110" fmla="*/ 2168 w 5760"/>
              <a:gd name="T111" fmla="*/ 1526 h 5669"/>
              <a:gd name="T112" fmla="*/ 2671 w 5760"/>
              <a:gd name="T113" fmla="*/ 2503 h 5669"/>
              <a:gd name="T114" fmla="*/ 4997 w 5760"/>
              <a:gd name="T115" fmla="*/ 666 h 5669"/>
              <a:gd name="T116" fmla="*/ 4997 w 5760"/>
              <a:gd name="T117" fmla="*/ 173 h 5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60" h="5669">
                <a:moveTo>
                  <a:pt x="2184" y="4319"/>
                </a:moveTo>
                <a:lnTo>
                  <a:pt x="2136" y="4324"/>
                </a:lnTo>
                <a:lnTo>
                  <a:pt x="2091" y="4336"/>
                </a:lnTo>
                <a:lnTo>
                  <a:pt x="2051" y="4359"/>
                </a:lnTo>
                <a:lnTo>
                  <a:pt x="2016" y="4389"/>
                </a:lnTo>
                <a:lnTo>
                  <a:pt x="1986" y="4424"/>
                </a:lnTo>
                <a:lnTo>
                  <a:pt x="1965" y="4464"/>
                </a:lnTo>
                <a:lnTo>
                  <a:pt x="1951" y="4507"/>
                </a:lnTo>
                <a:lnTo>
                  <a:pt x="1946" y="4556"/>
                </a:lnTo>
                <a:lnTo>
                  <a:pt x="1946" y="5271"/>
                </a:lnTo>
                <a:lnTo>
                  <a:pt x="1951" y="5320"/>
                </a:lnTo>
                <a:lnTo>
                  <a:pt x="1965" y="5364"/>
                </a:lnTo>
                <a:lnTo>
                  <a:pt x="1986" y="5404"/>
                </a:lnTo>
                <a:lnTo>
                  <a:pt x="2016" y="5439"/>
                </a:lnTo>
                <a:lnTo>
                  <a:pt x="2051" y="5468"/>
                </a:lnTo>
                <a:lnTo>
                  <a:pt x="2091" y="5489"/>
                </a:lnTo>
                <a:lnTo>
                  <a:pt x="2136" y="5503"/>
                </a:lnTo>
                <a:lnTo>
                  <a:pt x="2184" y="5509"/>
                </a:lnTo>
                <a:lnTo>
                  <a:pt x="2671" y="5509"/>
                </a:lnTo>
                <a:lnTo>
                  <a:pt x="2718" y="5503"/>
                </a:lnTo>
                <a:lnTo>
                  <a:pt x="2763" y="5489"/>
                </a:lnTo>
                <a:lnTo>
                  <a:pt x="2803" y="5468"/>
                </a:lnTo>
                <a:lnTo>
                  <a:pt x="2838" y="5439"/>
                </a:lnTo>
                <a:lnTo>
                  <a:pt x="2868" y="5404"/>
                </a:lnTo>
                <a:lnTo>
                  <a:pt x="2889" y="5364"/>
                </a:lnTo>
                <a:lnTo>
                  <a:pt x="2903" y="5320"/>
                </a:lnTo>
                <a:lnTo>
                  <a:pt x="2908" y="5271"/>
                </a:lnTo>
                <a:lnTo>
                  <a:pt x="2908" y="4556"/>
                </a:lnTo>
                <a:lnTo>
                  <a:pt x="2903" y="4507"/>
                </a:lnTo>
                <a:lnTo>
                  <a:pt x="2889" y="4464"/>
                </a:lnTo>
                <a:lnTo>
                  <a:pt x="2868" y="4424"/>
                </a:lnTo>
                <a:lnTo>
                  <a:pt x="2838" y="4389"/>
                </a:lnTo>
                <a:lnTo>
                  <a:pt x="2803" y="4359"/>
                </a:lnTo>
                <a:lnTo>
                  <a:pt x="2763" y="4336"/>
                </a:lnTo>
                <a:lnTo>
                  <a:pt x="2718" y="4324"/>
                </a:lnTo>
                <a:lnTo>
                  <a:pt x="2671" y="4319"/>
                </a:lnTo>
                <a:lnTo>
                  <a:pt x="2184" y="4319"/>
                </a:lnTo>
                <a:close/>
                <a:moveTo>
                  <a:pt x="2184" y="4158"/>
                </a:moveTo>
                <a:lnTo>
                  <a:pt x="2671" y="4158"/>
                </a:lnTo>
                <a:lnTo>
                  <a:pt x="2735" y="4164"/>
                </a:lnTo>
                <a:lnTo>
                  <a:pt x="2796" y="4178"/>
                </a:lnTo>
                <a:lnTo>
                  <a:pt x="2854" y="4202"/>
                </a:lnTo>
                <a:lnTo>
                  <a:pt x="2906" y="4235"/>
                </a:lnTo>
                <a:lnTo>
                  <a:pt x="2952" y="4275"/>
                </a:lnTo>
                <a:lnTo>
                  <a:pt x="2992" y="4321"/>
                </a:lnTo>
                <a:lnTo>
                  <a:pt x="3025" y="4373"/>
                </a:lnTo>
                <a:lnTo>
                  <a:pt x="3048" y="4431"/>
                </a:lnTo>
                <a:lnTo>
                  <a:pt x="3063" y="4492"/>
                </a:lnTo>
                <a:lnTo>
                  <a:pt x="3069" y="4556"/>
                </a:lnTo>
                <a:lnTo>
                  <a:pt x="3069" y="5271"/>
                </a:lnTo>
                <a:lnTo>
                  <a:pt x="3063" y="5336"/>
                </a:lnTo>
                <a:lnTo>
                  <a:pt x="3048" y="5397"/>
                </a:lnTo>
                <a:lnTo>
                  <a:pt x="3025" y="5454"/>
                </a:lnTo>
                <a:lnTo>
                  <a:pt x="2992" y="5507"/>
                </a:lnTo>
                <a:lnTo>
                  <a:pt x="2952" y="5552"/>
                </a:lnTo>
                <a:lnTo>
                  <a:pt x="2906" y="5592"/>
                </a:lnTo>
                <a:lnTo>
                  <a:pt x="2854" y="5625"/>
                </a:lnTo>
                <a:lnTo>
                  <a:pt x="2796" y="5648"/>
                </a:lnTo>
                <a:lnTo>
                  <a:pt x="2735" y="5664"/>
                </a:lnTo>
                <a:lnTo>
                  <a:pt x="2671" y="5669"/>
                </a:lnTo>
                <a:lnTo>
                  <a:pt x="2184" y="5669"/>
                </a:lnTo>
                <a:lnTo>
                  <a:pt x="2119" y="5664"/>
                </a:lnTo>
                <a:lnTo>
                  <a:pt x="2058" y="5648"/>
                </a:lnTo>
                <a:lnTo>
                  <a:pt x="2000" y="5625"/>
                </a:lnTo>
                <a:lnTo>
                  <a:pt x="1948" y="5592"/>
                </a:lnTo>
                <a:lnTo>
                  <a:pt x="1903" y="5552"/>
                </a:lnTo>
                <a:lnTo>
                  <a:pt x="1862" y="5507"/>
                </a:lnTo>
                <a:lnTo>
                  <a:pt x="1831" y="5454"/>
                </a:lnTo>
                <a:lnTo>
                  <a:pt x="1807" y="5397"/>
                </a:lnTo>
                <a:lnTo>
                  <a:pt x="1791" y="5336"/>
                </a:lnTo>
                <a:lnTo>
                  <a:pt x="1786" y="5271"/>
                </a:lnTo>
                <a:lnTo>
                  <a:pt x="1786" y="4556"/>
                </a:lnTo>
                <a:lnTo>
                  <a:pt x="1791" y="4492"/>
                </a:lnTo>
                <a:lnTo>
                  <a:pt x="1807" y="4431"/>
                </a:lnTo>
                <a:lnTo>
                  <a:pt x="1831" y="4373"/>
                </a:lnTo>
                <a:lnTo>
                  <a:pt x="1862" y="4321"/>
                </a:lnTo>
                <a:lnTo>
                  <a:pt x="1903" y="4275"/>
                </a:lnTo>
                <a:lnTo>
                  <a:pt x="1948" y="4235"/>
                </a:lnTo>
                <a:lnTo>
                  <a:pt x="2000" y="4202"/>
                </a:lnTo>
                <a:lnTo>
                  <a:pt x="2058" y="4178"/>
                </a:lnTo>
                <a:lnTo>
                  <a:pt x="2119" y="4164"/>
                </a:lnTo>
                <a:lnTo>
                  <a:pt x="2184" y="4158"/>
                </a:lnTo>
                <a:close/>
                <a:moveTo>
                  <a:pt x="496" y="3616"/>
                </a:moveTo>
                <a:lnTo>
                  <a:pt x="447" y="3621"/>
                </a:lnTo>
                <a:lnTo>
                  <a:pt x="403" y="3635"/>
                </a:lnTo>
                <a:lnTo>
                  <a:pt x="363" y="3658"/>
                </a:lnTo>
                <a:lnTo>
                  <a:pt x="328" y="3686"/>
                </a:lnTo>
                <a:lnTo>
                  <a:pt x="298" y="3721"/>
                </a:lnTo>
                <a:lnTo>
                  <a:pt x="278" y="3761"/>
                </a:lnTo>
                <a:lnTo>
                  <a:pt x="264" y="3806"/>
                </a:lnTo>
                <a:lnTo>
                  <a:pt x="258" y="3853"/>
                </a:lnTo>
                <a:lnTo>
                  <a:pt x="258" y="5271"/>
                </a:lnTo>
                <a:lnTo>
                  <a:pt x="264" y="5320"/>
                </a:lnTo>
                <a:lnTo>
                  <a:pt x="278" y="5364"/>
                </a:lnTo>
                <a:lnTo>
                  <a:pt x="298" y="5404"/>
                </a:lnTo>
                <a:lnTo>
                  <a:pt x="328" y="5439"/>
                </a:lnTo>
                <a:lnTo>
                  <a:pt x="363" y="5468"/>
                </a:lnTo>
                <a:lnTo>
                  <a:pt x="403" y="5489"/>
                </a:lnTo>
                <a:lnTo>
                  <a:pt x="447" y="5503"/>
                </a:lnTo>
                <a:lnTo>
                  <a:pt x="496" y="5509"/>
                </a:lnTo>
                <a:lnTo>
                  <a:pt x="960" y="5509"/>
                </a:lnTo>
                <a:lnTo>
                  <a:pt x="1009" y="5503"/>
                </a:lnTo>
                <a:lnTo>
                  <a:pt x="1053" y="5489"/>
                </a:lnTo>
                <a:lnTo>
                  <a:pt x="1093" y="5468"/>
                </a:lnTo>
                <a:lnTo>
                  <a:pt x="1128" y="5439"/>
                </a:lnTo>
                <a:lnTo>
                  <a:pt x="1157" y="5404"/>
                </a:lnTo>
                <a:lnTo>
                  <a:pt x="1178" y="5364"/>
                </a:lnTo>
                <a:lnTo>
                  <a:pt x="1192" y="5320"/>
                </a:lnTo>
                <a:lnTo>
                  <a:pt x="1197" y="5271"/>
                </a:lnTo>
                <a:lnTo>
                  <a:pt x="1197" y="3853"/>
                </a:lnTo>
                <a:lnTo>
                  <a:pt x="1192" y="3806"/>
                </a:lnTo>
                <a:lnTo>
                  <a:pt x="1178" y="3761"/>
                </a:lnTo>
                <a:lnTo>
                  <a:pt x="1157" y="3721"/>
                </a:lnTo>
                <a:lnTo>
                  <a:pt x="1128" y="3686"/>
                </a:lnTo>
                <a:lnTo>
                  <a:pt x="1093" y="3658"/>
                </a:lnTo>
                <a:lnTo>
                  <a:pt x="1053" y="3635"/>
                </a:lnTo>
                <a:lnTo>
                  <a:pt x="1009" y="3621"/>
                </a:lnTo>
                <a:lnTo>
                  <a:pt x="960" y="3616"/>
                </a:lnTo>
                <a:lnTo>
                  <a:pt x="496" y="3616"/>
                </a:lnTo>
                <a:close/>
                <a:moveTo>
                  <a:pt x="496" y="3455"/>
                </a:moveTo>
                <a:lnTo>
                  <a:pt x="960" y="3455"/>
                </a:lnTo>
                <a:lnTo>
                  <a:pt x="1025" y="3461"/>
                </a:lnTo>
                <a:lnTo>
                  <a:pt x="1086" y="3476"/>
                </a:lnTo>
                <a:lnTo>
                  <a:pt x="1143" y="3501"/>
                </a:lnTo>
                <a:lnTo>
                  <a:pt x="1196" y="3532"/>
                </a:lnTo>
                <a:lnTo>
                  <a:pt x="1241" y="3572"/>
                </a:lnTo>
                <a:lnTo>
                  <a:pt x="1281" y="3619"/>
                </a:lnTo>
                <a:lnTo>
                  <a:pt x="1314" y="3672"/>
                </a:lnTo>
                <a:lnTo>
                  <a:pt x="1337" y="3728"/>
                </a:lnTo>
                <a:lnTo>
                  <a:pt x="1353" y="3789"/>
                </a:lnTo>
                <a:lnTo>
                  <a:pt x="1358" y="3853"/>
                </a:lnTo>
                <a:lnTo>
                  <a:pt x="1358" y="5271"/>
                </a:lnTo>
                <a:lnTo>
                  <a:pt x="1353" y="5336"/>
                </a:lnTo>
                <a:lnTo>
                  <a:pt x="1337" y="5397"/>
                </a:lnTo>
                <a:lnTo>
                  <a:pt x="1314" y="5454"/>
                </a:lnTo>
                <a:lnTo>
                  <a:pt x="1281" y="5507"/>
                </a:lnTo>
                <a:lnTo>
                  <a:pt x="1241" y="5552"/>
                </a:lnTo>
                <a:lnTo>
                  <a:pt x="1196" y="5592"/>
                </a:lnTo>
                <a:lnTo>
                  <a:pt x="1143" y="5625"/>
                </a:lnTo>
                <a:lnTo>
                  <a:pt x="1086" y="5648"/>
                </a:lnTo>
                <a:lnTo>
                  <a:pt x="1025" y="5664"/>
                </a:lnTo>
                <a:lnTo>
                  <a:pt x="960" y="5669"/>
                </a:lnTo>
                <a:lnTo>
                  <a:pt x="496" y="5669"/>
                </a:lnTo>
                <a:lnTo>
                  <a:pt x="431" y="5664"/>
                </a:lnTo>
                <a:lnTo>
                  <a:pt x="370" y="5648"/>
                </a:lnTo>
                <a:lnTo>
                  <a:pt x="312" y="5625"/>
                </a:lnTo>
                <a:lnTo>
                  <a:pt x="260" y="5592"/>
                </a:lnTo>
                <a:lnTo>
                  <a:pt x="215" y="5552"/>
                </a:lnTo>
                <a:lnTo>
                  <a:pt x="175" y="5507"/>
                </a:lnTo>
                <a:lnTo>
                  <a:pt x="141" y="5454"/>
                </a:lnTo>
                <a:lnTo>
                  <a:pt x="119" y="5397"/>
                </a:lnTo>
                <a:lnTo>
                  <a:pt x="103" y="5336"/>
                </a:lnTo>
                <a:lnTo>
                  <a:pt x="98" y="5271"/>
                </a:lnTo>
                <a:lnTo>
                  <a:pt x="98" y="3853"/>
                </a:lnTo>
                <a:lnTo>
                  <a:pt x="103" y="3789"/>
                </a:lnTo>
                <a:lnTo>
                  <a:pt x="119" y="3728"/>
                </a:lnTo>
                <a:lnTo>
                  <a:pt x="141" y="3672"/>
                </a:lnTo>
                <a:lnTo>
                  <a:pt x="175" y="3619"/>
                </a:lnTo>
                <a:lnTo>
                  <a:pt x="215" y="3572"/>
                </a:lnTo>
                <a:lnTo>
                  <a:pt x="260" y="3532"/>
                </a:lnTo>
                <a:lnTo>
                  <a:pt x="312" y="3501"/>
                </a:lnTo>
                <a:lnTo>
                  <a:pt x="370" y="3476"/>
                </a:lnTo>
                <a:lnTo>
                  <a:pt x="431" y="3461"/>
                </a:lnTo>
                <a:lnTo>
                  <a:pt x="496" y="3455"/>
                </a:lnTo>
                <a:close/>
                <a:moveTo>
                  <a:pt x="3908" y="3232"/>
                </a:moveTo>
                <a:lnTo>
                  <a:pt x="3859" y="3237"/>
                </a:lnTo>
                <a:lnTo>
                  <a:pt x="3816" y="3251"/>
                </a:lnTo>
                <a:lnTo>
                  <a:pt x="3775" y="3272"/>
                </a:lnTo>
                <a:lnTo>
                  <a:pt x="3741" y="3302"/>
                </a:lnTo>
                <a:lnTo>
                  <a:pt x="3711" y="3337"/>
                </a:lnTo>
                <a:lnTo>
                  <a:pt x="3690" y="3377"/>
                </a:lnTo>
                <a:lnTo>
                  <a:pt x="3676" y="3421"/>
                </a:lnTo>
                <a:lnTo>
                  <a:pt x="3671" y="3469"/>
                </a:lnTo>
                <a:lnTo>
                  <a:pt x="3671" y="5271"/>
                </a:lnTo>
                <a:lnTo>
                  <a:pt x="3676" y="5320"/>
                </a:lnTo>
                <a:lnTo>
                  <a:pt x="3690" y="5364"/>
                </a:lnTo>
                <a:lnTo>
                  <a:pt x="3711" y="5404"/>
                </a:lnTo>
                <a:lnTo>
                  <a:pt x="3741" y="5439"/>
                </a:lnTo>
                <a:lnTo>
                  <a:pt x="3775" y="5468"/>
                </a:lnTo>
                <a:lnTo>
                  <a:pt x="3816" y="5489"/>
                </a:lnTo>
                <a:lnTo>
                  <a:pt x="3859" y="5503"/>
                </a:lnTo>
                <a:lnTo>
                  <a:pt x="3908" y="5509"/>
                </a:lnTo>
                <a:lnTo>
                  <a:pt x="4372" y="5509"/>
                </a:lnTo>
                <a:lnTo>
                  <a:pt x="4419" y="5503"/>
                </a:lnTo>
                <a:lnTo>
                  <a:pt x="4463" y="5489"/>
                </a:lnTo>
                <a:lnTo>
                  <a:pt x="4503" y="5468"/>
                </a:lnTo>
                <a:lnTo>
                  <a:pt x="4540" y="5439"/>
                </a:lnTo>
                <a:lnTo>
                  <a:pt x="4568" y="5404"/>
                </a:lnTo>
                <a:lnTo>
                  <a:pt x="4591" y="5364"/>
                </a:lnTo>
                <a:lnTo>
                  <a:pt x="4605" y="5320"/>
                </a:lnTo>
                <a:lnTo>
                  <a:pt x="4608" y="5271"/>
                </a:lnTo>
                <a:lnTo>
                  <a:pt x="4608" y="3469"/>
                </a:lnTo>
                <a:lnTo>
                  <a:pt x="4605" y="3421"/>
                </a:lnTo>
                <a:lnTo>
                  <a:pt x="4591" y="3377"/>
                </a:lnTo>
                <a:lnTo>
                  <a:pt x="4568" y="3337"/>
                </a:lnTo>
                <a:lnTo>
                  <a:pt x="4540" y="3302"/>
                </a:lnTo>
                <a:lnTo>
                  <a:pt x="4503" y="3272"/>
                </a:lnTo>
                <a:lnTo>
                  <a:pt x="4463" y="3251"/>
                </a:lnTo>
                <a:lnTo>
                  <a:pt x="4419" y="3237"/>
                </a:lnTo>
                <a:lnTo>
                  <a:pt x="4372" y="3232"/>
                </a:lnTo>
                <a:lnTo>
                  <a:pt x="3908" y="3232"/>
                </a:lnTo>
                <a:close/>
                <a:moveTo>
                  <a:pt x="3908" y="3072"/>
                </a:moveTo>
                <a:lnTo>
                  <a:pt x="4372" y="3072"/>
                </a:lnTo>
                <a:lnTo>
                  <a:pt x="4435" y="3077"/>
                </a:lnTo>
                <a:lnTo>
                  <a:pt x="4498" y="3093"/>
                </a:lnTo>
                <a:lnTo>
                  <a:pt x="4554" y="3115"/>
                </a:lnTo>
                <a:lnTo>
                  <a:pt x="4606" y="3148"/>
                </a:lnTo>
                <a:lnTo>
                  <a:pt x="4653" y="3189"/>
                </a:lnTo>
                <a:lnTo>
                  <a:pt x="4692" y="3234"/>
                </a:lnTo>
                <a:lnTo>
                  <a:pt x="4725" y="3286"/>
                </a:lnTo>
                <a:lnTo>
                  <a:pt x="4749" y="3344"/>
                </a:lnTo>
                <a:lnTo>
                  <a:pt x="4763" y="3405"/>
                </a:lnTo>
                <a:lnTo>
                  <a:pt x="4769" y="3469"/>
                </a:lnTo>
                <a:lnTo>
                  <a:pt x="4769" y="5271"/>
                </a:lnTo>
                <a:lnTo>
                  <a:pt x="4763" y="5336"/>
                </a:lnTo>
                <a:lnTo>
                  <a:pt x="4749" y="5397"/>
                </a:lnTo>
                <a:lnTo>
                  <a:pt x="4725" y="5454"/>
                </a:lnTo>
                <a:lnTo>
                  <a:pt x="4692" y="5507"/>
                </a:lnTo>
                <a:lnTo>
                  <a:pt x="4653" y="5552"/>
                </a:lnTo>
                <a:lnTo>
                  <a:pt x="4606" y="5592"/>
                </a:lnTo>
                <a:lnTo>
                  <a:pt x="4554" y="5625"/>
                </a:lnTo>
                <a:lnTo>
                  <a:pt x="4498" y="5648"/>
                </a:lnTo>
                <a:lnTo>
                  <a:pt x="4435" y="5664"/>
                </a:lnTo>
                <a:lnTo>
                  <a:pt x="4372" y="5669"/>
                </a:lnTo>
                <a:lnTo>
                  <a:pt x="3908" y="5669"/>
                </a:lnTo>
                <a:lnTo>
                  <a:pt x="3843" y="5664"/>
                </a:lnTo>
                <a:lnTo>
                  <a:pt x="3782" y="5648"/>
                </a:lnTo>
                <a:lnTo>
                  <a:pt x="3725" y="5625"/>
                </a:lnTo>
                <a:lnTo>
                  <a:pt x="3672" y="5592"/>
                </a:lnTo>
                <a:lnTo>
                  <a:pt x="3627" y="5552"/>
                </a:lnTo>
                <a:lnTo>
                  <a:pt x="3587" y="5507"/>
                </a:lnTo>
                <a:lnTo>
                  <a:pt x="3554" y="5454"/>
                </a:lnTo>
                <a:lnTo>
                  <a:pt x="3531" y="5397"/>
                </a:lnTo>
                <a:lnTo>
                  <a:pt x="3515" y="5336"/>
                </a:lnTo>
                <a:lnTo>
                  <a:pt x="3510" y="5271"/>
                </a:lnTo>
                <a:lnTo>
                  <a:pt x="3510" y="3469"/>
                </a:lnTo>
                <a:lnTo>
                  <a:pt x="3515" y="3405"/>
                </a:lnTo>
                <a:lnTo>
                  <a:pt x="3531" y="3344"/>
                </a:lnTo>
                <a:lnTo>
                  <a:pt x="3554" y="3286"/>
                </a:lnTo>
                <a:lnTo>
                  <a:pt x="3587" y="3234"/>
                </a:lnTo>
                <a:lnTo>
                  <a:pt x="3627" y="3189"/>
                </a:lnTo>
                <a:lnTo>
                  <a:pt x="3672" y="3148"/>
                </a:lnTo>
                <a:lnTo>
                  <a:pt x="3725" y="3115"/>
                </a:lnTo>
                <a:lnTo>
                  <a:pt x="3782" y="3093"/>
                </a:lnTo>
                <a:lnTo>
                  <a:pt x="3843" y="3077"/>
                </a:lnTo>
                <a:lnTo>
                  <a:pt x="3908" y="3072"/>
                </a:lnTo>
                <a:close/>
                <a:moveTo>
                  <a:pt x="422" y="2597"/>
                </a:moveTo>
                <a:lnTo>
                  <a:pt x="370" y="2602"/>
                </a:lnTo>
                <a:lnTo>
                  <a:pt x="319" y="2618"/>
                </a:lnTo>
                <a:lnTo>
                  <a:pt x="276" y="2643"/>
                </a:lnTo>
                <a:lnTo>
                  <a:pt x="237" y="2674"/>
                </a:lnTo>
                <a:lnTo>
                  <a:pt x="206" y="2712"/>
                </a:lnTo>
                <a:lnTo>
                  <a:pt x="182" y="2756"/>
                </a:lnTo>
                <a:lnTo>
                  <a:pt x="166" y="2807"/>
                </a:lnTo>
                <a:lnTo>
                  <a:pt x="161" y="2859"/>
                </a:lnTo>
                <a:lnTo>
                  <a:pt x="166" y="2911"/>
                </a:lnTo>
                <a:lnTo>
                  <a:pt x="182" y="2960"/>
                </a:lnTo>
                <a:lnTo>
                  <a:pt x="206" y="3004"/>
                </a:lnTo>
                <a:lnTo>
                  <a:pt x="237" y="3042"/>
                </a:lnTo>
                <a:lnTo>
                  <a:pt x="276" y="3075"/>
                </a:lnTo>
                <a:lnTo>
                  <a:pt x="319" y="3098"/>
                </a:lnTo>
                <a:lnTo>
                  <a:pt x="370" y="3114"/>
                </a:lnTo>
                <a:lnTo>
                  <a:pt x="422" y="3119"/>
                </a:lnTo>
                <a:lnTo>
                  <a:pt x="475" y="3114"/>
                </a:lnTo>
                <a:lnTo>
                  <a:pt x="524" y="3098"/>
                </a:lnTo>
                <a:lnTo>
                  <a:pt x="567" y="3075"/>
                </a:lnTo>
                <a:lnTo>
                  <a:pt x="606" y="3042"/>
                </a:lnTo>
                <a:lnTo>
                  <a:pt x="639" y="3004"/>
                </a:lnTo>
                <a:lnTo>
                  <a:pt x="662" y="2960"/>
                </a:lnTo>
                <a:lnTo>
                  <a:pt x="677" y="2911"/>
                </a:lnTo>
                <a:lnTo>
                  <a:pt x="682" y="2859"/>
                </a:lnTo>
                <a:lnTo>
                  <a:pt x="677" y="2807"/>
                </a:lnTo>
                <a:lnTo>
                  <a:pt x="662" y="2756"/>
                </a:lnTo>
                <a:lnTo>
                  <a:pt x="639" y="2712"/>
                </a:lnTo>
                <a:lnTo>
                  <a:pt x="606" y="2674"/>
                </a:lnTo>
                <a:lnTo>
                  <a:pt x="567" y="2643"/>
                </a:lnTo>
                <a:lnTo>
                  <a:pt x="524" y="2618"/>
                </a:lnTo>
                <a:lnTo>
                  <a:pt x="475" y="2602"/>
                </a:lnTo>
                <a:lnTo>
                  <a:pt x="422" y="2597"/>
                </a:lnTo>
                <a:close/>
                <a:moveTo>
                  <a:pt x="2906" y="2592"/>
                </a:moveTo>
                <a:lnTo>
                  <a:pt x="2854" y="2597"/>
                </a:lnTo>
                <a:lnTo>
                  <a:pt x="2805" y="2611"/>
                </a:lnTo>
                <a:lnTo>
                  <a:pt x="2760" y="2636"/>
                </a:lnTo>
                <a:lnTo>
                  <a:pt x="2721" y="2667"/>
                </a:lnTo>
                <a:lnTo>
                  <a:pt x="2690" y="2707"/>
                </a:lnTo>
                <a:lnTo>
                  <a:pt x="2665" y="2751"/>
                </a:lnTo>
                <a:lnTo>
                  <a:pt x="2650" y="2800"/>
                </a:lnTo>
                <a:lnTo>
                  <a:pt x="2644" y="2852"/>
                </a:lnTo>
                <a:lnTo>
                  <a:pt x="2650" y="2904"/>
                </a:lnTo>
                <a:lnTo>
                  <a:pt x="2665" y="2953"/>
                </a:lnTo>
                <a:lnTo>
                  <a:pt x="2690" y="2998"/>
                </a:lnTo>
                <a:lnTo>
                  <a:pt x="2721" y="3037"/>
                </a:lnTo>
                <a:lnTo>
                  <a:pt x="2760" y="3068"/>
                </a:lnTo>
                <a:lnTo>
                  <a:pt x="2805" y="3093"/>
                </a:lnTo>
                <a:lnTo>
                  <a:pt x="2854" y="3108"/>
                </a:lnTo>
                <a:lnTo>
                  <a:pt x="2906" y="3114"/>
                </a:lnTo>
                <a:lnTo>
                  <a:pt x="2959" y="3108"/>
                </a:lnTo>
                <a:lnTo>
                  <a:pt x="3007" y="3093"/>
                </a:lnTo>
                <a:lnTo>
                  <a:pt x="3051" y="3068"/>
                </a:lnTo>
                <a:lnTo>
                  <a:pt x="3089" y="3037"/>
                </a:lnTo>
                <a:lnTo>
                  <a:pt x="3123" y="2998"/>
                </a:lnTo>
                <a:lnTo>
                  <a:pt x="3147" y="2953"/>
                </a:lnTo>
                <a:lnTo>
                  <a:pt x="3161" y="2904"/>
                </a:lnTo>
                <a:lnTo>
                  <a:pt x="3166" y="2852"/>
                </a:lnTo>
                <a:lnTo>
                  <a:pt x="3161" y="2800"/>
                </a:lnTo>
                <a:lnTo>
                  <a:pt x="3147" y="2751"/>
                </a:lnTo>
                <a:lnTo>
                  <a:pt x="3123" y="2707"/>
                </a:lnTo>
                <a:lnTo>
                  <a:pt x="3089" y="2667"/>
                </a:lnTo>
                <a:lnTo>
                  <a:pt x="3051" y="2636"/>
                </a:lnTo>
                <a:lnTo>
                  <a:pt x="3007" y="2611"/>
                </a:lnTo>
                <a:lnTo>
                  <a:pt x="2959" y="2597"/>
                </a:lnTo>
                <a:lnTo>
                  <a:pt x="2906" y="2592"/>
                </a:lnTo>
                <a:close/>
                <a:moveTo>
                  <a:pt x="1827" y="1514"/>
                </a:moveTo>
                <a:lnTo>
                  <a:pt x="1775" y="1519"/>
                </a:lnTo>
                <a:lnTo>
                  <a:pt x="1726" y="1535"/>
                </a:lnTo>
                <a:lnTo>
                  <a:pt x="1681" y="1558"/>
                </a:lnTo>
                <a:lnTo>
                  <a:pt x="1642" y="1591"/>
                </a:lnTo>
                <a:lnTo>
                  <a:pt x="1611" y="1629"/>
                </a:lnTo>
                <a:lnTo>
                  <a:pt x="1587" y="1673"/>
                </a:lnTo>
                <a:lnTo>
                  <a:pt x="1571" y="1722"/>
                </a:lnTo>
                <a:lnTo>
                  <a:pt x="1566" y="1774"/>
                </a:lnTo>
                <a:lnTo>
                  <a:pt x="1571" y="1826"/>
                </a:lnTo>
                <a:lnTo>
                  <a:pt x="1587" y="1875"/>
                </a:lnTo>
                <a:lnTo>
                  <a:pt x="1611" y="1920"/>
                </a:lnTo>
                <a:lnTo>
                  <a:pt x="1642" y="1959"/>
                </a:lnTo>
                <a:lnTo>
                  <a:pt x="1681" y="1990"/>
                </a:lnTo>
                <a:lnTo>
                  <a:pt x="1726" y="2015"/>
                </a:lnTo>
                <a:lnTo>
                  <a:pt x="1775" y="2030"/>
                </a:lnTo>
                <a:lnTo>
                  <a:pt x="1827" y="2036"/>
                </a:lnTo>
                <a:lnTo>
                  <a:pt x="1880" y="2030"/>
                </a:lnTo>
                <a:lnTo>
                  <a:pt x="1929" y="2015"/>
                </a:lnTo>
                <a:lnTo>
                  <a:pt x="1972" y="1990"/>
                </a:lnTo>
                <a:lnTo>
                  <a:pt x="2013" y="1959"/>
                </a:lnTo>
                <a:lnTo>
                  <a:pt x="2044" y="1920"/>
                </a:lnTo>
                <a:lnTo>
                  <a:pt x="2068" y="1875"/>
                </a:lnTo>
                <a:lnTo>
                  <a:pt x="2082" y="1826"/>
                </a:lnTo>
                <a:lnTo>
                  <a:pt x="2088" y="1774"/>
                </a:lnTo>
                <a:lnTo>
                  <a:pt x="2082" y="1722"/>
                </a:lnTo>
                <a:lnTo>
                  <a:pt x="2068" y="1673"/>
                </a:lnTo>
                <a:lnTo>
                  <a:pt x="2044" y="1629"/>
                </a:lnTo>
                <a:lnTo>
                  <a:pt x="2013" y="1591"/>
                </a:lnTo>
                <a:lnTo>
                  <a:pt x="1972" y="1558"/>
                </a:lnTo>
                <a:lnTo>
                  <a:pt x="1929" y="1535"/>
                </a:lnTo>
                <a:lnTo>
                  <a:pt x="1880" y="1519"/>
                </a:lnTo>
                <a:lnTo>
                  <a:pt x="1827" y="1514"/>
                </a:lnTo>
                <a:close/>
                <a:moveTo>
                  <a:pt x="5338" y="160"/>
                </a:moveTo>
                <a:lnTo>
                  <a:pt x="5285" y="166"/>
                </a:lnTo>
                <a:lnTo>
                  <a:pt x="5236" y="181"/>
                </a:lnTo>
                <a:lnTo>
                  <a:pt x="5193" y="206"/>
                </a:lnTo>
                <a:lnTo>
                  <a:pt x="5154" y="237"/>
                </a:lnTo>
                <a:lnTo>
                  <a:pt x="5121" y="276"/>
                </a:lnTo>
                <a:lnTo>
                  <a:pt x="5098" y="319"/>
                </a:lnTo>
                <a:lnTo>
                  <a:pt x="5083" y="368"/>
                </a:lnTo>
                <a:lnTo>
                  <a:pt x="5078" y="422"/>
                </a:lnTo>
                <a:lnTo>
                  <a:pt x="5083" y="474"/>
                </a:lnTo>
                <a:lnTo>
                  <a:pt x="5098" y="523"/>
                </a:lnTo>
                <a:lnTo>
                  <a:pt x="5121" y="567"/>
                </a:lnTo>
                <a:lnTo>
                  <a:pt x="5154" y="605"/>
                </a:lnTo>
                <a:lnTo>
                  <a:pt x="5193" y="638"/>
                </a:lnTo>
                <a:lnTo>
                  <a:pt x="5236" y="661"/>
                </a:lnTo>
                <a:lnTo>
                  <a:pt x="5285" y="677"/>
                </a:lnTo>
                <a:lnTo>
                  <a:pt x="5338" y="682"/>
                </a:lnTo>
                <a:lnTo>
                  <a:pt x="5390" y="677"/>
                </a:lnTo>
                <a:lnTo>
                  <a:pt x="5441" y="661"/>
                </a:lnTo>
                <a:lnTo>
                  <a:pt x="5484" y="638"/>
                </a:lnTo>
                <a:lnTo>
                  <a:pt x="5523" y="605"/>
                </a:lnTo>
                <a:lnTo>
                  <a:pt x="5554" y="567"/>
                </a:lnTo>
                <a:lnTo>
                  <a:pt x="5578" y="523"/>
                </a:lnTo>
                <a:lnTo>
                  <a:pt x="5594" y="474"/>
                </a:lnTo>
                <a:lnTo>
                  <a:pt x="5599" y="422"/>
                </a:lnTo>
                <a:lnTo>
                  <a:pt x="5594" y="368"/>
                </a:lnTo>
                <a:lnTo>
                  <a:pt x="5578" y="319"/>
                </a:lnTo>
                <a:lnTo>
                  <a:pt x="5554" y="276"/>
                </a:lnTo>
                <a:lnTo>
                  <a:pt x="5523" y="237"/>
                </a:lnTo>
                <a:lnTo>
                  <a:pt x="5484" y="206"/>
                </a:lnTo>
                <a:lnTo>
                  <a:pt x="5441" y="181"/>
                </a:lnTo>
                <a:lnTo>
                  <a:pt x="5390" y="166"/>
                </a:lnTo>
                <a:lnTo>
                  <a:pt x="5338" y="160"/>
                </a:lnTo>
                <a:close/>
                <a:moveTo>
                  <a:pt x="5338" y="0"/>
                </a:moveTo>
                <a:lnTo>
                  <a:pt x="5338" y="0"/>
                </a:lnTo>
                <a:lnTo>
                  <a:pt x="5407" y="5"/>
                </a:lnTo>
                <a:lnTo>
                  <a:pt x="5472" y="21"/>
                </a:lnTo>
                <a:lnTo>
                  <a:pt x="5531" y="47"/>
                </a:lnTo>
                <a:lnTo>
                  <a:pt x="5587" y="82"/>
                </a:lnTo>
                <a:lnTo>
                  <a:pt x="5636" y="124"/>
                </a:lnTo>
                <a:lnTo>
                  <a:pt x="5678" y="173"/>
                </a:lnTo>
                <a:lnTo>
                  <a:pt x="5713" y="228"/>
                </a:lnTo>
                <a:lnTo>
                  <a:pt x="5739" y="288"/>
                </a:lnTo>
                <a:lnTo>
                  <a:pt x="5755" y="352"/>
                </a:lnTo>
                <a:lnTo>
                  <a:pt x="5760" y="422"/>
                </a:lnTo>
                <a:lnTo>
                  <a:pt x="5755" y="490"/>
                </a:lnTo>
                <a:lnTo>
                  <a:pt x="5739" y="555"/>
                </a:lnTo>
                <a:lnTo>
                  <a:pt x="5713" y="614"/>
                </a:lnTo>
                <a:lnTo>
                  <a:pt x="5678" y="670"/>
                </a:lnTo>
                <a:lnTo>
                  <a:pt x="5636" y="719"/>
                </a:lnTo>
                <a:lnTo>
                  <a:pt x="5587" y="760"/>
                </a:lnTo>
                <a:lnTo>
                  <a:pt x="5531" y="795"/>
                </a:lnTo>
                <a:lnTo>
                  <a:pt x="5472" y="822"/>
                </a:lnTo>
                <a:lnTo>
                  <a:pt x="5407" y="837"/>
                </a:lnTo>
                <a:lnTo>
                  <a:pt x="5338" y="842"/>
                </a:lnTo>
                <a:lnTo>
                  <a:pt x="5278" y="839"/>
                </a:lnTo>
                <a:lnTo>
                  <a:pt x="5219" y="825"/>
                </a:lnTo>
                <a:lnTo>
                  <a:pt x="5165" y="804"/>
                </a:lnTo>
                <a:lnTo>
                  <a:pt x="5114" y="776"/>
                </a:lnTo>
                <a:lnTo>
                  <a:pt x="3259" y="2625"/>
                </a:lnTo>
                <a:lnTo>
                  <a:pt x="3288" y="2676"/>
                </a:lnTo>
                <a:lnTo>
                  <a:pt x="3309" y="2732"/>
                </a:lnTo>
                <a:lnTo>
                  <a:pt x="3323" y="2791"/>
                </a:lnTo>
                <a:lnTo>
                  <a:pt x="3327" y="2852"/>
                </a:lnTo>
                <a:lnTo>
                  <a:pt x="3322" y="2920"/>
                </a:lnTo>
                <a:lnTo>
                  <a:pt x="3306" y="2984"/>
                </a:lnTo>
                <a:lnTo>
                  <a:pt x="3280" y="3046"/>
                </a:lnTo>
                <a:lnTo>
                  <a:pt x="3247" y="3101"/>
                </a:lnTo>
                <a:lnTo>
                  <a:pt x="3205" y="3150"/>
                </a:lnTo>
                <a:lnTo>
                  <a:pt x="3154" y="3192"/>
                </a:lnTo>
                <a:lnTo>
                  <a:pt x="3100" y="3227"/>
                </a:lnTo>
                <a:lnTo>
                  <a:pt x="3039" y="3251"/>
                </a:lnTo>
                <a:lnTo>
                  <a:pt x="2974" y="3269"/>
                </a:lnTo>
                <a:lnTo>
                  <a:pt x="2906" y="3274"/>
                </a:lnTo>
                <a:lnTo>
                  <a:pt x="2838" y="3269"/>
                </a:lnTo>
                <a:lnTo>
                  <a:pt x="2772" y="3251"/>
                </a:lnTo>
                <a:lnTo>
                  <a:pt x="2712" y="3227"/>
                </a:lnTo>
                <a:lnTo>
                  <a:pt x="2657" y="3192"/>
                </a:lnTo>
                <a:lnTo>
                  <a:pt x="2608" y="3150"/>
                </a:lnTo>
                <a:lnTo>
                  <a:pt x="2566" y="3101"/>
                </a:lnTo>
                <a:lnTo>
                  <a:pt x="2531" y="3046"/>
                </a:lnTo>
                <a:lnTo>
                  <a:pt x="2505" y="2984"/>
                </a:lnTo>
                <a:lnTo>
                  <a:pt x="2489" y="2920"/>
                </a:lnTo>
                <a:lnTo>
                  <a:pt x="2484" y="2852"/>
                </a:lnTo>
                <a:lnTo>
                  <a:pt x="2489" y="2787"/>
                </a:lnTo>
                <a:lnTo>
                  <a:pt x="2503" y="2726"/>
                </a:lnTo>
                <a:lnTo>
                  <a:pt x="2526" y="2669"/>
                </a:lnTo>
                <a:lnTo>
                  <a:pt x="2557" y="2616"/>
                </a:lnTo>
                <a:lnTo>
                  <a:pt x="2063" y="2125"/>
                </a:lnTo>
                <a:lnTo>
                  <a:pt x="2011" y="2154"/>
                </a:lnTo>
                <a:lnTo>
                  <a:pt x="1953" y="2177"/>
                </a:lnTo>
                <a:lnTo>
                  <a:pt x="1892" y="2191"/>
                </a:lnTo>
                <a:lnTo>
                  <a:pt x="1827" y="2196"/>
                </a:lnTo>
                <a:lnTo>
                  <a:pt x="1765" y="2191"/>
                </a:lnTo>
                <a:lnTo>
                  <a:pt x="1707" y="2177"/>
                </a:lnTo>
                <a:lnTo>
                  <a:pt x="1651" y="2156"/>
                </a:lnTo>
                <a:lnTo>
                  <a:pt x="1601" y="2128"/>
                </a:lnTo>
                <a:lnTo>
                  <a:pt x="1553" y="2091"/>
                </a:lnTo>
                <a:lnTo>
                  <a:pt x="785" y="2650"/>
                </a:lnTo>
                <a:lnTo>
                  <a:pt x="810" y="2697"/>
                </a:lnTo>
                <a:lnTo>
                  <a:pt x="827" y="2749"/>
                </a:lnTo>
                <a:lnTo>
                  <a:pt x="840" y="2801"/>
                </a:lnTo>
                <a:lnTo>
                  <a:pt x="843" y="2859"/>
                </a:lnTo>
                <a:lnTo>
                  <a:pt x="838" y="2927"/>
                </a:lnTo>
                <a:lnTo>
                  <a:pt x="822" y="2991"/>
                </a:lnTo>
                <a:lnTo>
                  <a:pt x="796" y="3053"/>
                </a:lnTo>
                <a:lnTo>
                  <a:pt x="763" y="3107"/>
                </a:lnTo>
                <a:lnTo>
                  <a:pt x="719" y="3155"/>
                </a:lnTo>
                <a:lnTo>
                  <a:pt x="670" y="3199"/>
                </a:lnTo>
                <a:lnTo>
                  <a:pt x="616" y="3232"/>
                </a:lnTo>
                <a:lnTo>
                  <a:pt x="555" y="3258"/>
                </a:lnTo>
                <a:lnTo>
                  <a:pt x="490" y="3274"/>
                </a:lnTo>
                <a:lnTo>
                  <a:pt x="422" y="3279"/>
                </a:lnTo>
                <a:lnTo>
                  <a:pt x="353" y="3274"/>
                </a:lnTo>
                <a:lnTo>
                  <a:pt x="288" y="3258"/>
                </a:lnTo>
                <a:lnTo>
                  <a:pt x="229" y="3232"/>
                </a:lnTo>
                <a:lnTo>
                  <a:pt x="173" y="3199"/>
                </a:lnTo>
                <a:lnTo>
                  <a:pt x="124" y="3155"/>
                </a:lnTo>
                <a:lnTo>
                  <a:pt x="82" y="3107"/>
                </a:lnTo>
                <a:lnTo>
                  <a:pt x="47" y="3053"/>
                </a:lnTo>
                <a:lnTo>
                  <a:pt x="21" y="2991"/>
                </a:lnTo>
                <a:lnTo>
                  <a:pt x="5" y="2927"/>
                </a:lnTo>
                <a:lnTo>
                  <a:pt x="0" y="2859"/>
                </a:lnTo>
                <a:lnTo>
                  <a:pt x="5" y="2789"/>
                </a:lnTo>
                <a:lnTo>
                  <a:pt x="21" y="2725"/>
                </a:lnTo>
                <a:lnTo>
                  <a:pt x="47" y="2665"/>
                </a:lnTo>
                <a:lnTo>
                  <a:pt x="82" y="2609"/>
                </a:lnTo>
                <a:lnTo>
                  <a:pt x="124" y="2561"/>
                </a:lnTo>
                <a:lnTo>
                  <a:pt x="173" y="2519"/>
                </a:lnTo>
                <a:lnTo>
                  <a:pt x="229" y="2484"/>
                </a:lnTo>
                <a:lnTo>
                  <a:pt x="288" y="2458"/>
                </a:lnTo>
                <a:lnTo>
                  <a:pt x="353" y="2442"/>
                </a:lnTo>
                <a:lnTo>
                  <a:pt x="422" y="2437"/>
                </a:lnTo>
                <a:lnTo>
                  <a:pt x="480" y="2440"/>
                </a:lnTo>
                <a:lnTo>
                  <a:pt x="534" y="2452"/>
                </a:lnTo>
                <a:lnTo>
                  <a:pt x="586" y="2472"/>
                </a:lnTo>
                <a:lnTo>
                  <a:pt x="635" y="2496"/>
                </a:lnTo>
                <a:lnTo>
                  <a:pt x="681" y="2527"/>
                </a:lnTo>
                <a:lnTo>
                  <a:pt x="1454" y="1966"/>
                </a:lnTo>
                <a:lnTo>
                  <a:pt x="1433" y="1920"/>
                </a:lnTo>
                <a:lnTo>
                  <a:pt x="1419" y="1875"/>
                </a:lnTo>
                <a:lnTo>
                  <a:pt x="1409" y="1825"/>
                </a:lnTo>
                <a:lnTo>
                  <a:pt x="1405" y="1774"/>
                </a:lnTo>
                <a:lnTo>
                  <a:pt x="1410" y="1706"/>
                </a:lnTo>
                <a:lnTo>
                  <a:pt x="1428" y="1641"/>
                </a:lnTo>
                <a:lnTo>
                  <a:pt x="1452" y="1580"/>
                </a:lnTo>
                <a:lnTo>
                  <a:pt x="1487" y="1526"/>
                </a:lnTo>
                <a:lnTo>
                  <a:pt x="1529" y="1477"/>
                </a:lnTo>
                <a:lnTo>
                  <a:pt x="1578" y="1434"/>
                </a:lnTo>
                <a:lnTo>
                  <a:pt x="1634" y="1401"/>
                </a:lnTo>
                <a:lnTo>
                  <a:pt x="1695" y="1374"/>
                </a:lnTo>
                <a:lnTo>
                  <a:pt x="1759" y="1359"/>
                </a:lnTo>
                <a:lnTo>
                  <a:pt x="1827" y="1354"/>
                </a:lnTo>
                <a:lnTo>
                  <a:pt x="1896" y="1359"/>
                </a:lnTo>
                <a:lnTo>
                  <a:pt x="1960" y="1374"/>
                </a:lnTo>
                <a:lnTo>
                  <a:pt x="2021" y="1401"/>
                </a:lnTo>
                <a:lnTo>
                  <a:pt x="2077" y="1434"/>
                </a:lnTo>
                <a:lnTo>
                  <a:pt x="2126" y="1477"/>
                </a:lnTo>
                <a:lnTo>
                  <a:pt x="2168" y="1526"/>
                </a:lnTo>
                <a:lnTo>
                  <a:pt x="2203" y="1580"/>
                </a:lnTo>
                <a:lnTo>
                  <a:pt x="2227" y="1641"/>
                </a:lnTo>
                <a:lnTo>
                  <a:pt x="2243" y="1706"/>
                </a:lnTo>
                <a:lnTo>
                  <a:pt x="2250" y="1774"/>
                </a:lnTo>
                <a:lnTo>
                  <a:pt x="2245" y="1838"/>
                </a:lnTo>
                <a:lnTo>
                  <a:pt x="2231" y="1900"/>
                </a:lnTo>
                <a:lnTo>
                  <a:pt x="2208" y="1957"/>
                </a:lnTo>
                <a:lnTo>
                  <a:pt x="2177" y="2009"/>
                </a:lnTo>
                <a:lnTo>
                  <a:pt x="2671" y="2503"/>
                </a:lnTo>
                <a:lnTo>
                  <a:pt x="2723" y="2472"/>
                </a:lnTo>
                <a:lnTo>
                  <a:pt x="2781" y="2449"/>
                </a:lnTo>
                <a:lnTo>
                  <a:pt x="2842" y="2435"/>
                </a:lnTo>
                <a:lnTo>
                  <a:pt x="2906" y="2432"/>
                </a:lnTo>
                <a:lnTo>
                  <a:pt x="2973" y="2437"/>
                </a:lnTo>
                <a:lnTo>
                  <a:pt x="3035" y="2451"/>
                </a:lnTo>
                <a:lnTo>
                  <a:pt x="3095" y="2475"/>
                </a:lnTo>
                <a:lnTo>
                  <a:pt x="3149" y="2508"/>
                </a:lnTo>
                <a:lnTo>
                  <a:pt x="4997" y="666"/>
                </a:lnTo>
                <a:lnTo>
                  <a:pt x="4969" y="623"/>
                </a:lnTo>
                <a:lnTo>
                  <a:pt x="4947" y="577"/>
                </a:lnTo>
                <a:lnTo>
                  <a:pt x="4931" y="527"/>
                </a:lnTo>
                <a:lnTo>
                  <a:pt x="4920" y="476"/>
                </a:lnTo>
                <a:lnTo>
                  <a:pt x="4917" y="422"/>
                </a:lnTo>
                <a:lnTo>
                  <a:pt x="4922" y="352"/>
                </a:lnTo>
                <a:lnTo>
                  <a:pt x="4938" y="288"/>
                </a:lnTo>
                <a:lnTo>
                  <a:pt x="4964" y="228"/>
                </a:lnTo>
                <a:lnTo>
                  <a:pt x="4997" y="173"/>
                </a:lnTo>
                <a:lnTo>
                  <a:pt x="5041" y="124"/>
                </a:lnTo>
                <a:lnTo>
                  <a:pt x="5090" y="82"/>
                </a:lnTo>
                <a:lnTo>
                  <a:pt x="5144" y="47"/>
                </a:lnTo>
                <a:lnTo>
                  <a:pt x="5205" y="21"/>
                </a:lnTo>
                <a:lnTo>
                  <a:pt x="5270" y="5"/>
                </a:lnTo>
                <a:lnTo>
                  <a:pt x="533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4" name="Freeform 6">
            <a:extLst>
              <a:ext uri="{FF2B5EF4-FFF2-40B4-BE49-F238E27FC236}">
                <a16:creationId xmlns:a16="http://schemas.microsoft.com/office/drawing/2014/main" id="{9998D316-2C4B-EFDE-8878-A5E7F4065B7D}"/>
              </a:ext>
            </a:extLst>
          </p:cNvPr>
          <p:cNvSpPr>
            <a:spLocks noChangeAspect="1" noEditPoints="1"/>
          </p:cNvSpPr>
          <p:nvPr/>
        </p:nvSpPr>
        <p:spPr bwMode="auto">
          <a:xfrm>
            <a:off x="3547764" y="7765562"/>
            <a:ext cx="903978" cy="962460"/>
          </a:xfrm>
          <a:custGeom>
            <a:avLst/>
            <a:gdLst>
              <a:gd name="T0" fmla="*/ 4051 w 5410"/>
              <a:gd name="T1" fmla="*/ 3725 h 5760"/>
              <a:gd name="T2" fmla="*/ 4418 w 5410"/>
              <a:gd name="T3" fmla="*/ 5081 h 5760"/>
              <a:gd name="T4" fmla="*/ 4806 w 5410"/>
              <a:gd name="T5" fmla="*/ 5172 h 5760"/>
              <a:gd name="T6" fmla="*/ 5099 w 5410"/>
              <a:gd name="T7" fmla="*/ 3830 h 5760"/>
              <a:gd name="T8" fmla="*/ 5162 w 5410"/>
              <a:gd name="T9" fmla="*/ 2365 h 5760"/>
              <a:gd name="T10" fmla="*/ 182 w 5410"/>
              <a:gd name="T11" fmla="*/ 2473 h 5760"/>
              <a:gd name="T12" fmla="*/ 398 w 5410"/>
              <a:gd name="T13" fmla="*/ 3856 h 5760"/>
              <a:gd name="T14" fmla="*/ 676 w 5410"/>
              <a:gd name="T15" fmla="*/ 5207 h 5760"/>
              <a:gd name="T16" fmla="*/ 1142 w 5410"/>
              <a:gd name="T17" fmla="*/ 3868 h 5760"/>
              <a:gd name="T18" fmla="*/ 1378 w 5410"/>
              <a:gd name="T19" fmla="*/ 2517 h 5760"/>
              <a:gd name="T20" fmla="*/ 5101 w 5410"/>
              <a:gd name="T21" fmla="*/ 2152 h 5760"/>
              <a:gd name="T22" fmla="*/ 5405 w 5410"/>
              <a:gd name="T23" fmla="*/ 3706 h 5760"/>
              <a:gd name="T24" fmla="*/ 4974 w 5410"/>
              <a:gd name="T25" fmla="*/ 5242 h 5760"/>
              <a:gd name="T26" fmla="*/ 4346 w 5410"/>
              <a:gd name="T27" fmla="*/ 5315 h 5760"/>
              <a:gd name="T28" fmla="*/ 3899 w 5410"/>
              <a:gd name="T29" fmla="*/ 3816 h 5760"/>
              <a:gd name="T30" fmla="*/ 4056 w 5410"/>
              <a:gd name="T31" fmla="*/ 2189 h 5760"/>
              <a:gd name="T32" fmla="*/ 1481 w 5410"/>
              <a:gd name="T33" fmla="*/ 2299 h 5760"/>
              <a:gd name="T34" fmla="*/ 1396 w 5410"/>
              <a:gd name="T35" fmla="*/ 3946 h 5760"/>
              <a:gd name="T36" fmla="*/ 919 w 5410"/>
              <a:gd name="T37" fmla="*/ 5378 h 5760"/>
              <a:gd name="T38" fmla="*/ 384 w 5410"/>
              <a:gd name="T39" fmla="*/ 5097 h 5760"/>
              <a:gd name="T40" fmla="*/ 5 w 5410"/>
              <a:gd name="T41" fmla="*/ 2458 h 5760"/>
              <a:gd name="T42" fmla="*/ 2135 w 5410"/>
              <a:gd name="T43" fmla="*/ 1848 h 5760"/>
              <a:gd name="T44" fmla="*/ 1930 w 5410"/>
              <a:gd name="T45" fmla="*/ 3660 h 5760"/>
              <a:gd name="T46" fmla="*/ 2402 w 5410"/>
              <a:gd name="T47" fmla="*/ 5402 h 5760"/>
              <a:gd name="T48" fmla="*/ 2895 w 5410"/>
              <a:gd name="T49" fmla="*/ 5566 h 5760"/>
              <a:gd name="T50" fmla="*/ 3234 w 5410"/>
              <a:gd name="T51" fmla="*/ 3837 h 5760"/>
              <a:gd name="T52" fmla="*/ 3494 w 5410"/>
              <a:gd name="T53" fmla="*/ 2068 h 5760"/>
              <a:gd name="T54" fmla="*/ 3225 w 5410"/>
              <a:gd name="T55" fmla="*/ 1669 h 5760"/>
              <a:gd name="T56" fmla="*/ 3676 w 5410"/>
              <a:gd name="T57" fmla="*/ 2117 h 5760"/>
              <a:gd name="T58" fmla="*/ 3167 w 5410"/>
              <a:gd name="T59" fmla="*/ 5418 h 5760"/>
              <a:gd name="T60" fmla="*/ 2519 w 5410"/>
              <a:gd name="T61" fmla="*/ 5755 h 5760"/>
              <a:gd name="T62" fmla="*/ 2009 w 5410"/>
              <a:gd name="T63" fmla="*/ 3973 h 5760"/>
              <a:gd name="T64" fmla="*/ 1754 w 5410"/>
              <a:gd name="T65" fmla="*/ 1988 h 5760"/>
              <a:gd name="T66" fmla="*/ 4572 w 5410"/>
              <a:gd name="T67" fmla="*/ 962 h 5760"/>
              <a:gd name="T68" fmla="*/ 4207 w 5410"/>
              <a:gd name="T69" fmla="*/ 1456 h 5760"/>
              <a:gd name="T70" fmla="*/ 4701 w 5410"/>
              <a:gd name="T71" fmla="*/ 1822 h 5760"/>
              <a:gd name="T72" fmla="*/ 5066 w 5410"/>
              <a:gd name="T73" fmla="*/ 1328 h 5760"/>
              <a:gd name="T74" fmla="*/ 779 w 5410"/>
              <a:gd name="T75" fmla="*/ 958 h 5760"/>
              <a:gd name="T76" fmla="*/ 344 w 5410"/>
              <a:gd name="T77" fmla="*/ 1393 h 5760"/>
              <a:gd name="T78" fmla="*/ 779 w 5410"/>
              <a:gd name="T79" fmla="*/ 1827 h 5760"/>
              <a:gd name="T80" fmla="*/ 1214 w 5410"/>
              <a:gd name="T81" fmla="*/ 1393 h 5760"/>
              <a:gd name="T82" fmla="*/ 779 w 5410"/>
              <a:gd name="T83" fmla="*/ 958 h 5760"/>
              <a:gd name="T84" fmla="*/ 5206 w 5410"/>
              <a:gd name="T85" fmla="*/ 1171 h 5760"/>
              <a:gd name="T86" fmla="*/ 4986 w 5410"/>
              <a:gd name="T87" fmla="*/ 1894 h 5760"/>
              <a:gd name="T88" fmla="*/ 4231 w 5410"/>
              <a:gd name="T89" fmla="*/ 1848 h 5760"/>
              <a:gd name="T90" fmla="*/ 4097 w 5410"/>
              <a:gd name="T91" fmla="*/ 1105 h 5760"/>
              <a:gd name="T92" fmla="*/ 856 w 5410"/>
              <a:gd name="T93" fmla="*/ 787 h 5760"/>
              <a:gd name="T94" fmla="*/ 1385 w 5410"/>
              <a:gd name="T95" fmla="*/ 1316 h 5760"/>
              <a:gd name="T96" fmla="*/ 999 w 5410"/>
              <a:gd name="T97" fmla="*/ 1962 h 5760"/>
              <a:gd name="T98" fmla="*/ 278 w 5410"/>
              <a:gd name="T99" fmla="*/ 1740 h 5760"/>
              <a:gd name="T100" fmla="*/ 323 w 5410"/>
              <a:gd name="T101" fmla="*/ 986 h 5760"/>
              <a:gd name="T102" fmla="*/ 2482 w 5410"/>
              <a:gd name="T103" fmla="*/ 222 h 5760"/>
              <a:gd name="T104" fmla="*/ 2147 w 5410"/>
              <a:gd name="T105" fmla="*/ 911 h 5760"/>
              <a:gd name="T106" fmla="*/ 2786 w 5410"/>
              <a:gd name="T107" fmla="*/ 1332 h 5760"/>
              <a:gd name="T108" fmla="*/ 3289 w 5410"/>
              <a:gd name="T109" fmla="*/ 758 h 5760"/>
              <a:gd name="T110" fmla="*/ 2786 w 5410"/>
              <a:gd name="T111" fmla="*/ 182 h 5760"/>
              <a:gd name="T112" fmla="*/ 3347 w 5410"/>
              <a:gd name="T113" fmla="*/ 351 h 5760"/>
              <a:gd name="T114" fmla="*/ 3298 w 5410"/>
              <a:gd name="T115" fmla="*/ 1231 h 5760"/>
              <a:gd name="T116" fmla="*/ 2453 w 5410"/>
              <a:gd name="T117" fmla="*/ 1470 h 5760"/>
              <a:gd name="T118" fmla="*/ 1950 w 5410"/>
              <a:gd name="T119" fmla="*/ 758 h 5760"/>
              <a:gd name="T120" fmla="*/ 2453 w 5410"/>
              <a:gd name="T121" fmla="*/ 44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10" h="5760">
                <a:moveTo>
                  <a:pt x="4228" y="2323"/>
                </a:moveTo>
                <a:lnTo>
                  <a:pt x="4182" y="2328"/>
                </a:lnTo>
                <a:lnTo>
                  <a:pt x="4142" y="2342"/>
                </a:lnTo>
                <a:lnTo>
                  <a:pt x="4105" y="2365"/>
                </a:lnTo>
                <a:lnTo>
                  <a:pt x="4076" y="2397"/>
                </a:lnTo>
                <a:lnTo>
                  <a:pt x="4053" y="2431"/>
                </a:lnTo>
                <a:lnTo>
                  <a:pt x="4037" y="2473"/>
                </a:lnTo>
                <a:lnTo>
                  <a:pt x="4032" y="2517"/>
                </a:lnTo>
                <a:lnTo>
                  <a:pt x="4032" y="3645"/>
                </a:lnTo>
                <a:lnTo>
                  <a:pt x="4037" y="3686"/>
                </a:lnTo>
                <a:lnTo>
                  <a:pt x="4051" y="3725"/>
                </a:lnTo>
                <a:lnTo>
                  <a:pt x="4070" y="3760"/>
                </a:lnTo>
                <a:lnTo>
                  <a:pt x="4098" y="3789"/>
                </a:lnTo>
                <a:lnTo>
                  <a:pt x="4131" y="3812"/>
                </a:lnTo>
                <a:lnTo>
                  <a:pt x="4168" y="3830"/>
                </a:lnTo>
                <a:lnTo>
                  <a:pt x="4208" y="3838"/>
                </a:lnTo>
                <a:lnTo>
                  <a:pt x="4235" y="3843"/>
                </a:lnTo>
                <a:lnTo>
                  <a:pt x="4256" y="3856"/>
                </a:lnTo>
                <a:lnTo>
                  <a:pt x="4273" y="3873"/>
                </a:lnTo>
                <a:lnTo>
                  <a:pt x="4285" y="3896"/>
                </a:lnTo>
                <a:lnTo>
                  <a:pt x="4290" y="3920"/>
                </a:lnTo>
                <a:lnTo>
                  <a:pt x="4418" y="5081"/>
                </a:lnTo>
                <a:lnTo>
                  <a:pt x="4418" y="5091"/>
                </a:lnTo>
                <a:lnTo>
                  <a:pt x="4421" y="5121"/>
                </a:lnTo>
                <a:lnTo>
                  <a:pt x="4434" y="5149"/>
                </a:lnTo>
                <a:lnTo>
                  <a:pt x="4451" y="5172"/>
                </a:lnTo>
                <a:lnTo>
                  <a:pt x="4476" y="5191"/>
                </a:lnTo>
                <a:lnTo>
                  <a:pt x="4502" y="5201"/>
                </a:lnTo>
                <a:lnTo>
                  <a:pt x="4533" y="5207"/>
                </a:lnTo>
                <a:lnTo>
                  <a:pt x="4724" y="5207"/>
                </a:lnTo>
                <a:lnTo>
                  <a:pt x="4753" y="5201"/>
                </a:lnTo>
                <a:lnTo>
                  <a:pt x="4781" y="5191"/>
                </a:lnTo>
                <a:lnTo>
                  <a:pt x="4806" y="5172"/>
                </a:lnTo>
                <a:lnTo>
                  <a:pt x="4823" y="5149"/>
                </a:lnTo>
                <a:lnTo>
                  <a:pt x="4836" y="5121"/>
                </a:lnTo>
                <a:lnTo>
                  <a:pt x="4839" y="5091"/>
                </a:lnTo>
                <a:lnTo>
                  <a:pt x="4839" y="5081"/>
                </a:lnTo>
                <a:lnTo>
                  <a:pt x="4979" y="3915"/>
                </a:lnTo>
                <a:lnTo>
                  <a:pt x="4986" y="3889"/>
                </a:lnTo>
                <a:lnTo>
                  <a:pt x="5000" y="3868"/>
                </a:lnTo>
                <a:lnTo>
                  <a:pt x="5021" y="3850"/>
                </a:lnTo>
                <a:lnTo>
                  <a:pt x="5038" y="3842"/>
                </a:lnTo>
                <a:lnTo>
                  <a:pt x="5059" y="3838"/>
                </a:lnTo>
                <a:lnTo>
                  <a:pt x="5099" y="3830"/>
                </a:lnTo>
                <a:lnTo>
                  <a:pt x="5136" y="3812"/>
                </a:lnTo>
                <a:lnTo>
                  <a:pt x="5169" y="3789"/>
                </a:lnTo>
                <a:lnTo>
                  <a:pt x="5197" y="3760"/>
                </a:lnTo>
                <a:lnTo>
                  <a:pt x="5216" y="3725"/>
                </a:lnTo>
                <a:lnTo>
                  <a:pt x="5230" y="3686"/>
                </a:lnTo>
                <a:lnTo>
                  <a:pt x="5236" y="3645"/>
                </a:lnTo>
                <a:lnTo>
                  <a:pt x="5236" y="2517"/>
                </a:lnTo>
                <a:lnTo>
                  <a:pt x="5230" y="2473"/>
                </a:lnTo>
                <a:lnTo>
                  <a:pt x="5215" y="2431"/>
                </a:lnTo>
                <a:lnTo>
                  <a:pt x="5192" y="2397"/>
                </a:lnTo>
                <a:lnTo>
                  <a:pt x="5162" y="2365"/>
                </a:lnTo>
                <a:lnTo>
                  <a:pt x="5126" y="2342"/>
                </a:lnTo>
                <a:lnTo>
                  <a:pt x="5085" y="2328"/>
                </a:lnTo>
                <a:lnTo>
                  <a:pt x="5040" y="2323"/>
                </a:lnTo>
                <a:lnTo>
                  <a:pt x="4228" y="2323"/>
                </a:lnTo>
                <a:close/>
                <a:moveTo>
                  <a:pt x="370" y="2323"/>
                </a:moveTo>
                <a:lnTo>
                  <a:pt x="325" y="2328"/>
                </a:lnTo>
                <a:lnTo>
                  <a:pt x="285" y="2342"/>
                </a:lnTo>
                <a:lnTo>
                  <a:pt x="248" y="2365"/>
                </a:lnTo>
                <a:lnTo>
                  <a:pt x="218" y="2397"/>
                </a:lnTo>
                <a:lnTo>
                  <a:pt x="196" y="2431"/>
                </a:lnTo>
                <a:lnTo>
                  <a:pt x="182" y="2473"/>
                </a:lnTo>
                <a:lnTo>
                  <a:pt x="176" y="2517"/>
                </a:lnTo>
                <a:lnTo>
                  <a:pt x="176" y="3645"/>
                </a:lnTo>
                <a:lnTo>
                  <a:pt x="180" y="3686"/>
                </a:lnTo>
                <a:lnTo>
                  <a:pt x="194" y="3725"/>
                </a:lnTo>
                <a:lnTo>
                  <a:pt x="215" y="3760"/>
                </a:lnTo>
                <a:lnTo>
                  <a:pt x="241" y="3789"/>
                </a:lnTo>
                <a:lnTo>
                  <a:pt x="274" y="3812"/>
                </a:lnTo>
                <a:lnTo>
                  <a:pt x="311" y="3830"/>
                </a:lnTo>
                <a:lnTo>
                  <a:pt x="353" y="3838"/>
                </a:lnTo>
                <a:lnTo>
                  <a:pt x="377" y="3843"/>
                </a:lnTo>
                <a:lnTo>
                  <a:pt x="398" y="3856"/>
                </a:lnTo>
                <a:lnTo>
                  <a:pt x="416" y="3873"/>
                </a:lnTo>
                <a:lnTo>
                  <a:pt x="428" y="3896"/>
                </a:lnTo>
                <a:lnTo>
                  <a:pt x="433" y="3920"/>
                </a:lnTo>
                <a:lnTo>
                  <a:pt x="561" y="5081"/>
                </a:lnTo>
                <a:lnTo>
                  <a:pt x="561" y="5091"/>
                </a:lnTo>
                <a:lnTo>
                  <a:pt x="564" y="5121"/>
                </a:lnTo>
                <a:lnTo>
                  <a:pt x="576" y="5149"/>
                </a:lnTo>
                <a:lnTo>
                  <a:pt x="594" y="5172"/>
                </a:lnTo>
                <a:lnTo>
                  <a:pt x="618" y="5191"/>
                </a:lnTo>
                <a:lnTo>
                  <a:pt x="645" y="5201"/>
                </a:lnTo>
                <a:lnTo>
                  <a:pt x="676" y="5207"/>
                </a:lnTo>
                <a:lnTo>
                  <a:pt x="866" y="5207"/>
                </a:lnTo>
                <a:lnTo>
                  <a:pt x="898" y="5201"/>
                </a:lnTo>
                <a:lnTo>
                  <a:pt x="924" y="5191"/>
                </a:lnTo>
                <a:lnTo>
                  <a:pt x="949" y="5172"/>
                </a:lnTo>
                <a:lnTo>
                  <a:pt x="966" y="5149"/>
                </a:lnTo>
                <a:lnTo>
                  <a:pt x="978" y="5121"/>
                </a:lnTo>
                <a:lnTo>
                  <a:pt x="982" y="5091"/>
                </a:lnTo>
                <a:lnTo>
                  <a:pt x="982" y="5081"/>
                </a:lnTo>
                <a:lnTo>
                  <a:pt x="1122" y="3915"/>
                </a:lnTo>
                <a:lnTo>
                  <a:pt x="1129" y="3889"/>
                </a:lnTo>
                <a:lnTo>
                  <a:pt x="1142" y="3868"/>
                </a:lnTo>
                <a:lnTo>
                  <a:pt x="1163" y="3850"/>
                </a:lnTo>
                <a:lnTo>
                  <a:pt x="1183" y="3842"/>
                </a:lnTo>
                <a:lnTo>
                  <a:pt x="1202" y="3838"/>
                </a:lnTo>
                <a:lnTo>
                  <a:pt x="1242" y="3830"/>
                </a:lnTo>
                <a:lnTo>
                  <a:pt x="1279" y="3812"/>
                </a:lnTo>
                <a:lnTo>
                  <a:pt x="1312" y="3789"/>
                </a:lnTo>
                <a:lnTo>
                  <a:pt x="1340" y="3760"/>
                </a:lnTo>
                <a:lnTo>
                  <a:pt x="1361" y="3725"/>
                </a:lnTo>
                <a:lnTo>
                  <a:pt x="1373" y="3686"/>
                </a:lnTo>
                <a:lnTo>
                  <a:pt x="1378" y="3645"/>
                </a:lnTo>
                <a:lnTo>
                  <a:pt x="1378" y="2517"/>
                </a:lnTo>
                <a:lnTo>
                  <a:pt x="1373" y="2473"/>
                </a:lnTo>
                <a:lnTo>
                  <a:pt x="1357" y="2431"/>
                </a:lnTo>
                <a:lnTo>
                  <a:pt x="1335" y="2397"/>
                </a:lnTo>
                <a:lnTo>
                  <a:pt x="1305" y="2365"/>
                </a:lnTo>
                <a:lnTo>
                  <a:pt x="1268" y="2342"/>
                </a:lnTo>
                <a:lnTo>
                  <a:pt x="1228" y="2328"/>
                </a:lnTo>
                <a:lnTo>
                  <a:pt x="1183" y="2323"/>
                </a:lnTo>
                <a:lnTo>
                  <a:pt x="370" y="2323"/>
                </a:lnTo>
                <a:close/>
                <a:moveTo>
                  <a:pt x="4228" y="2147"/>
                </a:moveTo>
                <a:lnTo>
                  <a:pt x="5040" y="2147"/>
                </a:lnTo>
                <a:lnTo>
                  <a:pt x="5101" y="2152"/>
                </a:lnTo>
                <a:lnTo>
                  <a:pt x="5157" y="2166"/>
                </a:lnTo>
                <a:lnTo>
                  <a:pt x="5211" y="2189"/>
                </a:lnTo>
                <a:lnTo>
                  <a:pt x="5258" y="2218"/>
                </a:lnTo>
                <a:lnTo>
                  <a:pt x="5302" y="2255"/>
                </a:lnTo>
                <a:lnTo>
                  <a:pt x="5339" y="2299"/>
                </a:lnTo>
                <a:lnTo>
                  <a:pt x="5370" y="2348"/>
                </a:lnTo>
                <a:lnTo>
                  <a:pt x="5391" y="2400"/>
                </a:lnTo>
                <a:lnTo>
                  <a:pt x="5407" y="2458"/>
                </a:lnTo>
                <a:lnTo>
                  <a:pt x="5410" y="2517"/>
                </a:lnTo>
                <a:lnTo>
                  <a:pt x="5410" y="3645"/>
                </a:lnTo>
                <a:lnTo>
                  <a:pt x="5405" y="3706"/>
                </a:lnTo>
                <a:lnTo>
                  <a:pt x="5391" y="3763"/>
                </a:lnTo>
                <a:lnTo>
                  <a:pt x="5367" y="3817"/>
                </a:lnTo>
                <a:lnTo>
                  <a:pt x="5335" y="3866"/>
                </a:lnTo>
                <a:lnTo>
                  <a:pt x="5297" y="3910"/>
                </a:lnTo>
                <a:lnTo>
                  <a:pt x="5251" y="3946"/>
                </a:lnTo>
                <a:lnTo>
                  <a:pt x="5201" y="3978"/>
                </a:lnTo>
                <a:lnTo>
                  <a:pt x="5146" y="3999"/>
                </a:lnTo>
                <a:lnTo>
                  <a:pt x="5015" y="5097"/>
                </a:lnTo>
                <a:lnTo>
                  <a:pt x="5008" y="5147"/>
                </a:lnTo>
                <a:lnTo>
                  <a:pt x="4994" y="5196"/>
                </a:lnTo>
                <a:lnTo>
                  <a:pt x="4974" y="5242"/>
                </a:lnTo>
                <a:lnTo>
                  <a:pt x="4944" y="5280"/>
                </a:lnTo>
                <a:lnTo>
                  <a:pt x="4909" y="5315"/>
                </a:lnTo>
                <a:lnTo>
                  <a:pt x="4869" y="5343"/>
                </a:lnTo>
                <a:lnTo>
                  <a:pt x="4823" y="5364"/>
                </a:lnTo>
                <a:lnTo>
                  <a:pt x="4776" y="5378"/>
                </a:lnTo>
                <a:lnTo>
                  <a:pt x="4724" y="5381"/>
                </a:lnTo>
                <a:lnTo>
                  <a:pt x="4533" y="5381"/>
                </a:lnTo>
                <a:lnTo>
                  <a:pt x="4481" y="5378"/>
                </a:lnTo>
                <a:lnTo>
                  <a:pt x="4432" y="5364"/>
                </a:lnTo>
                <a:lnTo>
                  <a:pt x="4388" y="5343"/>
                </a:lnTo>
                <a:lnTo>
                  <a:pt x="4346" y="5315"/>
                </a:lnTo>
                <a:lnTo>
                  <a:pt x="4311" y="5280"/>
                </a:lnTo>
                <a:lnTo>
                  <a:pt x="4283" y="5240"/>
                </a:lnTo>
                <a:lnTo>
                  <a:pt x="4261" y="5196"/>
                </a:lnTo>
                <a:lnTo>
                  <a:pt x="4247" y="5147"/>
                </a:lnTo>
                <a:lnTo>
                  <a:pt x="4242" y="5097"/>
                </a:lnTo>
                <a:lnTo>
                  <a:pt x="4121" y="3999"/>
                </a:lnTo>
                <a:lnTo>
                  <a:pt x="4067" y="3976"/>
                </a:lnTo>
                <a:lnTo>
                  <a:pt x="4016" y="3946"/>
                </a:lnTo>
                <a:lnTo>
                  <a:pt x="3971" y="3910"/>
                </a:lnTo>
                <a:lnTo>
                  <a:pt x="3932" y="3866"/>
                </a:lnTo>
                <a:lnTo>
                  <a:pt x="3899" y="3816"/>
                </a:lnTo>
                <a:lnTo>
                  <a:pt x="3876" y="3763"/>
                </a:lnTo>
                <a:lnTo>
                  <a:pt x="3862" y="3706"/>
                </a:lnTo>
                <a:lnTo>
                  <a:pt x="3857" y="3645"/>
                </a:lnTo>
                <a:lnTo>
                  <a:pt x="3857" y="2517"/>
                </a:lnTo>
                <a:lnTo>
                  <a:pt x="3861" y="2458"/>
                </a:lnTo>
                <a:lnTo>
                  <a:pt x="3876" y="2400"/>
                </a:lnTo>
                <a:lnTo>
                  <a:pt x="3897" y="2348"/>
                </a:lnTo>
                <a:lnTo>
                  <a:pt x="3929" y="2299"/>
                </a:lnTo>
                <a:lnTo>
                  <a:pt x="3966" y="2255"/>
                </a:lnTo>
                <a:lnTo>
                  <a:pt x="4009" y="2218"/>
                </a:lnTo>
                <a:lnTo>
                  <a:pt x="4056" y="2189"/>
                </a:lnTo>
                <a:lnTo>
                  <a:pt x="4111" y="2166"/>
                </a:lnTo>
                <a:lnTo>
                  <a:pt x="4166" y="2152"/>
                </a:lnTo>
                <a:lnTo>
                  <a:pt x="4228" y="2147"/>
                </a:lnTo>
                <a:close/>
                <a:moveTo>
                  <a:pt x="370" y="2147"/>
                </a:moveTo>
                <a:lnTo>
                  <a:pt x="1183" y="2147"/>
                </a:lnTo>
                <a:lnTo>
                  <a:pt x="1244" y="2152"/>
                </a:lnTo>
                <a:lnTo>
                  <a:pt x="1300" y="2166"/>
                </a:lnTo>
                <a:lnTo>
                  <a:pt x="1354" y="2189"/>
                </a:lnTo>
                <a:lnTo>
                  <a:pt x="1403" y="2218"/>
                </a:lnTo>
                <a:lnTo>
                  <a:pt x="1445" y="2255"/>
                </a:lnTo>
                <a:lnTo>
                  <a:pt x="1481" y="2299"/>
                </a:lnTo>
                <a:lnTo>
                  <a:pt x="1513" y="2348"/>
                </a:lnTo>
                <a:lnTo>
                  <a:pt x="1536" y="2400"/>
                </a:lnTo>
                <a:lnTo>
                  <a:pt x="1550" y="2458"/>
                </a:lnTo>
                <a:lnTo>
                  <a:pt x="1553" y="2517"/>
                </a:lnTo>
                <a:lnTo>
                  <a:pt x="1553" y="3645"/>
                </a:lnTo>
                <a:lnTo>
                  <a:pt x="1550" y="3706"/>
                </a:lnTo>
                <a:lnTo>
                  <a:pt x="1534" y="3763"/>
                </a:lnTo>
                <a:lnTo>
                  <a:pt x="1511" y="3817"/>
                </a:lnTo>
                <a:lnTo>
                  <a:pt x="1480" y="3866"/>
                </a:lnTo>
                <a:lnTo>
                  <a:pt x="1439" y="3910"/>
                </a:lnTo>
                <a:lnTo>
                  <a:pt x="1396" y="3946"/>
                </a:lnTo>
                <a:lnTo>
                  <a:pt x="1345" y="3978"/>
                </a:lnTo>
                <a:lnTo>
                  <a:pt x="1289" y="3999"/>
                </a:lnTo>
                <a:lnTo>
                  <a:pt x="1158" y="5097"/>
                </a:lnTo>
                <a:lnTo>
                  <a:pt x="1153" y="5147"/>
                </a:lnTo>
                <a:lnTo>
                  <a:pt x="1137" y="5196"/>
                </a:lnTo>
                <a:lnTo>
                  <a:pt x="1116" y="5242"/>
                </a:lnTo>
                <a:lnTo>
                  <a:pt x="1087" y="5280"/>
                </a:lnTo>
                <a:lnTo>
                  <a:pt x="1052" y="5315"/>
                </a:lnTo>
                <a:lnTo>
                  <a:pt x="1011" y="5343"/>
                </a:lnTo>
                <a:lnTo>
                  <a:pt x="968" y="5364"/>
                </a:lnTo>
                <a:lnTo>
                  <a:pt x="919" y="5378"/>
                </a:lnTo>
                <a:lnTo>
                  <a:pt x="866" y="5381"/>
                </a:lnTo>
                <a:lnTo>
                  <a:pt x="676" y="5381"/>
                </a:lnTo>
                <a:lnTo>
                  <a:pt x="624" y="5378"/>
                </a:lnTo>
                <a:lnTo>
                  <a:pt x="575" y="5364"/>
                </a:lnTo>
                <a:lnTo>
                  <a:pt x="531" y="5343"/>
                </a:lnTo>
                <a:lnTo>
                  <a:pt x="491" y="5315"/>
                </a:lnTo>
                <a:lnTo>
                  <a:pt x="454" y="5280"/>
                </a:lnTo>
                <a:lnTo>
                  <a:pt x="426" y="5240"/>
                </a:lnTo>
                <a:lnTo>
                  <a:pt x="404" y="5196"/>
                </a:lnTo>
                <a:lnTo>
                  <a:pt x="390" y="5147"/>
                </a:lnTo>
                <a:lnTo>
                  <a:pt x="384" y="5097"/>
                </a:lnTo>
                <a:lnTo>
                  <a:pt x="264" y="3999"/>
                </a:lnTo>
                <a:lnTo>
                  <a:pt x="210" y="3976"/>
                </a:lnTo>
                <a:lnTo>
                  <a:pt x="159" y="3946"/>
                </a:lnTo>
                <a:lnTo>
                  <a:pt x="114" y="3910"/>
                </a:lnTo>
                <a:lnTo>
                  <a:pt x="75" y="3866"/>
                </a:lnTo>
                <a:lnTo>
                  <a:pt x="44" y="3816"/>
                </a:lnTo>
                <a:lnTo>
                  <a:pt x="19" y="3763"/>
                </a:lnTo>
                <a:lnTo>
                  <a:pt x="5" y="3706"/>
                </a:lnTo>
                <a:lnTo>
                  <a:pt x="0" y="3645"/>
                </a:lnTo>
                <a:lnTo>
                  <a:pt x="0" y="2517"/>
                </a:lnTo>
                <a:lnTo>
                  <a:pt x="5" y="2458"/>
                </a:lnTo>
                <a:lnTo>
                  <a:pt x="19" y="2400"/>
                </a:lnTo>
                <a:lnTo>
                  <a:pt x="42" y="2348"/>
                </a:lnTo>
                <a:lnTo>
                  <a:pt x="72" y="2299"/>
                </a:lnTo>
                <a:lnTo>
                  <a:pt x="108" y="2255"/>
                </a:lnTo>
                <a:lnTo>
                  <a:pt x="152" y="2218"/>
                </a:lnTo>
                <a:lnTo>
                  <a:pt x="201" y="2189"/>
                </a:lnTo>
                <a:lnTo>
                  <a:pt x="253" y="2166"/>
                </a:lnTo>
                <a:lnTo>
                  <a:pt x="311" y="2152"/>
                </a:lnTo>
                <a:lnTo>
                  <a:pt x="370" y="2147"/>
                </a:lnTo>
                <a:close/>
                <a:moveTo>
                  <a:pt x="2184" y="1845"/>
                </a:moveTo>
                <a:lnTo>
                  <a:pt x="2135" y="1848"/>
                </a:lnTo>
                <a:lnTo>
                  <a:pt x="2089" y="1861"/>
                </a:lnTo>
                <a:lnTo>
                  <a:pt x="2046" y="1882"/>
                </a:lnTo>
                <a:lnTo>
                  <a:pt x="2007" y="1908"/>
                </a:lnTo>
                <a:lnTo>
                  <a:pt x="1976" y="1941"/>
                </a:lnTo>
                <a:lnTo>
                  <a:pt x="1948" y="1979"/>
                </a:lnTo>
                <a:lnTo>
                  <a:pt x="1927" y="2023"/>
                </a:lnTo>
                <a:lnTo>
                  <a:pt x="1915" y="2068"/>
                </a:lnTo>
                <a:lnTo>
                  <a:pt x="1911" y="2117"/>
                </a:lnTo>
                <a:lnTo>
                  <a:pt x="1911" y="3561"/>
                </a:lnTo>
                <a:lnTo>
                  <a:pt x="1916" y="3611"/>
                </a:lnTo>
                <a:lnTo>
                  <a:pt x="1930" y="3660"/>
                </a:lnTo>
                <a:lnTo>
                  <a:pt x="1953" y="3704"/>
                </a:lnTo>
                <a:lnTo>
                  <a:pt x="1983" y="3744"/>
                </a:lnTo>
                <a:lnTo>
                  <a:pt x="2019" y="3777"/>
                </a:lnTo>
                <a:lnTo>
                  <a:pt x="2061" y="3803"/>
                </a:lnTo>
                <a:lnTo>
                  <a:pt x="2109" y="3823"/>
                </a:lnTo>
                <a:lnTo>
                  <a:pt x="2159" y="3833"/>
                </a:lnTo>
                <a:lnTo>
                  <a:pt x="2187" y="3840"/>
                </a:lnTo>
                <a:lnTo>
                  <a:pt x="2212" y="3856"/>
                </a:lnTo>
                <a:lnTo>
                  <a:pt x="2229" y="3878"/>
                </a:lnTo>
                <a:lnTo>
                  <a:pt x="2240" y="3906"/>
                </a:lnTo>
                <a:lnTo>
                  <a:pt x="2402" y="5402"/>
                </a:lnTo>
                <a:lnTo>
                  <a:pt x="2404" y="5413"/>
                </a:lnTo>
                <a:lnTo>
                  <a:pt x="2407" y="5451"/>
                </a:lnTo>
                <a:lnTo>
                  <a:pt x="2421" y="5488"/>
                </a:lnTo>
                <a:lnTo>
                  <a:pt x="2440" y="5519"/>
                </a:lnTo>
                <a:lnTo>
                  <a:pt x="2468" y="5547"/>
                </a:lnTo>
                <a:lnTo>
                  <a:pt x="2500" y="5566"/>
                </a:lnTo>
                <a:lnTo>
                  <a:pt x="2537" y="5580"/>
                </a:lnTo>
                <a:lnTo>
                  <a:pt x="2575" y="5584"/>
                </a:lnTo>
                <a:lnTo>
                  <a:pt x="2820" y="5584"/>
                </a:lnTo>
                <a:lnTo>
                  <a:pt x="2860" y="5580"/>
                </a:lnTo>
                <a:lnTo>
                  <a:pt x="2895" y="5566"/>
                </a:lnTo>
                <a:lnTo>
                  <a:pt x="2928" y="5547"/>
                </a:lnTo>
                <a:lnTo>
                  <a:pt x="2954" y="5519"/>
                </a:lnTo>
                <a:lnTo>
                  <a:pt x="2975" y="5488"/>
                </a:lnTo>
                <a:lnTo>
                  <a:pt x="2987" y="5451"/>
                </a:lnTo>
                <a:lnTo>
                  <a:pt x="2992" y="5413"/>
                </a:lnTo>
                <a:lnTo>
                  <a:pt x="2992" y="5402"/>
                </a:lnTo>
                <a:lnTo>
                  <a:pt x="3171" y="3910"/>
                </a:lnTo>
                <a:lnTo>
                  <a:pt x="3179" y="3882"/>
                </a:lnTo>
                <a:lnTo>
                  <a:pt x="3195" y="3859"/>
                </a:lnTo>
                <a:lnTo>
                  <a:pt x="3220" y="3842"/>
                </a:lnTo>
                <a:lnTo>
                  <a:pt x="3234" y="3837"/>
                </a:lnTo>
                <a:lnTo>
                  <a:pt x="3251" y="3833"/>
                </a:lnTo>
                <a:lnTo>
                  <a:pt x="3302" y="3823"/>
                </a:lnTo>
                <a:lnTo>
                  <a:pt x="3349" y="3803"/>
                </a:lnTo>
                <a:lnTo>
                  <a:pt x="3391" y="3777"/>
                </a:lnTo>
                <a:lnTo>
                  <a:pt x="3427" y="3744"/>
                </a:lnTo>
                <a:lnTo>
                  <a:pt x="3457" y="3704"/>
                </a:lnTo>
                <a:lnTo>
                  <a:pt x="3480" y="3660"/>
                </a:lnTo>
                <a:lnTo>
                  <a:pt x="3494" y="3611"/>
                </a:lnTo>
                <a:lnTo>
                  <a:pt x="3499" y="3561"/>
                </a:lnTo>
                <a:lnTo>
                  <a:pt x="3499" y="2117"/>
                </a:lnTo>
                <a:lnTo>
                  <a:pt x="3494" y="2068"/>
                </a:lnTo>
                <a:lnTo>
                  <a:pt x="3482" y="2023"/>
                </a:lnTo>
                <a:lnTo>
                  <a:pt x="3461" y="1979"/>
                </a:lnTo>
                <a:lnTo>
                  <a:pt x="3434" y="1941"/>
                </a:lnTo>
                <a:lnTo>
                  <a:pt x="3401" y="1908"/>
                </a:lnTo>
                <a:lnTo>
                  <a:pt x="3363" y="1882"/>
                </a:lnTo>
                <a:lnTo>
                  <a:pt x="3321" y="1861"/>
                </a:lnTo>
                <a:lnTo>
                  <a:pt x="3274" y="1848"/>
                </a:lnTo>
                <a:lnTo>
                  <a:pt x="3225" y="1845"/>
                </a:lnTo>
                <a:lnTo>
                  <a:pt x="2184" y="1845"/>
                </a:lnTo>
                <a:close/>
                <a:moveTo>
                  <a:pt x="2184" y="1669"/>
                </a:moveTo>
                <a:lnTo>
                  <a:pt x="3225" y="1669"/>
                </a:lnTo>
                <a:lnTo>
                  <a:pt x="3291" y="1674"/>
                </a:lnTo>
                <a:lnTo>
                  <a:pt x="3354" y="1688"/>
                </a:lnTo>
                <a:lnTo>
                  <a:pt x="3415" y="1711"/>
                </a:lnTo>
                <a:lnTo>
                  <a:pt x="3469" y="1740"/>
                </a:lnTo>
                <a:lnTo>
                  <a:pt x="3520" y="1779"/>
                </a:lnTo>
                <a:lnTo>
                  <a:pt x="3564" y="1822"/>
                </a:lnTo>
                <a:lnTo>
                  <a:pt x="3602" y="1873"/>
                </a:lnTo>
                <a:lnTo>
                  <a:pt x="3634" y="1929"/>
                </a:lnTo>
                <a:lnTo>
                  <a:pt x="3656" y="1988"/>
                </a:lnTo>
                <a:lnTo>
                  <a:pt x="3670" y="2051"/>
                </a:lnTo>
                <a:lnTo>
                  <a:pt x="3676" y="2117"/>
                </a:lnTo>
                <a:lnTo>
                  <a:pt x="3676" y="3561"/>
                </a:lnTo>
                <a:lnTo>
                  <a:pt x="3670" y="3627"/>
                </a:lnTo>
                <a:lnTo>
                  <a:pt x="3655" y="3692"/>
                </a:lnTo>
                <a:lnTo>
                  <a:pt x="3630" y="3753"/>
                </a:lnTo>
                <a:lnTo>
                  <a:pt x="3599" y="3809"/>
                </a:lnTo>
                <a:lnTo>
                  <a:pt x="3559" y="3861"/>
                </a:lnTo>
                <a:lnTo>
                  <a:pt x="3511" y="3905"/>
                </a:lnTo>
                <a:lnTo>
                  <a:pt x="3459" y="3943"/>
                </a:lnTo>
                <a:lnTo>
                  <a:pt x="3401" y="3974"/>
                </a:lnTo>
                <a:lnTo>
                  <a:pt x="3338" y="3995"/>
                </a:lnTo>
                <a:lnTo>
                  <a:pt x="3167" y="5418"/>
                </a:lnTo>
                <a:lnTo>
                  <a:pt x="3162" y="5479"/>
                </a:lnTo>
                <a:lnTo>
                  <a:pt x="3144" y="5537"/>
                </a:lnTo>
                <a:lnTo>
                  <a:pt x="3118" y="5591"/>
                </a:lnTo>
                <a:lnTo>
                  <a:pt x="3083" y="5638"/>
                </a:lnTo>
                <a:lnTo>
                  <a:pt x="3041" y="5680"/>
                </a:lnTo>
                <a:lnTo>
                  <a:pt x="2994" y="5713"/>
                </a:lnTo>
                <a:lnTo>
                  <a:pt x="2940" y="5739"/>
                </a:lnTo>
                <a:lnTo>
                  <a:pt x="2881" y="5755"/>
                </a:lnTo>
                <a:lnTo>
                  <a:pt x="2820" y="5760"/>
                </a:lnTo>
                <a:lnTo>
                  <a:pt x="2575" y="5760"/>
                </a:lnTo>
                <a:lnTo>
                  <a:pt x="2519" y="5755"/>
                </a:lnTo>
                <a:lnTo>
                  <a:pt x="2467" y="5743"/>
                </a:lnTo>
                <a:lnTo>
                  <a:pt x="2418" y="5722"/>
                </a:lnTo>
                <a:lnTo>
                  <a:pt x="2372" y="5694"/>
                </a:lnTo>
                <a:lnTo>
                  <a:pt x="2330" y="5661"/>
                </a:lnTo>
                <a:lnTo>
                  <a:pt x="2295" y="5620"/>
                </a:lnTo>
                <a:lnTo>
                  <a:pt x="2268" y="5575"/>
                </a:lnTo>
                <a:lnTo>
                  <a:pt x="2247" y="5526"/>
                </a:lnTo>
                <a:lnTo>
                  <a:pt x="2233" y="5474"/>
                </a:lnTo>
                <a:lnTo>
                  <a:pt x="2227" y="5418"/>
                </a:lnTo>
                <a:lnTo>
                  <a:pt x="2072" y="3995"/>
                </a:lnTo>
                <a:lnTo>
                  <a:pt x="2009" y="3973"/>
                </a:lnTo>
                <a:lnTo>
                  <a:pt x="1951" y="3943"/>
                </a:lnTo>
                <a:lnTo>
                  <a:pt x="1897" y="3905"/>
                </a:lnTo>
                <a:lnTo>
                  <a:pt x="1850" y="3859"/>
                </a:lnTo>
                <a:lnTo>
                  <a:pt x="1812" y="3809"/>
                </a:lnTo>
                <a:lnTo>
                  <a:pt x="1778" y="3753"/>
                </a:lnTo>
                <a:lnTo>
                  <a:pt x="1754" y="3692"/>
                </a:lnTo>
                <a:lnTo>
                  <a:pt x="1740" y="3627"/>
                </a:lnTo>
                <a:lnTo>
                  <a:pt x="1735" y="3561"/>
                </a:lnTo>
                <a:lnTo>
                  <a:pt x="1735" y="2117"/>
                </a:lnTo>
                <a:lnTo>
                  <a:pt x="1740" y="2051"/>
                </a:lnTo>
                <a:lnTo>
                  <a:pt x="1754" y="1988"/>
                </a:lnTo>
                <a:lnTo>
                  <a:pt x="1777" y="1929"/>
                </a:lnTo>
                <a:lnTo>
                  <a:pt x="1806" y="1873"/>
                </a:lnTo>
                <a:lnTo>
                  <a:pt x="1845" y="1822"/>
                </a:lnTo>
                <a:lnTo>
                  <a:pt x="1890" y="1779"/>
                </a:lnTo>
                <a:lnTo>
                  <a:pt x="1939" y="1740"/>
                </a:lnTo>
                <a:lnTo>
                  <a:pt x="1995" y="1711"/>
                </a:lnTo>
                <a:lnTo>
                  <a:pt x="2054" y="1688"/>
                </a:lnTo>
                <a:lnTo>
                  <a:pt x="2117" y="1674"/>
                </a:lnTo>
                <a:lnTo>
                  <a:pt x="2184" y="1669"/>
                </a:lnTo>
                <a:close/>
                <a:moveTo>
                  <a:pt x="4636" y="958"/>
                </a:moveTo>
                <a:lnTo>
                  <a:pt x="4572" y="962"/>
                </a:lnTo>
                <a:lnTo>
                  <a:pt x="4511" y="976"/>
                </a:lnTo>
                <a:lnTo>
                  <a:pt x="4453" y="998"/>
                </a:lnTo>
                <a:lnTo>
                  <a:pt x="4399" y="1028"/>
                </a:lnTo>
                <a:lnTo>
                  <a:pt x="4352" y="1065"/>
                </a:lnTo>
                <a:lnTo>
                  <a:pt x="4308" y="1107"/>
                </a:lnTo>
                <a:lnTo>
                  <a:pt x="4271" y="1155"/>
                </a:lnTo>
                <a:lnTo>
                  <a:pt x="4242" y="1210"/>
                </a:lnTo>
                <a:lnTo>
                  <a:pt x="4221" y="1267"/>
                </a:lnTo>
                <a:lnTo>
                  <a:pt x="4207" y="1328"/>
                </a:lnTo>
                <a:lnTo>
                  <a:pt x="4201" y="1393"/>
                </a:lnTo>
                <a:lnTo>
                  <a:pt x="4207" y="1456"/>
                </a:lnTo>
                <a:lnTo>
                  <a:pt x="4221" y="1517"/>
                </a:lnTo>
                <a:lnTo>
                  <a:pt x="4242" y="1576"/>
                </a:lnTo>
                <a:lnTo>
                  <a:pt x="4271" y="1629"/>
                </a:lnTo>
                <a:lnTo>
                  <a:pt x="4308" y="1677"/>
                </a:lnTo>
                <a:lnTo>
                  <a:pt x="4352" y="1719"/>
                </a:lnTo>
                <a:lnTo>
                  <a:pt x="4399" y="1756"/>
                </a:lnTo>
                <a:lnTo>
                  <a:pt x="4453" y="1786"/>
                </a:lnTo>
                <a:lnTo>
                  <a:pt x="4511" y="1808"/>
                </a:lnTo>
                <a:lnTo>
                  <a:pt x="4572" y="1822"/>
                </a:lnTo>
                <a:lnTo>
                  <a:pt x="4636" y="1827"/>
                </a:lnTo>
                <a:lnTo>
                  <a:pt x="4701" y="1822"/>
                </a:lnTo>
                <a:lnTo>
                  <a:pt x="4762" y="1808"/>
                </a:lnTo>
                <a:lnTo>
                  <a:pt x="4820" y="1786"/>
                </a:lnTo>
                <a:lnTo>
                  <a:pt x="4872" y="1756"/>
                </a:lnTo>
                <a:lnTo>
                  <a:pt x="4921" y="1719"/>
                </a:lnTo>
                <a:lnTo>
                  <a:pt x="4965" y="1677"/>
                </a:lnTo>
                <a:lnTo>
                  <a:pt x="5001" y="1629"/>
                </a:lnTo>
                <a:lnTo>
                  <a:pt x="5031" y="1576"/>
                </a:lnTo>
                <a:lnTo>
                  <a:pt x="5052" y="1517"/>
                </a:lnTo>
                <a:lnTo>
                  <a:pt x="5066" y="1456"/>
                </a:lnTo>
                <a:lnTo>
                  <a:pt x="5071" y="1393"/>
                </a:lnTo>
                <a:lnTo>
                  <a:pt x="5066" y="1328"/>
                </a:lnTo>
                <a:lnTo>
                  <a:pt x="5052" y="1267"/>
                </a:lnTo>
                <a:lnTo>
                  <a:pt x="5031" y="1210"/>
                </a:lnTo>
                <a:lnTo>
                  <a:pt x="5001" y="1155"/>
                </a:lnTo>
                <a:lnTo>
                  <a:pt x="4965" y="1107"/>
                </a:lnTo>
                <a:lnTo>
                  <a:pt x="4921" y="1065"/>
                </a:lnTo>
                <a:lnTo>
                  <a:pt x="4872" y="1028"/>
                </a:lnTo>
                <a:lnTo>
                  <a:pt x="4820" y="998"/>
                </a:lnTo>
                <a:lnTo>
                  <a:pt x="4762" y="976"/>
                </a:lnTo>
                <a:lnTo>
                  <a:pt x="4701" y="962"/>
                </a:lnTo>
                <a:lnTo>
                  <a:pt x="4636" y="958"/>
                </a:lnTo>
                <a:close/>
                <a:moveTo>
                  <a:pt x="779" y="958"/>
                </a:moveTo>
                <a:lnTo>
                  <a:pt x="714" y="962"/>
                </a:lnTo>
                <a:lnTo>
                  <a:pt x="653" y="976"/>
                </a:lnTo>
                <a:lnTo>
                  <a:pt x="596" y="998"/>
                </a:lnTo>
                <a:lnTo>
                  <a:pt x="543" y="1028"/>
                </a:lnTo>
                <a:lnTo>
                  <a:pt x="494" y="1065"/>
                </a:lnTo>
                <a:lnTo>
                  <a:pt x="451" y="1107"/>
                </a:lnTo>
                <a:lnTo>
                  <a:pt x="414" y="1155"/>
                </a:lnTo>
                <a:lnTo>
                  <a:pt x="384" y="1210"/>
                </a:lnTo>
                <a:lnTo>
                  <a:pt x="363" y="1267"/>
                </a:lnTo>
                <a:lnTo>
                  <a:pt x="349" y="1328"/>
                </a:lnTo>
                <a:lnTo>
                  <a:pt x="344" y="1393"/>
                </a:lnTo>
                <a:lnTo>
                  <a:pt x="349" y="1456"/>
                </a:lnTo>
                <a:lnTo>
                  <a:pt x="363" y="1517"/>
                </a:lnTo>
                <a:lnTo>
                  <a:pt x="384" y="1576"/>
                </a:lnTo>
                <a:lnTo>
                  <a:pt x="414" y="1629"/>
                </a:lnTo>
                <a:lnTo>
                  <a:pt x="451" y="1677"/>
                </a:lnTo>
                <a:lnTo>
                  <a:pt x="494" y="1719"/>
                </a:lnTo>
                <a:lnTo>
                  <a:pt x="543" y="1756"/>
                </a:lnTo>
                <a:lnTo>
                  <a:pt x="596" y="1786"/>
                </a:lnTo>
                <a:lnTo>
                  <a:pt x="653" y="1808"/>
                </a:lnTo>
                <a:lnTo>
                  <a:pt x="714" y="1822"/>
                </a:lnTo>
                <a:lnTo>
                  <a:pt x="779" y="1827"/>
                </a:lnTo>
                <a:lnTo>
                  <a:pt x="844" y="1822"/>
                </a:lnTo>
                <a:lnTo>
                  <a:pt x="905" y="1808"/>
                </a:lnTo>
                <a:lnTo>
                  <a:pt x="963" y="1786"/>
                </a:lnTo>
                <a:lnTo>
                  <a:pt x="1017" y="1756"/>
                </a:lnTo>
                <a:lnTo>
                  <a:pt x="1064" y="1719"/>
                </a:lnTo>
                <a:lnTo>
                  <a:pt x="1108" y="1677"/>
                </a:lnTo>
                <a:lnTo>
                  <a:pt x="1144" y="1629"/>
                </a:lnTo>
                <a:lnTo>
                  <a:pt x="1174" y="1576"/>
                </a:lnTo>
                <a:lnTo>
                  <a:pt x="1197" y="1517"/>
                </a:lnTo>
                <a:lnTo>
                  <a:pt x="1209" y="1456"/>
                </a:lnTo>
                <a:lnTo>
                  <a:pt x="1214" y="1393"/>
                </a:lnTo>
                <a:lnTo>
                  <a:pt x="1209" y="1328"/>
                </a:lnTo>
                <a:lnTo>
                  <a:pt x="1197" y="1267"/>
                </a:lnTo>
                <a:lnTo>
                  <a:pt x="1174" y="1210"/>
                </a:lnTo>
                <a:lnTo>
                  <a:pt x="1144" y="1155"/>
                </a:lnTo>
                <a:lnTo>
                  <a:pt x="1108" y="1107"/>
                </a:lnTo>
                <a:lnTo>
                  <a:pt x="1064" y="1065"/>
                </a:lnTo>
                <a:lnTo>
                  <a:pt x="1017" y="1028"/>
                </a:lnTo>
                <a:lnTo>
                  <a:pt x="963" y="998"/>
                </a:lnTo>
                <a:lnTo>
                  <a:pt x="905" y="976"/>
                </a:lnTo>
                <a:lnTo>
                  <a:pt x="844" y="962"/>
                </a:lnTo>
                <a:lnTo>
                  <a:pt x="779" y="958"/>
                </a:lnTo>
                <a:close/>
                <a:moveTo>
                  <a:pt x="4636" y="782"/>
                </a:moveTo>
                <a:lnTo>
                  <a:pt x="4713" y="787"/>
                </a:lnTo>
                <a:lnTo>
                  <a:pt x="4787" y="801"/>
                </a:lnTo>
                <a:lnTo>
                  <a:pt x="4856" y="822"/>
                </a:lnTo>
                <a:lnTo>
                  <a:pt x="4923" y="854"/>
                </a:lnTo>
                <a:lnTo>
                  <a:pt x="4986" y="892"/>
                </a:lnTo>
                <a:lnTo>
                  <a:pt x="5042" y="936"/>
                </a:lnTo>
                <a:lnTo>
                  <a:pt x="5092" y="986"/>
                </a:lnTo>
                <a:lnTo>
                  <a:pt x="5138" y="1044"/>
                </a:lnTo>
                <a:lnTo>
                  <a:pt x="5176" y="1105"/>
                </a:lnTo>
                <a:lnTo>
                  <a:pt x="5206" y="1171"/>
                </a:lnTo>
                <a:lnTo>
                  <a:pt x="5229" y="1243"/>
                </a:lnTo>
                <a:lnTo>
                  <a:pt x="5243" y="1316"/>
                </a:lnTo>
                <a:lnTo>
                  <a:pt x="5248" y="1393"/>
                </a:lnTo>
                <a:lnTo>
                  <a:pt x="5243" y="1468"/>
                </a:lnTo>
                <a:lnTo>
                  <a:pt x="5229" y="1543"/>
                </a:lnTo>
                <a:lnTo>
                  <a:pt x="5206" y="1613"/>
                </a:lnTo>
                <a:lnTo>
                  <a:pt x="5176" y="1679"/>
                </a:lnTo>
                <a:lnTo>
                  <a:pt x="5138" y="1740"/>
                </a:lnTo>
                <a:lnTo>
                  <a:pt x="5092" y="1798"/>
                </a:lnTo>
                <a:lnTo>
                  <a:pt x="5042" y="1848"/>
                </a:lnTo>
                <a:lnTo>
                  <a:pt x="4986" y="1894"/>
                </a:lnTo>
                <a:lnTo>
                  <a:pt x="4923" y="1930"/>
                </a:lnTo>
                <a:lnTo>
                  <a:pt x="4856" y="1962"/>
                </a:lnTo>
                <a:lnTo>
                  <a:pt x="4787" y="1985"/>
                </a:lnTo>
                <a:lnTo>
                  <a:pt x="4713" y="1999"/>
                </a:lnTo>
                <a:lnTo>
                  <a:pt x="4636" y="2002"/>
                </a:lnTo>
                <a:lnTo>
                  <a:pt x="4559" y="1999"/>
                </a:lnTo>
                <a:lnTo>
                  <a:pt x="4486" y="1985"/>
                </a:lnTo>
                <a:lnTo>
                  <a:pt x="4416" y="1962"/>
                </a:lnTo>
                <a:lnTo>
                  <a:pt x="4350" y="1930"/>
                </a:lnTo>
                <a:lnTo>
                  <a:pt x="4287" y="1894"/>
                </a:lnTo>
                <a:lnTo>
                  <a:pt x="4231" y="1848"/>
                </a:lnTo>
                <a:lnTo>
                  <a:pt x="4180" y="1798"/>
                </a:lnTo>
                <a:lnTo>
                  <a:pt x="4135" y="1740"/>
                </a:lnTo>
                <a:lnTo>
                  <a:pt x="4097" y="1679"/>
                </a:lnTo>
                <a:lnTo>
                  <a:pt x="4067" y="1613"/>
                </a:lnTo>
                <a:lnTo>
                  <a:pt x="4044" y="1543"/>
                </a:lnTo>
                <a:lnTo>
                  <a:pt x="4030" y="1468"/>
                </a:lnTo>
                <a:lnTo>
                  <a:pt x="4025" y="1393"/>
                </a:lnTo>
                <a:lnTo>
                  <a:pt x="4030" y="1316"/>
                </a:lnTo>
                <a:lnTo>
                  <a:pt x="4044" y="1243"/>
                </a:lnTo>
                <a:lnTo>
                  <a:pt x="4067" y="1171"/>
                </a:lnTo>
                <a:lnTo>
                  <a:pt x="4097" y="1105"/>
                </a:lnTo>
                <a:lnTo>
                  <a:pt x="4135" y="1044"/>
                </a:lnTo>
                <a:lnTo>
                  <a:pt x="4180" y="986"/>
                </a:lnTo>
                <a:lnTo>
                  <a:pt x="4231" y="936"/>
                </a:lnTo>
                <a:lnTo>
                  <a:pt x="4287" y="892"/>
                </a:lnTo>
                <a:lnTo>
                  <a:pt x="4350" y="854"/>
                </a:lnTo>
                <a:lnTo>
                  <a:pt x="4416" y="822"/>
                </a:lnTo>
                <a:lnTo>
                  <a:pt x="4486" y="801"/>
                </a:lnTo>
                <a:lnTo>
                  <a:pt x="4559" y="787"/>
                </a:lnTo>
                <a:lnTo>
                  <a:pt x="4636" y="782"/>
                </a:lnTo>
                <a:close/>
                <a:moveTo>
                  <a:pt x="779" y="782"/>
                </a:moveTo>
                <a:lnTo>
                  <a:pt x="856" y="787"/>
                </a:lnTo>
                <a:lnTo>
                  <a:pt x="929" y="801"/>
                </a:lnTo>
                <a:lnTo>
                  <a:pt x="999" y="822"/>
                </a:lnTo>
                <a:lnTo>
                  <a:pt x="1066" y="854"/>
                </a:lnTo>
                <a:lnTo>
                  <a:pt x="1129" y="892"/>
                </a:lnTo>
                <a:lnTo>
                  <a:pt x="1184" y="936"/>
                </a:lnTo>
                <a:lnTo>
                  <a:pt x="1237" y="986"/>
                </a:lnTo>
                <a:lnTo>
                  <a:pt x="1281" y="1044"/>
                </a:lnTo>
                <a:lnTo>
                  <a:pt x="1319" y="1105"/>
                </a:lnTo>
                <a:lnTo>
                  <a:pt x="1349" y="1171"/>
                </a:lnTo>
                <a:lnTo>
                  <a:pt x="1371" y="1243"/>
                </a:lnTo>
                <a:lnTo>
                  <a:pt x="1385" y="1316"/>
                </a:lnTo>
                <a:lnTo>
                  <a:pt x="1391" y="1393"/>
                </a:lnTo>
                <a:lnTo>
                  <a:pt x="1385" y="1468"/>
                </a:lnTo>
                <a:lnTo>
                  <a:pt x="1371" y="1543"/>
                </a:lnTo>
                <a:lnTo>
                  <a:pt x="1349" y="1613"/>
                </a:lnTo>
                <a:lnTo>
                  <a:pt x="1319" y="1679"/>
                </a:lnTo>
                <a:lnTo>
                  <a:pt x="1281" y="1740"/>
                </a:lnTo>
                <a:lnTo>
                  <a:pt x="1237" y="1798"/>
                </a:lnTo>
                <a:lnTo>
                  <a:pt x="1184" y="1848"/>
                </a:lnTo>
                <a:lnTo>
                  <a:pt x="1129" y="1894"/>
                </a:lnTo>
                <a:lnTo>
                  <a:pt x="1066" y="1930"/>
                </a:lnTo>
                <a:lnTo>
                  <a:pt x="999" y="1962"/>
                </a:lnTo>
                <a:lnTo>
                  <a:pt x="929" y="1985"/>
                </a:lnTo>
                <a:lnTo>
                  <a:pt x="856" y="1999"/>
                </a:lnTo>
                <a:lnTo>
                  <a:pt x="779" y="2002"/>
                </a:lnTo>
                <a:lnTo>
                  <a:pt x="702" y="1999"/>
                </a:lnTo>
                <a:lnTo>
                  <a:pt x="629" y="1985"/>
                </a:lnTo>
                <a:lnTo>
                  <a:pt x="559" y="1962"/>
                </a:lnTo>
                <a:lnTo>
                  <a:pt x="493" y="1930"/>
                </a:lnTo>
                <a:lnTo>
                  <a:pt x="430" y="1894"/>
                </a:lnTo>
                <a:lnTo>
                  <a:pt x="374" y="1848"/>
                </a:lnTo>
                <a:lnTo>
                  <a:pt x="323" y="1798"/>
                </a:lnTo>
                <a:lnTo>
                  <a:pt x="278" y="1740"/>
                </a:lnTo>
                <a:lnTo>
                  <a:pt x="239" y="1679"/>
                </a:lnTo>
                <a:lnTo>
                  <a:pt x="210" y="1613"/>
                </a:lnTo>
                <a:lnTo>
                  <a:pt x="187" y="1543"/>
                </a:lnTo>
                <a:lnTo>
                  <a:pt x="173" y="1468"/>
                </a:lnTo>
                <a:lnTo>
                  <a:pt x="168" y="1393"/>
                </a:lnTo>
                <a:lnTo>
                  <a:pt x="173" y="1316"/>
                </a:lnTo>
                <a:lnTo>
                  <a:pt x="187" y="1243"/>
                </a:lnTo>
                <a:lnTo>
                  <a:pt x="210" y="1171"/>
                </a:lnTo>
                <a:lnTo>
                  <a:pt x="239" y="1105"/>
                </a:lnTo>
                <a:lnTo>
                  <a:pt x="278" y="1044"/>
                </a:lnTo>
                <a:lnTo>
                  <a:pt x="323" y="986"/>
                </a:lnTo>
                <a:lnTo>
                  <a:pt x="374" y="936"/>
                </a:lnTo>
                <a:lnTo>
                  <a:pt x="430" y="892"/>
                </a:lnTo>
                <a:lnTo>
                  <a:pt x="493" y="854"/>
                </a:lnTo>
                <a:lnTo>
                  <a:pt x="559" y="822"/>
                </a:lnTo>
                <a:lnTo>
                  <a:pt x="629" y="801"/>
                </a:lnTo>
                <a:lnTo>
                  <a:pt x="702" y="787"/>
                </a:lnTo>
                <a:lnTo>
                  <a:pt x="779" y="782"/>
                </a:lnTo>
                <a:close/>
                <a:moveTo>
                  <a:pt x="2708" y="176"/>
                </a:moveTo>
                <a:lnTo>
                  <a:pt x="2629" y="182"/>
                </a:lnTo>
                <a:lnTo>
                  <a:pt x="2554" y="197"/>
                </a:lnTo>
                <a:lnTo>
                  <a:pt x="2482" y="222"/>
                </a:lnTo>
                <a:lnTo>
                  <a:pt x="2414" y="255"/>
                </a:lnTo>
                <a:lnTo>
                  <a:pt x="2353" y="297"/>
                </a:lnTo>
                <a:lnTo>
                  <a:pt x="2297" y="346"/>
                </a:lnTo>
                <a:lnTo>
                  <a:pt x="2248" y="401"/>
                </a:lnTo>
                <a:lnTo>
                  <a:pt x="2206" y="464"/>
                </a:lnTo>
                <a:lnTo>
                  <a:pt x="2171" y="531"/>
                </a:lnTo>
                <a:lnTo>
                  <a:pt x="2147" y="602"/>
                </a:lnTo>
                <a:lnTo>
                  <a:pt x="2131" y="679"/>
                </a:lnTo>
                <a:lnTo>
                  <a:pt x="2126" y="758"/>
                </a:lnTo>
                <a:lnTo>
                  <a:pt x="2131" y="836"/>
                </a:lnTo>
                <a:lnTo>
                  <a:pt x="2147" y="911"/>
                </a:lnTo>
                <a:lnTo>
                  <a:pt x="2171" y="983"/>
                </a:lnTo>
                <a:lnTo>
                  <a:pt x="2206" y="1051"/>
                </a:lnTo>
                <a:lnTo>
                  <a:pt x="2248" y="1112"/>
                </a:lnTo>
                <a:lnTo>
                  <a:pt x="2297" y="1168"/>
                </a:lnTo>
                <a:lnTo>
                  <a:pt x="2353" y="1217"/>
                </a:lnTo>
                <a:lnTo>
                  <a:pt x="2414" y="1258"/>
                </a:lnTo>
                <a:lnTo>
                  <a:pt x="2482" y="1292"/>
                </a:lnTo>
                <a:lnTo>
                  <a:pt x="2554" y="1318"/>
                </a:lnTo>
                <a:lnTo>
                  <a:pt x="2629" y="1332"/>
                </a:lnTo>
                <a:lnTo>
                  <a:pt x="2708" y="1339"/>
                </a:lnTo>
                <a:lnTo>
                  <a:pt x="2786" y="1332"/>
                </a:lnTo>
                <a:lnTo>
                  <a:pt x="2861" y="1318"/>
                </a:lnTo>
                <a:lnTo>
                  <a:pt x="2935" y="1292"/>
                </a:lnTo>
                <a:lnTo>
                  <a:pt x="3001" y="1258"/>
                </a:lnTo>
                <a:lnTo>
                  <a:pt x="3062" y="1217"/>
                </a:lnTo>
                <a:lnTo>
                  <a:pt x="3118" y="1168"/>
                </a:lnTo>
                <a:lnTo>
                  <a:pt x="3169" y="1112"/>
                </a:lnTo>
                <a:lnTo>
                  <a:pt x="3209" y="1051"/>
                </a:lnTo>
                <a:lnTo>
                  <a:pt x="3244" y="983"/>
                </a:lnTo>
                <a:lnTo>
                  <a:pt x="3269" y="911"/>
                </a:lnTo>
                <a:lnTo>
                  <a:pt x="3284" y="836"/>
                </a:lnTo>
                <a:lnTo>
                  <a:pt x="3289" y="758"/>
                </a:lnTo>
                <a:lnTo>
                  <a:pt x="3284" y="679"/>
                </a:lnTo>
                <a:lnTo>
                  <a:pt x="3269" y="602"/>
                </a:lnTo>
                <a:lnTo>
                  <a:pt x="3244" y="531"/>
                </a:lnTo>
                <a:lnTo>
                  <a:pt x="3209" y="464"/>
                </a:lnTo>
                <a:lnTo>
                  <a:pt x="3169" y="401"/>
                </a:lnTo>
                <a:lnTo>
                  <a:pt x="3118" y="346"/>
                </a:lnTo>
                <a:lnTo>
                  <a:pt x="3062" y="297"/>
                </a:lnTo>
                <a:lnTo>
                  <a:pt x="3001" y="255"/>
                </a:lnTo>
                <a:lnTo>
                  <a:pt x="2935" y="222"/>
                </a:lnTo>
                <a:lnTo>
                  <a:pt x="2861" y="197"/>
                </a:lnTo>
                <a:lnTo>
                  <a:pt x="2786" y="182"/>
                </a:lnTo>
                <a:lnTo>
                  <a:pt x="2708" y="176"/>
                </a:lnTo>
                <a:close/>
                <a:moveTo>
                  <a:pt x="2708" y="0"/>
                </a:moveTo>
                <a:lnTo>
                  <a:pt x="2797" y="5"/>
                </a:lnTo>
                <a:lnTo>
                  <a:pt x="2881" y="19"/>
                </a:lnTo>
                <a:lnTo>
                  <a:pt x="2963" y="44"/>
                </a:lnTo>
                <a:lnTo>
                  <a:pt x="3041" y="77"/>
                </a:lnTo>
                <a:lnTo>
                  <a:pt x="3113" y="119"/>
                </a:lnTo>
                <a:lnTo>
                  <a:pt x="3181" y="166"/>
                </a:lnTo>
                <a:lnTo>
                  <a:pt x="3244" y="222"/>
                </a:lnTo>
                <a:lnTo>
                  <a:pt x="3298" y="285"/>
                </a:lnTo>
                <a:lnTo>
                  <a:pt x="3347" y="351"/>
                </a:lnTo>
                <a:lnTo>
                  <a:pt x="3389" y="424"/>
                </a:lnTo>
                <a:lnTo>
                  <a:pt x="3420" y="503"/>
                </a:lnTo>
                <a:lnTo>
                  <a:pt x="3445" y="583"/>
                </a:lnTo>
                <a:lnTo>
                  <a:pt x="3461" y="669"/>
                </a:lnTo>
                <a:lnTo>
                  <a:pt x="3466" y="758"/>
                </a:lnTo>
                <a:lnTo>
                  <a:pt x="3461" y="845"/>
                </a:lnTo>
                <a:lnTo>
                  <a:pt x="3445" y="930"/>
                </a:lnTo>
                <a:lnTo>
                  <a:pt x="3420" y="1012"/>
                </a:lnTo>
                <a:lnTo>
                  <a:pt x="3389" y="1089"/>
                </a:lnTo>
                <a:lnTo>
                  <a:pt x="3347" y="1162"/>
                </a:lnTo>
                <a:lnTo>
                  <a:pt x="3298" y="1231"/>
                </a:lnTo>
                <a:lnTo>
                  <a:pt x="3244" y="1292"/>
                </a:lnTo>
                <a:lnTo>
                  <a:pt x="3181" y="1347"/>
                </a:lnTo>
                <a:lnTo>
                  <a:pt x="3113" y="1396"/>
                </a:lnTo>
                <a:lnTo>
                  <a:pt x="3041" y="1437"/>
                </a:lnTo>
                <a:lnTo>
                  <a:pt x="2963" y="1470"/>
                </a:lnTo>
                <a:lnTo>
                  <a:pt x="2881" y="1494"/>
                </a:lnTo>
                <a:lnTo>
                  <a:pt x="2797" y="1508"/>
                </a:lnTo>
                <a:lnTo>
                  <a:pt x="2708" y="1513"/>
                </a:lnTo>
                <a:lnTo>
                  <a:pt x="2620" y="1508"/>
                </a:lnTo>
                <a:lnTo>
                  <a:pt x="2535" y="1494"/>
                </a:lnTo>
                <a:lnTo>
                  <a:pt x="2453" y="1470"/>
                </a:lnTo>
                <a:lnTo>
                  <a:pt x="2376" y="1437"/>
                </a:lnTo>
                <a:lnTo>
                  <a:pt x="2302" y="1396"/>
                </a:lnTo>
                <a:lnTo>
                  <a:pt x="2234" y="1347"/>
                </a:lnTo>
                <a:lnTo>
                  <a:pt x="2173" y="1292"/>
                </a:lnTo>
                <a:lnTo>
                  <a:pt x="2117" y="1231"/>
                </a:lnTo>
                <a:lnTo>
                  <a:pt x="2068" y="1162"/>
                </a:lnTo>
                <a:lnTo>
                  <a:pt x="2028" y="1089"/>
                </a:lnTo>
                <a:lnTo>
                  <a:pt x="1995" y="1012"/>
                </a:lnTo>
                <a:lnTo>
                  <a:pt x="1971" y="930"/>
                </a:lnTo>
                <a:lnTo>
                  <a:pt x="1955" y="845"/>
                </a:lnTo>
                <a:lnTo>
                  <a:pt x="1950" y="758"/>
                </a:lnTo>
                <a:lnTo>
                  <a:pt x="1955" y="669"/>
                </a:lnTo>
                <a:lnTo>
                  <a:pt x="1971" y="583"/>
                </a:lnTo>
                <a:lnTo>
                  <a:pt x="1995" y="503"/>
                </a:lnTo>
                <a:lnTo>
                  <a:pt x="2028" y="424"/>
                </a:lnTo>
                <a:lnTo>
                  <a:pt x="2068" y="351"/>
                </a:lnTo>
                <a:lnTo>
                  <a:pt x="2117" y="285"/>
                </a:lnTo>
                <a:lnTo>
                  <a:pt x="2173" y="222"/>
                </a:lnTo>
                <a:lnTo>
                  <a:pt x="2234" y="166"/>
                </a:lnTo>
                <a:lnTo>
                  <a:pt x="2302" y="119"/>
                </a:lnTo>
                <a:lnTo>
                  <a:pt x="2376" y="77"/>
                </a:lnTo>
                <a:lnTo>
                  <a:pt x="2453" y="44"/>
                </a:lnTo>
                <a:lnTo>
                  <a:pt x="2535" y="19"/>
                </a:lnTo>
                <a:lnTo>
                  <a:pt x="2620" y="5"/>
                </a:lnTo>
                <a:lnTo>
                  <a:pt x="2708"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Tree>
    <p:extLst>
      <p:ext uri="{BB962C8B-B14F-4D97-AF65-F5344CB8AC3E}">
        <p14:creationId xmlns:p14="http://schemas.microsoft.com/office/powerpoint/2010/main" val="2736800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447C4E-DADE-7F9A-D18B-8425FC1C2F94}"/>
              </a:ext>
            </a:extLst>
          </p:cNvPr>
          <p:cNvSpPr txBox="1"/>
          <p:nvPr/>
        </p:nvSpPr>
        <p:spPr>
          <a:xfrm>
            <a:off x="1106829" y="3235285"/>
            <a:ext cx="15560715" cy="2954655"/>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0" i="1" u="none" strike="noStrike" kern="1200" cap="none" spc="0" normalizeH="0" baseline="0" noProof="0">
                <a:ln>
                  <a:noFill/>
                </a:ln>
                <a:solidFill>
                  <a:schemeClr val="bg2"/>
                </a:solidFill>
                <a:effectLst/>
                <a:uLnTx/>
                <a:uFillTx/>
                <a:latin typeface="Anova Light"/>
                <a:ea typeface="+mn-ea"/>
                <a:cs typeface="+mn-cs"/>
              </a:rPr>
              <a:t>SAS is equipped to be the trusted partner to help organizations to confidently succeed in the Generative AI journey, across different industries, regulatory scenarios and use cases</a:t>
            </a:r>
          </a:p>
        </p:txBody>
      </p:sp>
      <p:sp>
        <p:nvSpPr>
          <p:cNvPr id="4" name="Title 1">
            <a:extLst>
              <a:ext uri="{FF2B5EF4-FFF2-40B4-BE49-F238E27FC236}">
                <a16:creationId xmlns:a16="http://schemas.microsoft.com/office/drawing/2014/main" id="{54488C95-8BA4-C6FA-E23D-2C3B048D2D38}"/>
              </a:ext>
            </a:extLst>
          </p:cNvPr>
          <p:cNvSpPr txBox="1">
            <a:spLocks/>
          </p:cNvSpPr>
          <p:nvPr/>
        </p:nvSpPr>
        <p:spPr>
          <a:xfrm>
            <a:off x="1106829" y="664004"/>
            <a:ext cx="15773400" cy="775597"/>
          </a:xfrm>
          <a:prstGeom prst="rect">
            <a:avLst/>
          </a:prstGeom>
        </p:spPr>
        <p:txBody>
          <a:bodyPr vert="horz"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a:t>SAS’ Approach to Generative AI</a:t>
            </a:r>
          </a:p>
        </p:txBody>
      </p:sp>
      <p:sp>
        <p:nvSpPr>
          <p:cNvPr id="5" name="TextBox 4">
            <a:extLst>
              <a:ext uri="{FF2B5EF4-FFF2-40B4-BE49-F238E27FC236}">
                <a16:creationId xmlns:a16="http://schemas.microsoft.com/office/drawing/2014/main" id="{A268443B-493D-4855-8109-BA426D30B303}"/>
              </a:ext>
            </a:extLst>
          </p:cNvPr>
          <p:cNvSpPr txBox="1"/>
          <p:nvPr/>
        </p:nvSpPr>
        <p:spPr>
          <a:xfrm>
            <a:off x="1883409" y="7739402"/>
            <a:ext cx="14220239" cy="492443"/>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a:ln>
                  <a:noFill/>
                </a:ln>
                <a:solidFill>
                  <a:srgbClr val="000000"/>
                </a:solidFill>
                <a:effectLst/>
                <a:uLnTx/>
                <a:uFillTx/>
                <a:latin typeface="Anova Light"/>
                <a:ea typeface="+mn-ea"/>
                <a:cs typeface="+mn-cs"/>
              </a:rPr>
              <a:t>Accelerated Business Productivity </a:t>
            </a:r>
            <a:r>
              <a:rPr kumimoji="0" lang="en-US" sz="3200" b="0" i="0" u="none" strike="noStrike" kern="1200" cap="none" spc="0" normalizeH="0" baseline="0" noProof="0">
                <a:ln>
                  <a:noFill/>
                </a:ln>
                <a:solidFill>
                  <a:srgbClr val="000000"/>
                </a:solidFill>
                <a:effectLst/>
                <a:uLnTx/>
                <a:uFillTx/>
                <a:latin typeface="Anova Light"/>
                <a:ea typeface="+mn-ea"/>
                <a:cs typeface="+mn-cs"/>
              </a:rPr>
              <a:t>- </a:t>
            </a:r>
            <a:r>
              <a:rPr kumimoji="0" lang="en-US" sz="3200" b="1" i="0" u="none" strike="noStrike" kern="1200" cap="none" spc="0" normalizeH="0" baseline="0" noProof="0">
                <a:ln>
                  <a:noFill/>
                </a:ln>
                <a:solidFill>
                  <a:srgbClr val="000000"/>
                </a:solidFill>
                <a:effectLst/>
                <a:uLnTx/>
                <a:uFillTx/>
                <a:latin typeface="Anova Light"/>
                <a:ea typeface="+mn-ea"/>
                <a:cs typeface="+mn-cs"/>
              </a:rPr>
              <a:t>Results You Can Trust </a:t>
            </a:r>
            <a:r>
              <a:rPr kumimoji="0" lang="en-US" sz="3200" b="0" i="0" u="none" strike="noStrike" kern="1200" cap="none" spc="0" normalizeH="0" baseline="0" noProof="0">
                <a:ln>
                  <a:noFill/>
                </a:ln>
                <a:solidFill>
                  <a:srgbClr val="000000"/>
                </a:solidFill>
                <a:effectLst/>
                <a:uLnTx/>
                <a:uFillTx/>
                <a:latin typeface="Anova Light"/>
                <a:ea typeface="+mn-ea"/>
                <a:cs typeface="+mn-cs"/>
              </a:rPr>
              <a:t>- </a:t>
            </a:r>
            <a:r>
              <a:rPr kumimoji="0" lang="en-US" sz="3200" b="1" i="0" u="none" strike="noStrike" kern="1200" cap="none" spc="0" normalizeH="0" baseline="0" noProof="0">
                <a:ln>
                  <a:noFill/>
                </a:ln>
                <a:solidFill>
                  <a:srgbClr val="000000"/>
                </a:solidFill>
                <a:effectLst/>
                <a:uLnTx/>
                <a:uFillTx/>
                <a:latin typeface="Anova Light"/>
                <a:ea typeface="+mn-ea"/>
                <a:cs typeface="+mn-cs"/>
              </a:rPr>
              <a:t>Faster Innovation</a:t>
            </a:r>
          </a:p>
        </p:txBody>
      </p:sp>
    </p:spTree>
    <p:extLst>
      <p:ext uri="{BB962C8B-B14F-4D97-AF65-F5344CB8AC3E}">
        <p14:creationId xmlns:p14="http://schemas.microsoft.com/office/powerpoint/2010/main" val="25737868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9"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dissolve">
                                      <p:cBhvr>
                                        <p:cTn id="11"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_Plat_BG">
            <a:extLst>
              <a:ext uri="{FF2B5EF4-FFF2-40B4-BE49-F238E27FC236}">
                <a16:creationId xmlns:a16="http://schemas.microsoft.com/office/drawing/2014/main" id="{35F5BF27-C19D-97EA-3E9B-A3333DAF71F7}"/>
              </a:ext>
            </a:extLst>
          </p:cNvPr>
          <p:cNvSpPr/>
          <p:nvPr/>
        </p:nvSpPr>
        <p:spPr>
          <a:xfrm>
            <a:off x="3187099" y="2197905"/>
            <a:ext cx="1619704" cy="1620000"/>
          </a:xfrm>
          <a:prstGeom prst="roundRect">
            <a:avLst>
              <a:gd name="adj" fmla="val 3585"/>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_R_01">
            <a:extLst>
              <a:ext uri="{FF2B5EF4-FFF2-40B4-BE49-F238E27FC236}">
                <a16:creationId xmlns:a16="http://schemas.microsoft.com/office/drawing/2014/main" id="{3C4A30ED-1C4B-E381-E982-65C1624E772A}"/>
              </a:ext>
            </a:extLst>
          </p:cNvPr>
          <p:cNvSpPr/>
          <p:nvPr/>
        </p:nvSpPr>
        <p:spPr>
          <a:xfrm>
            <a:off x="2965035" y="1988244"/>
            <a:ext cx="3778333" cy="5603445"/>
          </a:xfrm>
          <a:prstGeom prst="roundRect">
            <a:avLst>
              <a:gd name="adj" fmla="val 1268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_R_02">
            <a:extLst>
              <a:ext uri="{FF2B5EF4-FFF2-40B4-BE49-F238E27FC236}">
                <a16:creationId xmlns:a16="http://schemas.microsoft.com/office/drawing/2014/main" id="{B6E8D765-4010-F5A5-AC90-05975BD40020}"/>
              </a:ext>
            </a:extLst>
          </p:cNvPr>
          <p:cNvSpPr/>
          <p:nvPr/>
        </p:nvSpPr>
        <p:spPr>
          <a:xfrm>
            <a:off x="7023404" y="1988244"/>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6" name="!!_R_04">
            <a:extLst>
              <a:ext uri="{FF2B5EF4-FFF2-40B4-BE49-F238E27FC236}">
                <a16:creationId xmlns:a16="http://schemas.microsoft.com/office/drawing/2014/main" id="{FC2D6B1C-788B-7586-C65F-CB70C49DDBDA}"/>
              </a:ext>
            </a:extLst>
          </p:cNvPr>
          <p:cNvSpPr/>
          <p:nvPr/>
        </p:nvSpPr>
        <p:spPr>
          <a:xfrm>
            <a:off x="11090027" y="1980521"/>
            <a:ext cx="3778333" cy="5603445"/>
          </a:xfrm>
          <a:prstGeom prst="roundRect">
            <a:avLst>
              <a:gd name="adj" fmla="val 12687"/>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endParaRPr lang="en-GB"/>
          </a:p>
        </p:txBody>
      </p:sp>
      <p:sp>
        <p:nvSpPr>
          <p:cNvPr id="7" name="!!_Plat_Copy">
            <a:extLst>
              <a:ext uri="{FF2B5EF4-FFF2-40B4-BE49-F238E27FC236}">
                <a16:creationId xmlns:a16="http://schemas.microsoft.com/office/drawing/2014/main" id="{76B8D182-915D-ED30-FCD0-C8AA81EDE39F}"/>
              </a:ext>
            </a:extLst>
          </p:cNvPr>
          <p:cNvSpPr/>
          <p:nvPr/>
        </p:nvSpPr>
        <p:spPr>
          <a:xfrm>
            <a:off x="3263432" y="6137322"/>
            <a:ext cx="3216705" cy="80021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a:solidFill>
                  <a:schemeClr val="bg1"/>
                </a:solidFill>
                <a:latin typeface="+mj-lt"/>
              </a:rPr>
              <a:t>Explain, Govern, Orchestrate LLMs</a:t>
            </a:r>
          </a:p>
          <a:p>
            <a:pPr algn="ctr"/>
            <a:endParaRPr lang="en-US" sz="800">
              <a:solidFill>
                <a:schemeClr val="bg1"/>
              </a:solidFill>
            </a:endParaRPr>
          </a:p>
        </p:txBody>
      </p:sp>
      <p:cxnSp>
        <p:nvCxnSpPr>
          <p:cNvPr id="8" name="!!_Box_Div_01">
            <a:extLst>
              <a:ext uri="{FF2B5EF4-FFF2-40B4-BE49-F238E27FC236}">
                <a16:creationId xmlns:a16="http://schemas.microsoft.com/office/drawing/2014/main" id="{DC66F9FA-03C9-64CE-BC88-8E38CA48F248}"/>
              </a:ext>
            </a:extLst>
          </p:cNvPr>
          <p:cNvCxnSpPr>
            <a:cxnSpLocks/>
          </p:cNvCxnSpPr>
          <p:nvPr/>
        </p:nvCxnSpPr>
        <p:spPr>
          <a:xfrm>
            <a:off x="3228602" y="5917644"/>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9" name="!!_R_01_Text">
            <a:extLst>
              <a:ext uri="{FF2B5EF4-FFF2-40B4-BE49-F238E27FC236}">
                <a16:creationId xmlns:a16="http://schemas.microsoft.com/office/drawing/2014/main" id="{5FF8C0D8-1ADA-3EA3-2D7D-03A2A753DC16}"/>
              </a:ext>
            </a:extLst>
          </p:cNvPr>
          <p:cNvSpPr txBox="1"/>
          <p:nvPr/>
        </p:nvSpPr>
        <p:spPr>
          <a:xfrm>
            <a:off x="3228602" y="5114026"/>
            <a:ext cx="3251199" cy="443198"/>
          </a:xfrm>
          <a:prstGeom prst="rect">
            <a:avLst/>
          </a:prstGeom>
          <a:solidFill>
            <a:schemeClr val="accent2"/>
          </a:solidFill>
        </p:spPr>
        <p:txBody>
          <a:bodyPr wrap="square" lIns="0" tIns="0" rIns="0" bIns="0" anchor="ctr">
            <a:spAutoFit/>
          </a:bodyPr>
          <a:lstStyle/>
          <a:p>
            <a:pPr algn="ctr" defTabSz="914445">
              <a:lnSpc>
                <a:spcPct val="90000"/>
              </a:lnSpc>
              <a:spcAft>
                <a:spcPts val="1200"/>
              </a:spcAft>
              <a:defRPr/>
            </a:pPr>
            <a:r>
              <a:rPr lang="en-US" sz="3200" b="1">
                <a:solidFill>
                  <a:schemeClr val="bg1"/>
                </a:solidFill>
                <a:latin typeface="+mj-lt"/>
                <a:cs typeface="Calibri"/>
              </a:rPr>
              <a:t>SAS Viya</a:t>
            </a:r>
          </a:p>
        </p:txBody>
      </p:sp>
      <p:sp>
        <p:nvSpPr>
          <p:cNvPr id="10" name="!!_Dot_01A">
            <a:extLst>
              <a:ext uri="{FF2B5EF4-FFF2-40B4-BE49-F238E27FC236}">
                <a16:creationId xmlns:a16="http://schemas.microsoft.com/office/drawing/2014/main" id="{89B88BD7-1D89-4C65-0097-B5A1AAB4D0CC}"/>
              </a:ext>
            </a:extLst>
          </p:cNvPr>
          <p:cNvSpPr/>
          <p:nvPr/>
        </p:nvSpPr>
        <p:spPr>
          <a:xfrm>
            <a:off x="4391162" y="710611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_Dot_01B">
            <a:extLst>
              <a:ext uri="{FF2B5EF4-FFF2-40B4-BE49-F238E27FC236}">
                <a16:creationId xmlns:a16="http://schemas.microsoft.com/office/drawing/2014/main" id="{F8DED1F2-5CBE-BA79-0460-37FCB6C334A9}"/>
              </a:ext>
            </a:extLst>
          </p:cNvPr>
          <p:cNvSpPr/>
          <p:nvPr/>
        </p:nvSpPr>
        <p:spPr>
          <a:xfrm>
            <a:off x="4758600" y="710611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_Dot_01C">
            <a:extLst>
              <a:ext uri="{FF2B5EF4-FFF2-40B4-BE49-F238E27FC236}">
                <a16:creationId xmlns:a16="http://schemas.microsoft.com/office/drawing/2014/main" id="{E2562372-076F-6833-DD78-3BAAE2CBD282}"/>
              </a:ext>
            </a:extLst>
          </p:cNvPr>
          <p:cNvSpPr/>
          <p:nvPr/>
        </p:nvSpPr>
        <p:spPr>
          <a:xfrm>
            <a:off x="5126038" y="710611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_Box_Div_02">
            <a:extLst>
              <a:ext uri="{FF2B5EF4-FFF2-40B4-BE49-F238E27FC236}">
                <a16:creationId xmlns:a16="http://schemas.microsoft.com/office/drawing/2014/main" id="{2A1D0324-ED8D-CD9B-E4E5-6AAAFC8F6BF9}"/>
              </a:ext>
            </a:extLst>
          </p:cNvPr>
          <p:cNvCxnSpPr/>
          <p:nvPr/>
        </p:nvCxnSpPr>
        <p:spPr>
          <a:xfrm>
            <a:off x="7286971" y="5917644"/>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14" name="!!_R_02_Text">
            <a:extLst>
              <a:ext uri="{FF2B5EF4-FFF2-40B4-BE49-F238E27FC236}">
                <a16:creationId xmlns:a16="http://schemas.microsoft.com/office/drawing/2014/main" id="{5E2F7157-AC7E-2331-CB10-5B7E630F811A}"/>
              </a:ext>
            </a:extLst>
          </p:cNvPr>
          <p:cNvSpPr txBox="1"/>
          <p:nvPr/>
        </p:nvSpPr>
        <p:spPr>
          <a:xfrm>
            <a:off x="7286971" y="4892427"/>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latin typeface="+mj-lt"/>
                <a:cs typeface="Calibri"/>
              </a:rPr>
              <a:t>Viya Copilots</a:t>
            </a:r>
          </a:p>
        </p:txBody>
      </p:sp>
      <p:sp>
        <p:nvSpPr>
          <p:cNvPr id="15" name="!!_Dot_02A">
            <a:extLst>
              <a:ext uri="{FF2B5EF4-FFF2-40B4-BE49-F238E27FC236}">
                <a16:creationId xmlns:a16="http://schemas.microsoft.com/office/drawing/2014/main" id="{1FF6E329-EFE6-ABCD-10D2-A559281676A1}"/>
              </a:ext>
            </a:extLst>
          </p:cNvPr>
          <p:cNvSpPr/>
          <p:nvPr/>
        </p:nvSpPr>
        <p:spPr>
          <a:xfrm>
            <a:off x="8446152" y="7106117"/>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_Dot_02B">
            <a:extLst>
              <a:ext uri="{FF2B5EF4-FFF2-40B4-BE49-F238E27FC236}">
                <a16:creationId xmlns:a16="http://schemas.microsoft.com/office/drawing/2014/main" id="{37D5C956-AB9F-3EAE-9791-75979CFF2786}"/>
              </a:ext>
            </a:extLst>
          </p:cNvPr>
          <p:cNvSpPr/>
          <p:nvPr/>
        </p:nvSpPr>
        <p:spPr>
          <a:xfrm>
            <a:off x="8813590" y="7106117"/>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_Dot_02C">
            <a:extLst>
              <a:ext uri="{FF2B5EF4-FFF2-40B4-BE49-F238E27FC236}">
                <a16:creationId xmlns:a16="http://schemas.microsoft.com/office/drawing/2014/main" id="{0FB884E7-ED96-ABDA-21B0-920E3E994382}"/>
              </a:ext>
            </a:extLst>
          </p:cNvPr>
          <p:cNvSpPr/>
          <p:nvPr/>
        </p:nvSpPr>
        <p:spPr>
          <a:xfrm>
            <a:off x="9181028" y="7106117"/>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_SLD_Copy">
            <a:extLst>
              <a:ext uri="{FF2B5EF4-FFF2-40B4-BE49-F238E27FC236}">
                <a16:creationId xmlns:a16="http://schemas.microsoft.com/office/drawing/2014/main" id="{62482FCF-1E3D-7CA4-0729-C8123F1303F3}"/>
              </a:ext>
            </a:extLst>
          </p:cNvPr>
          <p:cNvSpPr/>
          <p:nvPr/>
        </p:nvSpPr>
        <p:spPr>
          <a:xfrm>
            <a:off x="11496676" y="6129599"/>
            <a:ext cx="2965036" cy="80021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GB" sz="2200">
                <a:solidFill>
                  <a:schemeClr val="accent6"/>
                </a:solidFill>
                <a:latin typeface="+mj-lt"/>
              </a:rPr>
              <a:t>Mitigate Data </a:t>
            </a:r>
            <a:br>
              <a:rPr lang="en-GB" sz="2200">
                <a:solidFill>
                  <a:schemeClr val="accent6"/>
                </a:solidFill>
                <a:latin typeface="+mj-lt"/>
              </a:rPr>
            </a:br>
            <a:r>
              <a:rPr lang="en-GB" sz="2200">
                <a:solidFill>
                  <a:schemeClr val="accent6"/>
                </a:solidFill>
                <a:latin typeface="+mj-lt"/>
              </a:rPr>
              <a:t>Quality and Scarcity</a:t>
            </a:r>
          </a:p>
          <a:p>
            <a:pPr algn="ctr"/>
            <a:endParaRPr lang="en-US" sz="800">
              <a:solidFill>
                <a:schemeClr val="accent6"/>
              </a:solidFill>
            </a:endParaRPr>
          </a:p>
        </p:txBody>
      </p:sp>
      <p:cxnSp>
        <p:nvCxnSpPr>
          <p:cNvPr id="19" name="!!_Box_Div_04">
            <a:extLst>
              <a:ext uri="{FF2B5EF4-FFF2-40B4-BE49-F238E27FC236}">
                <a16:creationId xmlns:a16="http://schemas.microsoft.com/office/drawing/2014/main" id="{BEBC098C-26F8-6802-BE64-B56BA6F2DCD9}"/>
              </a:ext>
            </a:extLst>
          </p:cNvPr>
          <p:cNvCxnSpPr/>
          <p:nvPr/>
        </p:nvCxnSpPr>
        <p:spPr>
          <a:xfrm>
            <a:off x="11344275" y="5909921"/>
            <a:ext cx="3251199" cy="0"/>
          </a:xfrm>
          <a:prstGeom prst="line">
            <a:avLst/>
          </a:prstGeom>
          <a:ln w="12700">
            <a:solidFill>
              <a:schemeClr val="accent6"/>
            </a:solidFill>
            <a:tailEnd type="none"/>
          </a:ln>
        </p:spPr>
        <p:style>
          <a:lnRef idx="1">
            <a:schemeClr val="accent1"/>
          </a:lnRef>
          <a:fillRef idx="0">
            <a:schemeClr val="accent1"/>
          </a:fillRef>
          <a:effectRef idx="0">
            <a:schemeClr val="accent1"/>
          </a:effectRef>
          <a:fontRef idx="minor">
            <a:schemeClr val="tx1"/>
          </a:fontRef>
        </p:style>
      </p:cxnSp>
      <p:sp>
        <p:nvSpPr>
          <p:cNvPr id="20" name="!!_R_04_Text">
            <a:extLst>
              <a:ext uri="{FF2B5EF4-FFF2-40B4-BE49-F238E27FC236}">
                <a16:creationId xmlns:a16="http://schemas.microsoft.com/office/drawing/2014/main" id="{F51AC4CF-9C79-AC31-F440-1786626244EA}"/>
              </a:ext>
            </a:extLst>
          </p:cNvPr>
          <p:cNvSpPr txBox="1"/>
          <p:nvPr/>
        </p:nvSpPr>
        <p:spPr>
          <a:xfrm>
            <a:off x="11353594" y="4884704"/>
            <a:ext cx="3251199" cy="886397"/>
          </a:xfrm>
          <a:prstGeom prst="rect">
            <a:avLst/>
          </a:prstGeom>
          <a:noFill/>
        </p:spPr>
        <p:txBody>
          <a:bodyPr wrap="square" lIns="0" tIns="0" rIns="0" bIns="0" anchor="ctr">
            <a:normAutofit/>
          </a:bodyPr>
          <a:lstStyle/>
          <a:p>
            <a:pPr algn="ctr" defTabSz="914445">
              <a:lnSpc>
                <a:spcPct val="90000"/>
              </a:lnSpc>
              <a:spcAft>
                <a:spcPts val="1200"/>
              </a:spcAft>
              <a:defRPr/>
            </a:pPr>
            <a:r>
              <a:rPr lang="en-GB" sz="3200" b="1">
                <a:latin typeface="+mj-lt"/>
                <a:cs typeface="Calibri"/>
              </a:rPr>
              <a:t>Synthetic Data Generation</a:t>
            </a:r>
          </a:p>
        </p:txBody>
      </p:sp>
      <p:sp>
        <p:nvSpPr>
          <p:cNvPr id="21" name="!!_Dot_04A">
            <a:extLst>
              <a:ext uri="{FF2B5EF4-FFF2-40B4-BE49-F238E27FC236}">
                <a16:creationId xmlns:a16="http://schemas.microsoft.com/office/drawing/2014/main" id="{01277046-1CAA-9087-035B-82955710BE04}"/>
              </a:ext>
            </a:extLst>
          </p:cNvPr>
          <p:cNvSpPr/>
          <p:nvPr/>
        </p:nvSpPr>
        <p:spPr>
          <a:xfrm>
            <a:off x="12512775" y="7098394"/>
            <a:ext cx="180000" cy="18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_Dot_04B">
            <a:extLst>
              <a:ext uri="{FF2B5EF4-FFF2-40B4-BE49-F238E27FC236}">
                <a16:creationId xmlns:a16="http://schemas.microsoft.com/office/drawing/2014/main" id="{DA4E95CC-E0DF-C690-CC61-CE56F71E11DA}"/>
              </a:ext>
            </a:extLst>
          </p:cNvPr>
          <p:cNvSpPr/>
          <p:nvPr/>
        </p:nvSpPr>
        <p:spPr>
          <a:xfrm>
            <a:off x="12880213" y="7098394"/>
            <a:ext cx="180000" cy="18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_Dot_04C">
            <a:extLst>
              <a:ext uri="{FF2B5EF4-FFF2-40B4-BE49-F238E27FC236}">
                <a16:creationId xmlns:a16="http://schemas.microsoft.com/office/drawing/2014/main" id="{512D8AD5-F665-79BF-356F-F67CDE3DE75D}"/>
              </a:ext>
            </a:extLst>
          </p:cNvPr>
          <p:cNvSpPr/>
          <p:nvPr/>
        </p:nvSpPr>
        <p:spPr>
          <a:xfrm>
            <a:off x="13247651" y="7098394"/>
            <a:ext cx="180000" cy="18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_R_01_Top">
            <a:extLst>
              <a:ext uri="{FF2B5EF4-FFF2-40B4-BE49-F238E27FC236}">
                <a16:creationId xmlns:a16="http://schemas.microsoft.com/office/drawing/2014/main" id="{1A785E40-02DC-F4C6-AD8A-7BB10236E146}"/>
              </a:ext>
            </a:extLst>
          </p:cNvPr>
          <p:cNvSpPr/>
          <p:nvPr/>
        </p:nvSpPr>
        <p:spPr>
          <a:xfrm>
            <a:off x="2965035" y="1988244"/>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5" name="!!_R_02_Top">
            <a:extLst>
              <a:ext uri="{FF2B5EF4-FFF2-40B4-BE49-F238E27FC236}">
                <a16:creationId xmlns:a16="http://schemas.microsoft.com/office/drawing/2014/main" id="{C82B32A2-1777-CA61-22C0-9FC9F1E8AD96}"/>
              </a:ext>
            </a:extLst>
          </p:cNvPr>
          <p:cNvSpPr/>
          <p:nvPr/>
        </p:nvSpPr>
        <p:spPr>
          <a:xfrm>
            <a:off x="7022685" y="1988244"/>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6" name="!!_R_04_Top">
            <a:extLst>
              <a:ext uri="{FF2B5EF4-FFF2-40B4-BE49-F238E27FC236}">
                <a16:creationId xmlns:a16="http://schemas.microsoft.com/office/drawing/2014/main" id="{CD9B1C03-3400-33FA-986D-C70C3B844592}"/>
              </a:ext>
            </a:extLst>
          </p:cNvPr>
          <p:cNvSpPr/>
          <p:nvPr/>
        </p:nvSpPr>
        <p:spPr>
          <a:xfrm>
            <a:off x="11080335" y="1980521"/>
            <a:ext cx="3778333" cy="2649886"/>
          </a:xfrm>
          <a:custGeom>
            <a:avLst/>
            <a:gdLst>
              <a:gd name="connsiteX0" fmla="*/ 479357 w 3778333"/>
              <a:gd name="connsiteY0" fmla="*/ 0 h 2649886"/>
              <a:gd name="connsiteX1" fmla="*/ 3298976 w 3778333"/>
              <a:gd name="connsiteY1" fmla="*/ 0 h 2649886"/>
              <a:gd name="connsiteX2" fmla="*/ 3778333 w 3778333"/>
              <a:gd name="connsiteY2" fmla="*/ 479357 h 2649886"/>
              <a:gd name="connsiteX3" fmla="*/ 3778333 w 3778333"/>
              <a:gd name="connsiteY3" fmla="*/ 2119657 h 2649886"/>
              <a:gd name="connsiteX4" fmla="*/ 3631920 w 3778333"/>
              <a:gd name="connsiteY4" fmla="*/ 2208605 h 2649886"/>
              <a:gd name="connsiteX5" fmla="*/ 1889166 w 3778333"/>
              <a:gd name="connsiteY5" fmla="*/ 2649886 h 2649886"/>
              <a:gd name="connsiteX6" fmla="*/ 146413 w 3778333"/>
              <a:gd name="connsiteY6" fmla="*/ 2208605 h 2649886"/>
              <a:gd name="connsiteX7" fmla="*/ 0 w 3778333"/>
              <a:gd name="connsiteY7" fmla="*/ 2119657 h 2649886"/>
              <a:gd name="connsiteX8" fmla="*/ 0 w 3778333"/>
              <a:gd name="connsiteY8" fmla="*/ 479357 h 2649886"/>
              <a:gd name="connsiteX9" fmla="*/ 479357 w 3778333"/>
              <a:gd name="connsiteY9" fmla="*/ 0 h 2649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8333" h="2649886">
                <a:moveTo>
                  <a:pt x="479357" y="0"/>
                </a:moveTo>
                <a:lnTo>
                  <a:pt x="3298976" y="0"/>
                </a:lnTo>
                <a:cubicBezTo>
                  <a:pt x="3563718" y="0"/>
                  <a:pt x="3778333" y="214615"/>
                  <a:pt x="3778333" y="479357"/>
                </a:cubicBezTo>
                <a:lnTo>
                  <a:pt x="3778333" y="2119657"/>
                </a:lnTo>
                <a:lnTo>
                  <a:pt x="3631920" y="2208605"/>
                </a:lnTo>
                <a:cubicBezTo>
                  <a:pt x="3113863" y="2490030"/>
                  <a:pt x="2520183" y="2649886"/>
                  <a:pt x="1889166" y="2649886"/>
                </a:cubicBezTo>
                <a:cubicBezTo>
                  <a:pt x="1258149" y="2649886"/>
                  <a:pt x="664469" y="2490030"/>
                  <a:pt x="146413" y="2208605"/>
                </a:cubicBezTo>
                <a:lnTo>
                  <a:pt x="0" y="2119657"/>
                </a:lnTo>
                <a:lnTo>
                  <a:pt x="0" y="479357"/>
                </a:lnTo>
                <a:cubicBezTo>
                  <a:pt x="0" y="214615"/>
                  <a:pt x="214615" y="0"/>
                  <a:pt x="479357" y="0"/>
                </a:cubicBezTo>
                <a:close/>
              </a:path>
            </a:pathLst>
          </a:cu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7" name="!!_R01_Ico_01">
            <a:extLst>
              <a:ext uri="{FF2B5EF4-FFF2-40B4-BE49-F238E27FC236}">
                <a16:creationId xmlns:a16="http://schemas.microsoft.com/office/drawing/2014/main" id="{2F42C2DC-C7F5-B52C-D077-BD43BBB8958F}"/>
              </a:ext>
            </a:extLst>
          </p:cNvPr>
          <p:cNvSpPr/>
          <p:nvPr/>
        </p:nvSpPr>
        <p:spPr>
          <a:xfrm>
            <a:off x="3678765" y="3008449"/>
            <a:ext cx="2386041" cy="1391986"/>
          </a:xfrm>
          <a:custGeom>
            <a:avLst/>
            <a:gdLst>
              <a:gd name="connsiteX0" fmla="*/ 1102070 w 2386041"/>
              <a:gd name="connsiteY0" fmla="*/ 1366540 h 1391986"/>
              <a:gd name="connsiteX1" fmla="*/ 31615 w 2386041"/>
              <a:gd name="connsiteY1" fmla="*/ 748547 h 1391986"/>
              <a:gd name="connsiteX2" fmla="*/ 31615 w 2386041"/>
              <a:gd name="connsiteY2" fmla="*/ 638931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540"/>
                </a:moveTo>
                <a:lnTo>
                  <a:pt x="31615" y="748547"/>
                </a:lnTo>
                <a:cubicBezTo>
                  <a:pt x="-10538" y="724188"/>
                  <a:pt x="-10538" y="663290"/>
                  <a:pt x="31615" y="638931"/>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9"/>
                  <a:pt x="1160832" y="1400469"/>
                  <a:pt x="1102070" y="1366540"/>
                </a:cubicBezTo>
                <a:close/>
              </a:path>
            </a:pathLst>
          </a:custGeom>
          <a:solidFill>
            <a:schemeClr val="accent2"/>
          </a:solidFill>
          <a:ln w="25400" cap="rnd">
            <a:solidFill>
              <a:schemeClr val="bg1"/>
            </a:solidFill>
            <a:prstDash val="solid"/>
            <a:round/>
          </a:ln>
        </p:spPr>
        <p:txBody>
          <a:bodyPr rtlCol="0" anchor="ctr"/>
          <a:lstStyle/>
          <a:p>
            <a:endParaRPr lang="en-GB"/>
          </a:p>
        </p:txBody>
      </p:sp>
      <p:sp>
        <p:nvSpPr>
          <p:cNvPr id="28" name="!!_R01_Ico_02">
            <a:extLst>
              <a:ext uri="{FF2B5EF4-FFF2-40B4-BE49-F238E27FC236}">
                <a16:creationId xmlns:a16="http://schemas.microsoft.com/office/drawing/2014/main" id="{A60A8C89-E44F-7B23-C20D-E8D5937B614D}"/>
              </a:ext>
            </a:extLst>
          </p:cNvPr>
          <p:cNvSpPr/>
          <p:nvPr/>
        </p:nvSpPr>
        <p:spPr>
          <a:xfrm>
            <a:off x="3678765" y="2628907"/>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solidFill>
            <a:schemeClr val="accent2"/>
          </a:solidFill>
          <a:ln w="25400" cap="rnd">
            <a:solidFill>
              <a:schemeClr val="bg1"/>
            </a:solidFill>
            <a:prstDash val="solid"/>
            <a:round/>
          </a:ln>
        </p:spPr>
        <p:txBody>
          <a:bodyPr rtlCol="0" anchor="ctr"/>
          <a:lstStyle/>
          <a:p>
            <a:endParaRPr lang="en-GB"/>
          </a:p>
        </p:txBody>
      </p:sp>
      <p:sp>
        <p:nvSpPr>
          <p:cNvPr id="29" name="!!_R01_Ico_03">
            <a:extLst>
              <a:ext uri="{FF2B5EF4-FFF2-40B4-BE49-F238E27FC236}">
                <a16:creationId xmlns:a16="http://schemas.microsoft.com/office/drawing/2014/main" id="{362ECAB9-C6CF-50ED-616F-1BDBB761F788}"/>
              </a:ext>
            </a:extLst>
          </p:cNvPr>
          <p:cNvSpPr/>
          <p:nvPr/>
        </p:nvSpPr>
        <p:spPr>
          <a:xfrm>
            <a:off x="3678765" y="2186014"/>
            <a:ext cx="2386041" cy="1391986"/>
          </a:xfrm>
          <a:custGeom>
            <a:avLst/>
            <a:gdLst>
              <a:gd name="connsiteX0" fmla="*/ 1102070 w 2386041"/>
              <a:gd name="connsiteY0" fmla="*/ 1366461 h 1391986"/>
              <a:gd name="connsiteX1" fmla="*/ 31615 w 2386041"/>
              <a:gd name="connsiteY1" fmla="*/ 748468 h 1391986"/>
              <a:gd name="connsiteX2" fmla="*/ 31615 w 2386041"/>
              <a:gd name="connsiteY2" fmla="*/ 638852 h 1391986"/>
              <a:gd name="connsiteX3" fmla="*/ 1094161 w 2386041"/>
              <a:gd name="connsiteY3" fmla="*/ 25447 h 1391986"/>
              <a:gd name="connsiteX4" fmla="*/ 1283972 w 2386041"/>
              <a:gd name="connsiteY4" fmla="*/ 25447 h 1391986"/>
              <a:gd name="connsiteX5" fmla="*/ 2354426 w 2386041"/>
              <a:gd name="connsiteY5" fmla="*/ 643439 h 1391986"/>
              <a:gd name="connsiteX6" fmla="*/ 2354426 w 2386041"/>
              <a:gd name="connsiteY6" fmla="*/ 753055 h 1391986"/>
              <a:gd name="connsiteX7" fmla="*/ 1291881 w 2386041"/>
              <a:gd name="connsiteY7" fmla="*/ 1366540 h 1391986"/>
              <a:gd name="connsiteX8" fmla="*/ 1102070 w 2386041"/>
              <a:gd name="connsiteY8" fmla="*/ 1366540 h 1391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6041" h="1391986">
                <a:moveTo>
                  <a:pt x="1102070" y="1366461"/>
                </a:moveTo>
                <a:lnTo>
                  <a:pt x="31615" y="748468"/>
                </a:lnTo>
                <a:cubicBezTo>
                  <a:pt x="-10538" y="724109"/>
                  <a:pt x="-10538" y="663211"/>
                  <a:pt x="31615" y="638852"/>
                </a:cubicBezTo>
                <a:lnTo>
                  <a:pt x="1094161" y="25447"/>
                </a:lnTo>
                <a:cubicBezTo>
                  <a:pt x="1152923" y="-8482"/>
                  <a:pt x="1225210" y="-8482"/>
                  <a:pt x="1283972" y="25447"/>
                </a:cubicBezTo>
                <a:lnTo>
                  <a:pt x="2354426" y="643439"/>
                </a:lnTo>
                <a:cubicBezTo>
                  <a:pt x="2396580" y="667798"/>
                  <a:pt x="2396580" y="728696"/>
                  <a:pt x="2354426" y="753055"/>
                </a:cubicBezTo>
                <a:lnTo>
                  <a:pt x="1291881" y="1366540"/>
                </a:lnTo>
                <a:cubicBezTo>
                  <a:pt x="1233118" y="1400468"/>
                  <a:pt x="1160832" y="1400468"/>
                  <a:pt x="1102070" y="1366540"/>
                </a:cubicBezTo>
                <a:close/>
              </a:path>
            </a:pathLst>
          </a:custGeom>
          <a:solidFill>
            <a:schemeClr val="accent2"/>
          </a:solidFill>
          <a:ln w="25400" cap="rnd">
            <a:solidFill>
              <a:schemeClr val="bg1"/>
            </a:solidFill>
            <a:prstDash val="solid"/>
            <a:round/>
          </a:ln>
        </p:spPr>
        <p:txBody>
          <a:bodyPr rtlCol="0" anchor="ctr"/>
          <a:lstStyle/>
          <a:p>
            <a:endParaRPr lang="en-GB"/>
          </a:p>
        </p:txBody>
      </p:sp>
      <p:sp>
        <p:nvSpPr>
          <p:cNvPr id="30" name="!!_R02_Ico_01">
            <a:extLst>
              <a:ext uri="{FF2B5EF4-FFF2-40B4-BE49-F238E27FC236}">
                <a16:creationId xmlns:a16="http://schemas.microsoft.com/office/drawing/2014/main" id="{F6A5F75D-CC74-0717-60A9-37CC9E2FCF57}"/>
              </a:ext>
            </a:extLst>
          </p:cNvPr>
          <p:cNvSpPr/>
          <p:nvPr/>
        </p:nvSpPr>
        <p:spPr>
          <a:xfrm rot="2700000">
            <a:off x="7490466" y="2704497"/>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1" name="!!_R02_Ico_01a">
            <a:extLst>
              <a:ext uri="{FF2B5EF4-FFF2-40B4-BE49-F238E27FC236}">
                <a16:creationId xmlns:a16="http://schemas.microsoft.com/office/drawing/2014/main" id="{4FA73ECE-4FAF-C8D5-A2B2-B125EFA2E6EC}"/>
              </a:ext>
            </a:extLst>
          </p:cNvPr>
          <p:cNvSpPr/>
          <p:nvPr/>
        </p:nvSpPr>
        <p:spPr>
          <a:xfrm rot="8100000">
            <a:off x="7490515" y="3407739"/>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2" name="!!_R02_Ico_02">
            <a:extLst>
              <a:ext uri="{FF2B5EF4-FFF2-40B4-BE49-F238E27FC236}">
                <a16:creationId xmlns:a16="http://schemas.microsoft.com/office/drawing/2014/main" id="{4BA1B930-6935-29B6-4653-6CFE03D89A5D}"/>
              </a:ext>
            </a:extLst>
          </p:cNvPr>
          <p:cNvSpPr/>
          <p:nvPr/>
        </p:nvSpPr>
        <p:spPr>
          <a:xfrm rot="2700000">
            <a:off x="8253774" y="2704533"/>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3" name="!!_R02_Ico_02a">
            <a:extLst>
              <a:ext uri="{FF2B5EF4-FFF2-40B4-BE49-F238E27FC236}">
                <a16:creationId xmlns:a16="http://schemas.microsoft.com/office/drawing/2014/main" id="{3155A690-050E-12CE-1DB0-20A5FABDAB3C}"/>
              </a:ext>
            </a:extLst>
          </p:cNvPr>
          <p:cNvSpPr/>
          <p:nvPr/>
        </p:nvSpPr>
        <p:spPr>
          <a:xfrm rot="8100000">
            <a:off x="8253751" y="3407671"/>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9" y="0"/>
                  <a:pt x="1321326" y="73947"/>
                  <a:pt x="1321326" y="165166"/>
                </a:cubicBezTo>
                <a:lnTo>
                  <a:pt x="1321326" y="165166"/>
                </a:lnTo>
                <a:cubicBezTo>
                  <a:pt x="1321326" y="256384"/>
                  <a:pt x="1247379"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4" name="!!_R02_Ico_03">
            <a:extLst>
              <a:ext uri="{FF2B5EF4-FFF2-40B4-BE49-F238E27FC236}">
                <a16:creationId xmlns:a16="http://schemas.microsoft.com/office/drawing/2014/main" id="{7AD344DA-F089-8C8A-21F4-88ED51D87EB8}"/>
              </a:ext>
            </a:extLst>
          </p:cNvPr>
          <p:cNvSpPr/>
          <p:nvPr/>
        </p:nvSpPr>
        <p:spPr>
          <a:xfrm rot="2700000">
            <a:off x="9039498" y="2704481"/>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5" name="!!_R02_Ico_03a">
            <a:extLst>
              <a:ext uri="{FF2B5EF4-FFF2-40B4-BE49-F238E27FC236}">
                <a16:creationId xmlns:a16="http://schemas.microsoft.com/office/drawing/2014/main" id="{FD857EAB-E86C-7B52-405F-EE3A2F0D3D4E}"/>
              </a:ext>
            </a:extLst>
          </p:cNvPr>
          <p:cNvSpPr/>
          <p:nvPr/>
        </p:nvSpPr>
        <p:spPr>
          <a:xfrm rot="8100000">
            <a:off x="9039475" y="3407723"/>
            <a:ext cx="1321325" cy="330331"/>
          </a:xfrm>
          <a:custGeom>
            <a:avLst/>
            <a:gdLst>
              <a:gd name="connsiteX0" fmla="*/ 1156160 w 1321325"/>
              <a:gd name="connsiteY0" fmla="*/ 0 h 330331"/>
              <a:gd name="connsiteX1" fmla="*/ 1321326 w 1321325"/>
              <a:gd name="connsiteY1" fmla="*/ 165166 h 330331"/>
              <a:gd name="connsiteX2" fmla="*/ 1321326 w 1321325"/>
              <a:gd name="connsiteY2" fmla="*/ 165166 h 330331"/>
              <a:gd name="connsiteX3" fmla="*/ 1156160 w 1321325"/>
              <a:gd name="connsiteY3" fmla="*/ 330331 h 330331"/>
              <a:gd name="connsiteX4" fmla="*/ 165166 w 1321325"/>
              <a:gd name="connsiteY4" fmla="*/ 330331 h 330331"/>
              <a:gd name="connsiteX5" fmla="*/ 0 w 1321325"/>
              <a:gd name="connsiteY5" fmla="*/ 165166 h 330331"/>
              <a:gd name="connsiteX6" fmla="*/ 0 w 1321325"/>
              <a:gd name="connsiteY6" fmla="*/ 165166 h 330331"/>
              <a:gd name="connsiteX7" fmla="*/ 165166 w 1321325"/>
              <a:gd name="connsiteY7" fmla="*/ 0 h 330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21325" h="330331">
                <a:moveTo>
                  <a:pt x="1156160" y="0"/>
                </a:moveTo>
                <a:cubicBezTo>
                  <a:pt x="1247378" y="0"/>
                  <a:pt x="1321326" y="73947"/>
                  <a:pt x="1321326" y="165166"/>
                </a:cubicBezTo>
                <a:lnTo>
                  <a:pt x="1321326" y="165166"/>
                </a:lnTo>
                <a:cubicBezTo>
                  <a:pt x="1321326" y="256384"/>
                  <a:pt x="1247378" y="330331"/>
                  <a:pt x="1156160" y="330331"/>
                </a:cubicBezTo>
                <a:lnTo>
                  <a:pt x="165166" y="330331"/>
                </a:lnTo>
                <a:cubicBezTo>
                  <a:pt x="73947" y="330331"/>
                  <a:pt x="0" y="256384"/>
                  <a:pt x="0" y="165166"/>
                </a:cubicBezTo>
                <a:lnTo>
                  <a:pt x="0" y="165166"/>
                </a:lnTo>
                <a:cubicBezTo>
                  <a:pt x="0" y="73947"/>
                  <a:pt x="73947" y="0"/>
                  <a:pt x="165166" y="0"/>
                </a:cubicBezTo>
                <a:close/>
              </a:path>
            </a:pathLst>
          </a:custGeom>
          <a:noFill/>
          <a:ln w="25400" cap="rnd">
            <a:solidFill>
              <a:schemeClr val="bg1"/>
            </a:solidFill>
            <a:prstDash val="solid"/>
            <a:round/>
          </a:ln>
        </p:spPr>
        <p:txBody>
          <a:bodyPr rtlCol="0" anchor="ctr"/>
          <a:lstStyle/>
          <a:p>
            <a:endParaRPr lang="en-GB"/>
          </a:p>
        </p:txBody>
      </p:sp>
      <p:sp>
        <p:nvSpPr>
          <p:cNvPr id="36" name="!!_R04_Ico_Line">
            <a:extLst>
              <a:ext uri="{FF2B5EF4-FFF2-40B4-BE49-F238E27FC236}">
                <a16:creationId xmlns:a16="http://schemas.microsoft.com/office/drawing/2014/main" id="{3D8B5294-877F-AAA2-48C4-3699A18DFE81}"/>
              </a:ext>
            </a:extLst>
          </p:cNvPr>
          <p:cNvSpPr/>
          <p:nvPr/>
        </p:nvSpPr>
        <p:spPr>
          <a:xfrm>
            <a:off x="11965199" y="2516939"/>
            <a:ext cx="2063936" cy="1572523"/>
          </a:xfrm>
          <a:custGeom>
            <a:avLst/>
            <a:gdLst>
              <a:gd name="connsiteX0" fmla="*/ 0 w 2063936"/>
              <a:gd name="connsiteY0" fmla="*/ 1277675 h 1572523"/>
              <a:gd name="connsiteX1" fmla="*/ 393131 w 2063936"/>
              <a:gd name="connsiteY1" fmla="*/ 491414 h 1572523"/>
              <a:gd name="connsiteX2" fmla="*/ 687979 w 2063936"/>
              <a:gd name="connsiteY2" fmla="*/ 1572523 h 1572523"/>
              <a:gd name="connsiteX3" fmla="*/ 1081110 w 2063936"/>
              <a:gd name="connsiteY3" fmla="*/ 0 h 1572523"/>
              <a:gd name="connsiteX4" fmla="*/ 1375958 w 2063936"/>
              <a:gd name="connsiteY4" fmla="*/ 1081110 h 1572523"/>
              <a:gd name="connsiteX5" fmla="*/ 1670806 w 2063936"/>
              <a:gd name="connsiteY5" fmla="*/ 687979 h 1572523"/>
              <a:gd name="connsiteX6" fmla="*/ 2063937 w 2063936"/>
              <a:gd name="connsiteY6" fmla="*/ 1277675 h 1572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63936" h="1572523">
                <a:moveTo>
                  <a:pt x="0" y="1277675"/>
                </a:moveTo>
                <a:cubicBezTo>
                  <a:pt x="393131" y="1277675"/>
                  <a:pt x="196565" y="491414"/>
                  <a:pt x="393131" y="491414"/>
                </a:cubicBezTo>
                <a:cubicBezTo>
                  <a:pt x="589696" y="491414"/>
                  <a:pt x="393131" y="1572523"/>
                  <a:pt x="687979" y="1572523"/>
                </a:cubicBezTo>
                <a:cubicBezTo>
                  <a:pt x="982827" y="1572523"/>
                  <a:pt x="786262" y="0"/>
                  <a:pt x="1081110" y="0"/>
                </a:cubicBezTo>
                <a:cubicBezTo>
                  <a:pt x="1375958" y="0"/>
                  <a:pt x="1179392" y="1081110"/>
                  <a:pt x="1375958" y="1081110"/>
                </a:cubicBezTo>
                <a:cubicBezTo>
                  <a:pt x="1572523" y="1081110"/>
                  <a:pt x="1474240" y="687979"/>
                  <a:pt x="1670806" y="687979"/>
                </a:cubicBezTo>
                <a:cubicBezTo>
                  <a:pt x="1867371" y="687979"/>
                  <a:pt x="1769089" y="1277675"/>
                  <a:pt x="2063937" y="1277675"/>
                </a:cubicBezTo>
              </a:path>
            </a:pathLst>
          </a:custGeom>
          <a:noFill/>
          <a:ln w="25400" cap="rnd">
            <a:solidFill>
              <a:schemeClr val="bg1"/>
            </a:solidFill>
            <a:prstDash val="solid"/>
            <a:round/>
          </a:ln>
        </p:spPr>
        <p:txBody>
          <a:bodyPr rtlCol="0" anchor="ctr"/>
          <a:lstStyle/>
          <a:p>
            <a:endParaRPr lang="en-GB"/>
          </a:p>
        </p:txBody>
      </p:sp>
      <p:sp>
        <p:nvSpPr>
          <p:cNvPr id="37" name="!!_R04_Ico_C1">
            <a:extLst>
              <a:ext uri="{FF2B5EF4-FFF2-40B4-BE49-F238E27FC236}">
                <a16:creationId xmlns:a16="http://schemas.microsoft.com/office/drawing/2014/main" id="{EFA0F516-3194-4549-762C-B1311603BEFF}"/>
              </a:ext>
            </a:extLst>
          </p:cNvPr>
          <p:cNvSpPr/>
          <p:nvPr/>
        </p:nvSpPr>
        <p:spPr>
          <a:xfrm>
            <a:off x="11866917" y="3696332"/>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38" name="!!_R04_Ico_C2">
            <a:extLst>
              <a:ext uri="{FF2B5EF4-FFF2-40B4-BE49-F238E27FC236}">
                <a16:creationId xmlns:a16="http://schemas.microsoft.com/office/drawing/2014/main" id="{402976F2-F4E6-F0DE-85AF-7EA199151536}"/>
              </a:ext>
            </a:extLst>
          </p:cNvPr>
          <p:cNvSpPr/>
          <p:nvPr/>
        </p:nvSpPr>
        <p:spPr>
          <a:xfrm>
            <a:off x="12260047" y="2910070"/>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39" name="!!_R04_Ico_C3">
            <a:extLst>
              <a:ext uri="{FF2B5EF4-FFF2-40B4-BE49-F238E27FC236}">
                <a16:creationId xmlns:a16="http://schemas.microsoft.com/office/drawing/2014/main" id="{92C1AA7B-E093-34F5-293E-370A8A2764F4}"/>
              </a:ext>
            </a:extLst>
          </p:cNvPr>
          <p:cNvSpPr/>
          <p:nvPr/>
        </p:nvSpPr>
        <p:spPr>
          <a:xfrm>
            <a:off x="12948026" y="2418657"/>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0" name="!!_R04_Ico_C4">
            <a:extLst>
              <a:ext uri="{FF2B5EF4-FFF2-40B4-BE49-F238E27FC236}">
                <a16:creationId xmlns:a16="http://schemas.microsoft.com/office/drawing/2014/main" id="{D3A72D33-8C7D-7B39-EAE2-DFBB8D1028FE}"/>
              </a:ext>
            </a:extLst>
          </p:cNvPr>
          <p:cNvSpPr/>
          <p:nvPr/>
        </p:nvSpPr>
        <p:spPr>
          <a:xfrm>
            <a:off x="13537722" y="3106635"/>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1" name="!!_R04_Ico_C5">
            <a:extLst>
              <a:ext uri="{FF2B5EF4-FFF2-40B4-BE49-F238E27FC236}">
                <a16:creationId xmlns:a16="http://schemas.microsoft.com/office/drawing/2014/main" id="{E8CBB5AA-E048-4D3A-66ED-D10533519F6A}"/>
              </a:ext>
            </a:extLst>
          </p:cNvPr>
          <p:cNvSpPr/>
          <p:nvPr/>
        </p:nvSpPr>
        <p:spPr>
          <a:xfrm>
            <a:off x="13930853" y="3696332"/>
            <a:ext cx="196565" cy="196565"/>
          </a:xfrm>
          <a:custGeom>
            <a:avLst/>
            <a:gdLst>
              <a:gd name="connsiteX0" fmla="*/ 196565 w 196565"/>
              <a:gd name="connsiteY0" fmla="*/ 98283 h 196565"/>
              <a:gd name="connsiteX1" fmla="*/ 98283 w 196565"/>
              <a:gd name="connsiteY1" fmla="*/ 196565 h 196565"/>
              <a:gd name="connsiteX2" fmla="*/ 0 w 196565"/>
              <a:gd name="connsiteY2" fmla="*/ 98283 h 196565"/>
              <a:gd name="connsiteX3" fmla="*/ 98283 w 196565"/>
              <a:gd name="connsiteY3" fmla="*/ 0 h 196565"/>
              <a:gd name="connsiteX4" fmla="*/ 196565 w 196565"/>
              <a:gd name="connsiteY4" fmla="*/ 98283 h 1965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6565" h="196565">
                <a:moveTo>
                  <a:pt x="196565" y="98283"/>
                </a:moveTo>
                <a:cubicBezTo>
                  <a:pt x="196565" y="152563"/>
                  <a:pt x="152563" y="196565"/>
                  <a:pt x="98283" y="196565"/>
                </a:cubicBezTo>
                <a:cubicBezTo>
                  <a:pt x="44003" y="196565"/>
                  <a:pt x="0" y="152563"/>
                  <a:pt x="0" y="98283"/>
                </a:cubicBezTo>
                <a:cubicBezTo>
                  <a:pt x="0" y="44003"/>
                  <a:pt x="44003" y="0"/>
                  <a:pt x="98283" y="0"/>
                </a:cubicBezTo>
                <a:cubicBezTo>
                  <a:pt x="152563" y="0"/>
                  <a:pt x="196565" y="44003"/>
                  <a:pt x="196565" y="98283"/>
                </a:cubicBezTo>
                <a:close/>
              </a:path>
            </a:pathLst>
          </a:custGeom>
          <a:noFill/>
          <a:ln w="25400" cap="rnd">
            <a:solidFill>
              <a:schemeClr val="bg1"/>
            </a:solidFill>
            <a:prstDash val="solid"/>
            <a:round/>
          </a:ln>
        </p:spPr>
        <p:txBody>
          <a:bodyPr rtlCol="0" anchor="ctr"/>
          <a:lstStyle/>
          <a:p>
            <a:endParaRPr lang="en-GB"/>
          </a:p>
        </p:txBody>
      </p:sp>
      <p:sp>
        <p:nvSpPr>
          <p:cNvPr id="42" name="!!_Co_Copy">
            <a:extLst>
              <a:ext uri="{FF2B5EF4-FFF2-40B4-BE49-F238E27FC236}">
                <a16:creationId xmlns:a16="http://schemas.microsoft.com/office/drawing/2014/main" id="{E5D017D6-D4DC-6DB4-9C68-050A83A68B56}"/>
              </a:ext>
            </a:extLst>
          </p:cNvPr>
          <p:cNvSpPr/>
          <p:nvPr/>
        </p:nvSpPr>
        <p:spPr>
          <a:xfrm>
            <a:off x="7256336" y="6010678"/>
            <a:ext cx="3311029" cy="113877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lgn="ctr"/>
            <a:r>
              <a:rPr lang="en-US" sz="2200" dirty="0">
                <a:solidFill>
                  <a:schemeClr val="accent6"/>
                </a:solidFill>
                <a:latin typeface="+mj-lt"/>
              </a:rPr>
              <a:t>Accelerate AI</a:t>
            </a:r>
            <a:br>
              <a:rPr lang="en-US" sz="2200" dirty="0">
                <a:solidFill>
                  <a:schemeClr val="accent6"/>
                </a:solidFill>
                <a:latin typeface="+mj-lt"/>
              </a:rPr>
            </a:br>
            <a:r>
              <a:rPr lang="en-US" sz="2200" dirty="0">
                <a:solidFill>
                  <a:schemeClr val="accent6"/>
                </a:solidFill>
                <a:latin typeface="+mj-lt"/>
              </a:rPr>
              <a:t> Lifecycle / Industry/ Business Tasks</a:t>
            </a:r>
          </a:p>
          <a:p>
            <a:pPr algn="ctr"/>
            <a:endParaRPr lang="en-US" sz="800" dirty="0">
              <a:solidFill>
                <a:schemeClr val="accent6"/>
              </a:solidFill>
            </a:endParaRPr>
          </a:p>
        </p:txBody>
      </p:sp>
      <p:sp>
        <p:nvSpPr>
          <p:cNvPr id="43" name="Title 1">
            <a:extLst>
              <a:ext uri="{FF2B5EF4-FFF2-40B4-BE49-F238E27FC236}">
                <a16:creationId xmlns:a16="http://schemas.microsoft.com/office/drawing/2014/main" id="{B2DCA251-8E24-8089-0994-B602F607BB42}"/>
              </a:ext>
            </a:extLst>
          </p:cNvPr>
          <p:cNvSpPr txBox="1">
            <a:spLocks/>
          </p:cNvSpPr>
          <p:nvPr/>
        </p:nvSpPr>
        <p:spPr>
          <a:xfrm>
            <a:off x="1106829" y="664004"/>
            <a:ext cx="15773400" cy="775597"/>
          </a:xfrm>
          <a:prstGeom prst="rect">
            <a:avLst/>
          </a:prstGeom>
        </p:spPr>
        <p:txBody>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dirty="0"/>
              <a:t>Generative AI in action with SAS</a:t>
            </a:r>
          </a:p>
        </p:txBody>
      </p:sp>
    </p:spTree>
    <p:extLst>
      <p:ext uri="{BB962C8B-B14F-4D97-AF65-F5344CB8AC3E}">
        <p14:creationId xmlns:p14="http://schemas.microsoft.com/office/powerpoint/2010/main" val="6243060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EBB3DBC-41F9-B762-BC71-932D9D2F4BA9}"/>
              </a:ext>
            </a:extLst>
          </p:cNvPr>
          <p:cNvPicPr>
            <a:picLocks noChangeAspect="1"/>
          </p:cNvPicPr>
          <p:nvPr/>
        </p:nvPicPr>
        <p:blipFill rotWithShape="1">
          <a:blip r:embed="rId2"/>
          <a:srcRect l="46406"/>
          <a:stretch/>
        </p:blipFill>
        <p:spPr>
          <a:xfrm>
            <a:off x="8646945" y="758702"/>
            <a:ext cx="8106109" cy="9094716"/>
          </a:xfrm>
          <a:prstGeom prst="rect">
            <a:avLst/>
          </a:prstGeom>
        </p:spPr>
      </p:pic>
      <p:sp>
        <p:nvSpPr>
          <p:cNvPr id="4" name="Rounded Rectangle 3">
            <a:extLst>
              <a:ext uri="{FF2B5EF4-FFF2-40B4-BE49-F238E27FC236}">
                <a16:creationId xmlns:a16="http://schemas.microsoft.com/office/drawing/2014/main" id="{009E6729-94DB-76CF-00DD-96FC9BAADA3F}"/>
              </a:ext>
            </a:extLst>
          </p:cNvPr>
          <p:cNvSpPr/>
          <p:nvPr/>
        </p:nvSpPr>
        <p:spPr>
          <a:xfrm>
            <a:off x="14000480" y="4818380"/>
            <a:ext cx="1544320" cy="589280"/>
          </a:xfrm>
          <a:prstGeom prst="round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LLM Governance</a:t>
            </a:r>
          </a:p>
        </p:txBody>
      </p:sp>
      <p:sp>
        <p:nvSpPr>
          <p:cNvPr id="5" name="Rounded Rectangle 4">
            <a:extLst>
              <a:ext uri="{FF2B5EF4-FFF2-40B4-BE49-F238E27FC236}">
                <a16:creationId xmlns:a16="http://schemas.microsoft.com/office/drawing/2014/main" id="{87C92F85-13FB-1B95-EFCC-C1D77E54651D}"/>
              </a:ext>
            </a:extLst>
          </p:cNvPr>
          <p:cNvSpPr/>
          <p:nvPr/>
        </p:nvSpPr>
        <p:spPr>
          <a:xfrm>
            <a:off x="9784080" y="5722620"/>
            <a:ext cx="1798320" cy="657860"/>
          </a:xfrm>
          <a:prstGeom prst="roundRect">
            <a:avLst/>
          </a:prstGeom>
          <a:solidFill>
            <a:schemeClr val="tx2">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a:t>Enable Conversational AI</a:t>
            </a:r>
          </a:p>
        </p:txBody>
      </p:sp>
      <p:sp>
        <p:nvSpPr>
          <p:cNvPr id="6" name="Title 1">
            <a:extLst>
              <a:ext uri="{FF2B5EF4-FFF2-40B4-BE49-F238E27FC236}">
                <a16:creationId xmlns:a16="http://schemas.microsoft.com/office/drawing/2014/main" id="{550181D9-2202-13B0-F742-2AA833D9303E}"/>
              </a:ext>
            </a:extLst>
          </p:cNvPr>
          <p:cNvSpPr>
            <a:spLocks noGrp="1"/>
          </p:cNvSpPr>
          <p:nvPr/>
        </p:nvSpPr>
        <p:spPr>
          <a:xfrm>
            <a:off x="959665" y="3875960"/>
            <a:ext cx="9290122" cy="3693319"/>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a:lnSpc>
                <a:spcPct val="100000"/>
              </a:lnSpc>
            </a:pPr>
            <a:r>
              <a:rPr lang="en-US" sz="6000" dirty="0"/>
              <a:t>Explain</a:t>
            </a:r>
          </a:p>
          <a:p>
            <a:pPr>
              <a:lnSpc>
                <a:spcPct val="100000"/>
              </a:lnSpc>
            </a:pPr>
            <a:r>
              <a:rPr lang="en-US" sz="6000" dirty="0"/>
              <a:t>Govern</a:t>
            </a:r>
          </a:p>
          <a:p>
            <a:pPr>
              <a:lnSpc>
                <a:spcPct val="100000"/>
              </a:lnSpc>
            </a:pPr>
            <a:r>
              <a:rPr lang="en-US" sz="6000" dirty="0"/>
              <a:t>Orchestrate</a:t>
            </a:r>
          </a:p>
          <a:p>
            <a:pPr>
              <a:lnSpc>
                <a:spcPct val="100000"/>
              </a:lnSpc>
            </a:pPr>
            <a:endParaRPr lang="en-US" sz="6000" dirty="0"/>
          </a:p>
        </p:txBody>
      </p:sp>
      <p:sp>
        <p:nvSpPr>
          <p:cNvPr id="7" name="TextBox 6">
            <a:extLst>
              <a:ext uri="{FF2B5EF4-FFF2-40B4-BE49-F238E27FC236}">
                <a16:creationId xmlns:a16="http://schemas.microsoft.com/office/drawing/2014/main" id="{0795EED9-B389-6BA2-67B1-F5A7E2599A9D}"/>
              </a:ext>
            </a:extLst>
          </p:cNvPr>
          <p:cNvSpPr txBox="1"/>
          <p:nvPr/>
        </p:nvSpPr>
        <p:spPr>
          <a:xfrm>
            <a:off x="959665" y="1835465"/>
            <a:ext cx="6953827" cy="1477328"/>
          </a:xfrm>
          <a:prstGeom prst="rect">
            <a:avLst/>
          </a:prstGeom>
          <a:noFill/>
        </p:spPr>
        <p:txBody>
          <a:bodyPr wrap="none" lIns="0" tIns="0" rIns="0" bIns="0" rtlCol="0">
            <a:spAutoFit/>
          </a:bodyPr>
          <a:lstStyle/>
          <a:p>
            <a:r>
              <a:rPr lang="en-US" sz="4800" dirty="0"/>
              <a:t>LLMs with SAS Viya APIs</a:t>
            </a:r>
          </a:p>
          <a:p>
            <a:pPr algn="l"/>
            <a:endParaRPr lang="en-US" sz="4800" dirty="0">
              <a:solidFill>
                <a:schemeClr val="tx1"/>
              </a:solidFill>
            </a:endParaRPr>
          </a:p>
        </p:txBody>
      </p:sp>
    </p:spTree>
    <p:extLst>
      <p:ext uri="{BB962C8B-B14F-4D97-AF65-F5344CB8AC3E}">
        <p14:creationId xmlns:p14="http://schemas.microsoft.com/office/powerpoint/2010/main" val="2453842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RightSwoosh">
            <a:extLst>
              <a:ext uri="{FF2B5EF4-FFF2-40B4-BE49-F238E27FC236}">
                <a16:creationId xmlns:a16="http://schemas.microsoft.com/office/drawing/2014/main" id="{C42FBE6A-895D-6999-E16E-1B03CE736928}"/>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178743" y="-1289453"/>
            <a:ext cx="18288000" cy="10287000"/>
          </a:xfrm>
          <a:prstGeom prst="rect">
            <a:avLst/>
          </a:prstGeom>
        </p:spPr>
      </p:pic>
      <p:pic>
        <p:nvPicPr>
          <p:cNvPr id="4" name="!!LeftSwoosh" descr="A blue and purple light on a black background&#10;&#10;Description automatically generated">
            <a:extLst>
              <a:ext uri="{FF2B5EF4-FFF2-40B4-BE49-F238E27FC236}">
                <a16:creationId xmlns:a16="http://schemas.microsoft.com/office/drawing/2014/main" id="{2A8681DF-3302-213A-AACE-689D21F1D8E3}"/>
              </a:ext>
            </a:extLst>
          </p:cNvPr>
          <p:cNvPicPr>
            <a:picLocks noChangeAspect="1"/>
          </p:cNvPicPr>
          <p:nvPr/>
        </p:nvPicPr>
        <p:blipFill rotWithShape="1">
          <a:blip r:embed="rId3">
            <a:extLst>
              <a:ext uri="{28A0092B-C50C-407E-A947-70E740481C1C}">
                <a14:useLocalDpi xmlns:a14="http://schemas.microsoft.com/office/drawing/2010/main" val="0"/>
              </a:ext>
            </a:extLst>
          </a:blip>
          <a:srcRect l="38734" t="59958"/>
          <a:stretch/>
        </p:blipFill>
        <p:spPr>
          <a:xfrm>
            <a:off x="-1143398" y="4706298"/>
            <a:ext cx="16973778" cy="6240148"/>
          </a:xfrm>
          <a:prstGeom prst="rect">
            <a:avLst/>
          </a:prstGeom>
        </p:spPr>
      </p:pic>
      <p:sp>
        <p:nvSpPr>
          <p:cNvPr id="5" name="TextBox 4">
            <a:extLst>
              <a:ext uri="{FF2B5EF4-FFF2-40B4-BE49-F238E27FC236}">
                <a16:creationId xmlns:a16="http://schemas.microsoft.com/office/drawing/2014/main" id="{14EF69D6-0924-628A-7664-DE679E6548FB}"/>
              </a:ext>
            </a:extLst>
          </p:cNvPr>
          <p:cNvSpPr txBox="1"/>
          <p:nvPr/>
        </p:nvSpPr>
        <p:spPr>
          <a:xfrm>
            <a:off x="649706" y="3598302"/>
            <a:ext cx="13032414" cy="1107996"/>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200" b="1" i="0" u="none" strike="noStrike" kern="1200" cap="none" spc="0" normalizeH="0" baseline="0" noProof="0" dirty="0">
                <a:ln>
                  <a:noFill/>
                </a:ln>
                <a:effectLst/>
                <a:uLnTx/>
                <a:uFillTx/>
                <a:latin typeface="Anova Light"/>
                <a:ea typeface="+mn-ea"/>
                <a:cs typeface="+mn-cs"/>
              </a:rPr>
              <a:t>Let’s see a Real-World Example</a:t>
            </a:r>
          </a:p>
        </p:txBody>
      </p:sp>
    </p:spTree>
    <p:extLst>
      <p:ext uri="{BB962C8B-B14F-4D97-AF65-F5344CB8AC3E}">
        <p14:creationId xmlns:p14="http://schemas.microsoft.com/office/powerpoint/2010/main" val="247970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childTnLst>
                          </p:cTn>
                        </p:par>
                        <p:par>
                          <p:cTn id="8" fill="hold">
                            <p:stCondLst>
                              <p:cond delay="500"/>
                            </p:stCondLst>
                            <p:childTnLst>
                              <p:par>
                                <p:cTn id="9" presetID="22" presetClass="entr" presetSubtype="4" fill="hold"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ipe(down)">
                                      <p:cBhvr>
                                        <p:cTn id="11"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a:extLst>
              <a:ext uri="{FF2B5EF4-FFF2-40B4-BE49-F238E27FC236}">
                <a16:creationId xmlns:a16="http://schemas.microsoft.com/office/drawing/2014/main" id="{9F140F80-2F22-F847-315E-17BB88F22B54}"/>
              </a:ext>
            </a:extLst>
          </p:cNvPr>
          <p:cNvSpPr/>
          <p:nvPr/>
        </p:nvSpPr>
        <p:spPr>
          <a:xfrm>
            <a:off x="5926667" y="4921077"/>
            <a:ext cx="6434666" cy="1410163"/>
          </a:xfrm>
          <a:prstGeom prst="roundRect">
            <a:avLst>
              <a:gd name="adj" fmla="val 50000"/>
            </a:avLst>
          </a:prstGeom>
          <a:solidFill>
            <a:schemeClr val="accent1">
              <a:lumMod val="50000"/>
            </a:schemeClr>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nova Bold"/>
                <a:ea typeface="+mn-ea"/>
                <a:cs typeface="+mn-cs"/>
              </a:rPr>
              <a:t>Complaints Management</a:t>
            </a:r>
          </a:p>
        </p:txBody>
      </p:sp>
      <p:pic>
        <p:nvPicPr>
          <p:cNvPr id="4" name="Graphic 3" descr="Internet outline">
            <a:extLst>
              <a:ext uri="{FF2B5EF4-FFF2-40B4-BE49-F238E27FC236}">
                <a16:creationId xmlns:a16="http://schemas.microsoft.com/office/drawing/2014/main" id="{29C132FE-0D15-78BB-4592-2760BB52DB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53070" y="1776984"/>
            <a:ext cx="2963334" cy="2963334"/>
          </a:xfrm>
          <a:prstGeom prst="rect">
            <a:avLst/>
          </a:prstGeom>
        </p:spPr>
      </p:pic>
      <p:pic>
        <p:nvPicPr>
          <p:cNvPr id="5" name="Graphic 4" descr="Email outline">
            <a:extLst>
              <a:ext uri="{FF2B5EF4-FFF2-40B4-BE49-F238E27FC236}">
                <a16:creationId xmlns:a16="http://schemas.microsoft.com/office/drawing/2014/main" id="{D33ACF14-B14C-7F47-9381-11FBE29341B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63010" y="811786"/>
            <a:ext cx="2252134" cy="2252134"/>
          </a:xfrm>
          <a:prstGeom prst="rect">
            <a:avLst/>
          </a:prstGeom>
        </p:spPr>
      </p:pic>
      <p:pic>
        <p:nvPicPr>
          <p:cNvPr id="6" name="Graphic 5" descr="Speaker phone outline">
            <a:extLst>
              <a:ext uri="{FF2B5EF4-FFF2-40B4-BE49-F238E27FC236}">
                <a16:creationId xmlns:a16="http://schemas.microsoft.com/office/drawing/2014/main" id="{9BC70E5A-8F8F-5097-2FA5-5144B070679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29958" y="684779"/>
            <a:ext cx="2573872" cy="2573872"/>
          </a:xfrm>
          <a:prstGeom prst="rect">
            <a:avLst/>
          </a:prstGeom>
        </p:spPr>
      </p:pic>
      <p:pic>
        <p:nvPicPr>
          <p:cNvPr id="7" name="Graphic 6" descr="Chat bubble outline">
            <a:extLst>
              <a:ext uri="{FF2B5EF4-FFF2-40B4-BE49-F238E27FC236}">
                <a16:creationId xmlns:a16="http://schemas.microsoft.com/office/drawing/2014/main" id="{65B7BD04-BA94-09E3-BA60-3A03F171ADA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363687" y="2166447"/>
            <a:ext cx="2573871" cy="2573871"/>
          </a:xfrm>
          <a:prstGeom prst="rect">
            <a:avLst/>
          </a:prstGeom>
        </p:spPr>
      </p:pic>
      <p:sp>
        <p:nvSpPr>
          <p:cNvPr id="8" name="Rounded Rectangle 7">
            <a:extLst>
              <a:ext uri="{FF2B5EF4-FFF2-40B4-BE49-F238E27FC236}">
                <a16:creationId xmlns:a16="http://schemas.microsoft.com/office/drawing/2014/main" id="{22B2BF26-94E2-3872-5AF6-36F5E90FDA19}"/>
              </a:ext>
            </a:extLst>
          </p:cNvPr>
          <p:cNvSpPr/>
          <p:nvPr/>
        </p:nvSpPr>
        <p:spPr>
          <a:xfrm>
            <a:off x="5604934" y="8188397"/>
            <a:ext cx="7078133" cy="1410163"/>
          </a:xfrm>
          <a:prstGeom prst="roundRect">
            <a:avLst>
              <a:gd name="adj" fmla="val 50000"/>
            </a:avLst>
          </a:prstGeom>
          <a:solidFill>
            <a:schemeClr val="accent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nova Bold"/>
                <a:ea typeface="+mn-ea"/>
                <a:cs typeface="+mn-cs"/>
              </a:rPr>
              <a:t>Resolution for the Customer</a:t>
            </a:r>
          </a:p>
        </p:txBody>
      </p:sp>
      <p:grpSp>
        <p:nvGrpSpPr>
          <p:cNvPr id="9" name="Group 8">
            <a:extLst>
              <a:ext uri="{FF2B5EF4-FFF2-40B4-BE49-F238E27FC236}">
                <a16:creationId xmlns:a16="http://schemas.microsoft.com/office/drawing/2014/main" id="{78AF5C7D-A0AD-592A-4DE5-6B38D088D62B}"/>
              </a:ext>
            </a:extLst>
          </p:cNvPr>
          <p:cNvGrpSpPr/>
          <p:nvPr/>
        </p:nvGrpSpPr>
        <p:grpSpPr>
          <a:xfrm>
            <a:off x="2552705" y="4376255"/>
            <a:ext cx="3211870" cy="1264718"/>
            <a:chOff x="2552705" y="4047071"/>
            <a:chExt cx="3211870" cy="1264718"/>
          </a:xfrm>
        </p:grpSpPr>
        <p:cxnSp>
          <p:nvCxnSpPr>
            <p:cNvPr id="10" name="Elbow Connector 9">
              <a:extLst>
                <a:ext uri="{FF2B5EF4-FFF2-40B4-BE49-F238E27FC236}">
                  <a16:creationId xmlns:a16="http://schemas.microsoft.com/office/drawing/2014/main" id="{EA192EBA-7A66-A120-BB35-82184D44E457}"/>
                </a:ext>
              </a:extLst>
            </p:cNvPr>
            <p:cNvCxnSpPr>
              <a:cxnSpLocks/>
            </p:cNvCxnSpPr>
            <p:nvPr/>
          </p:nvCxnSpPr>
          <p:spPr>
            <a:xfrm rot="16200000" flipH="1">
              <a:off x="3634601" y="3181816"/>
              <a:ext cx="1230111" cy="3029836"/>
            </a:xfrm>
            <a:prstGeom prst="bentConnector2">
              <a:avLst/>
            </a:prstGeom>
            <a:ln w="31750" cap="rnd">
              <a:gradFill>
                <a:gsLst>
                  <a:gs pos="0">
                    <a:schemeClr val="accent6"/>
                  </a:gs>
                  <a:gs pos="84000">
                    <a:schemeClr val="accent1"/>
                  </a:gs>
                </a:gsLst>
                <a:lin ang="5400000" scaled="1"/>
              </a:gradFill>
              <a:prstDash val="solid"/>
              <a:round/>
              <a:tailEnd type="arrow" w="lg" len="sm"/>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a16="http://schemas.microsoft.com/office/drawing/2014/main" id="{2A3D308B-D005-D801-5A30-2371DE5934E4}"/>
                </a:ext>
              </a:extLst>
            </p:cNvPr>
            <p:cNvSpPr/>
            <p:nvPr/>
          </p:nvSpPr>
          <p:spPr>
            <a:xfrm>
              <a:off x="2552705" y="4047071"/>
              <a:ext cx="364063" cy="364063"/>
            </a:xfrm>
            <a:prstGeom prst="ellipse">
              <a:avLst/>
            </a:prstGeom>
            <a:solidFill>
              <a:schemeClr val="accent6"/>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nvGrpSpPr>
          <p:cNvPr id="12" name="Group 11">
            <a:extLst>
              <a:ext uri="{FF2B5EF4-FFF2-40B4-BE49-F238E27FC236}">
                <a16:creationId xmlns:a16="http://schemas.microsoft.com/office/drawing/2014/main" id="{C3F7DCB9-2308-F7A2-02A5-9AC2620C0489}"/>
              </a:ext>
            </a:extLst>
          </p:cNvPr>
          <p:cNvGrpSpPr/>
          <p:nvPr/>
        </p:nvGrpSpPr>
        <p:grpSpPr>
          <a:xfrm>
            <a:off x="12523426" y="4376255"/>
            <a:ext cx="3211869" cy="1264721"/>
            <a:chOff x="12523426" y="4047071"/>
            <a:chExt cx="3211869" cy="1264721"/>
          </a:xfrm>
        </p:grpSpPr>
        <p:cxnSp>
          <p:nvCxnSpPr>
            <p:cNvPr id="13" name="Elbow Connector 12">
              <a:extLst>
                <a:ext uri="{FF2B5EF4-FFF2-40B4-BE49-F238E27FC236}">
                  <a16:creationId xmlns:a16="http://schemas.microsoft.com/office/drawing/2014/main" id="{9900D3B9-408D-1E58-5DC7-CC016365EAC6}"/>
                </a:ext>
              </a:extLst>
            </p:cNvPr>
            <p:cNvCxnSpPr>
              <a:cxnSpLocks/>
            </p:cNvCxnSpPr>
            <p:nvPr/>
          </p:nvCxnSpPr>
          <p:spPr>
            <a:xfrm rot="5400000">
              <a:off x="13423288" y="3181819"/>
              <a:ext cx="1230111" cy="3029836"/>
            </a:xfrm>
            <a:prstGeom prst="bentConnector2">
              <a:avLst/>
            </a:prstGeom>
            <a:ln w="31750" cap="rnd">
              <a:gradFill>
                <a:gsLst>
                  <a:gs pos="0">
                    <a:schemeClr val="accent6"/>
                  </a:gs>
                  <a:gs pos="81000">
                    <a:schemeClr val="accent1"/>
                  </a:gs>
                </a:gsLst>
                <a:lin ang="5400000" scaled="1"/>
              </a:gradFill>
              <a:prstDash val="solid"/>
              <a:round/>
              <a:tailEnd type="arrow" w="lg" len="sm"/>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692DF48A-397D-D07D-EDEF-464DFFBC7AEC}"/>
                </a:ext>
              </a:extLst>
            </p:cNvPr>
            <p:cNvSpPr/>
            <p:nvPr/>
          </p:nvSpPr>
          <p:spPr>
            <a:xfrm>
              <a:off x="15371232" y="4047071"/>
              <a:ext cx="364063" cy="364063"/>
            </a:xfrm>
            <a:prstGeom prst="ellipse">
              <a:avLst/>
            </a:prstGeom>
            <a:solidFill>
              <a:schemeClr val="accent6"/>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nvGrpSpPr>
          <p:cNvPr id="15" name="Group 14">
            <a:extLst>
              <a:ext uri="{FF2B5EF4-FFF2-40B4-BE49-F238E27FC236}">
                <a16:creationId xmlns:a16="http://schemas.microsoft.com/office/drawing/2014/main" id="{FF240CE5-15E5-F900-92E7-292AC445E147}"/>
              </a:ext>
            </a:extLst>
          </p:cNvPr>
          <p:cNvGrpSpPr/>
          <p:nvPr/>
        </p:nvGrpSpPr>
        <p:grpSpPr>
          <a:xfrm>
            <a:off x="7007045" y="3089319"/>
            <a:ext cx="364063" cy="1650999"/>
            <a:chOff x="7007045" y="2760135"/>
            <a:chExt cx="364063" cy="1650999"/>
          </a:xfrm>
        </p:grpSpPr>
        <p:cxnSp>
          <p:nvCxnSpPr>
            <p:cNvPr id="16" name="Straight Arrow Connector 15">
              <a:extLst>
                <a:ext uri="{FF2B5EF4-FFF2-40B4-BE49-F238E27FC236}">
                  <a16:creationId xmlns:a16="http://schemas.microsoft.com/office/drawing/2014/main" id="{E08FD653-5BC8-324F-874E-D98FD019FFC7}"/>
                </a:ext>
              </a:extLst>
            </p:cNvPr>
            <p:cNvCxnSpPr>
              <a:stCxn id="17" idx="4"/>
            </p:cNvCxnSpPr>
            <p:nvPr/>
          </p:nvCxnSpPr>
          <p:spPr>
            <a:xfrm flipH="1">
              <a:off x="7189076" y="3124198"/>
              <a:ext cx="1" cy="1286936"/>
            </a:xfrm>
            <a:prstGeom prst="straightConnector1">
              <a:avLst/>
            </a:prstGeom>
            <a:ln w="31750" cap="rnd">
              <a:gradFill flip="none" rotWithShape="1">
                <a:gsLst>
                  <a:gs pos="0">
                    <a:schemeClr val="accent6"/>
                  </a:gs>
                  <a:gs pos="80000">
                    <a:schemeClr val="accent1"/>
                  </a:gs>
                </a:gsLst>
                <a:lin ang="5400000" scaled="1"/>
                <a:tileRect/>
              </a:gradFill>
              <a:prstDash val="solid"/>
              <a:round/>
              <a:tailEnd type="arrow" w="lg" len="sm"/>
            </a:ln>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37AE0BC3-1CEB-3C64-D9B8-0AD5284E8968}"/>
                </a:ext>
              </a:extLst>
            </p:cNvPr>
            <p:cNvSpPr/>
            <p:nvPr/>
          </p:nvSpPr>
          <p:spPr>
            <a:xfrm>
              <a:off x="7007045" y="2760135"/>
              <a:ext cx="364063" cy="364063"/>
            </a:xfrm>
            <a:prstGeom prst="ellipse">
              <a:avLst/>
            </a:prstGeom>
            <a:solidFill>
              <a:schemeClr val="accent6"/>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nvGrpSpPr>
          <p:cNvPr id="18" name="Group 17">
            <a:extLst>
              <a:ext uri="{FF2B5EF4-FFF2-40B4-BE49-F238E27FC236}">
                <a16:creationId xmlns:a16="http://schemas.microsoft.com/office/drawing/2014/main" id="{07A04B71-7A22-264F-E3FC-A5EE0D9D87CD}"/>
              </a:ext>
            </a:extLst>
          </p:cNvPr>
          <p:cNvGrpSpPr/>
          <p:nvPr/>
        </p:nvGrpSpPr>
        <p:grpSpPr>
          <a:xfrm>
            <a:off x="10861860" y="3089319"/>
            <a:ext cx="364063" cy="1650999"/>
            <a:chOff x="10861860" y="2760135"/>
            <a:chExt cx="364063" cy="1650999"/>
          </a:xfrm>
        </p:grpSpPr>
        <p:cxnSp>
          <p:nvCxnSpPr>
            <p:cNvPr id="19" name="Straight Arrow Connector 18">
              <a:extLst>
                <a:ext uri="{FF2B5EF4-FFF2-40B4-BE49-F238E27FC236}">
                  <a16:creationId xmlns:a16="http://schemas.microsoft.com/office/drawing/2014/main" id="{21E343BF-E0AC-5AD4-A611-E4B38BF418B1}"/>
                </a:ext>
              </a:extLst>
            </p:cNvPr>
            <p:cNvCxnSpPr/>
            <p:nvPr/>
          </p:nvCxnSpPr>
          <p:spPr>
            <a:xfrm flipH="1">
              <a:off x="11043008" y="3124198"/>
              <a:ext cx="1" cy="1286936"/>
            </a:xfrm>
            <a:prstGeom prst="straightConnector1">
              <a:avLst/>
            </a:prstGeom>
            <a:ln w="31750" cap="rnd">
              <a:gradFill flip="none" rotWithShape="1">
                <a:gsLst>
                  <a:gs pos="0">
                    <a:schemeClr val="accent6"/>
                  </a:gs>
                  <a:gs pos="80000">
                    <a:schemeClr val="accent1"/>
                  </a:gs>
                </a:gsLst>
                <a:lin ang="5400000" scaled="1"/>
                <a:tileRect/>
              </a:gradFill>
              <a:prstDash val="solid"/>
              <a:round/>
              <a:tailEnd type="arrow" w="lg" len="sm"/>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4052D0E7-4376-9DEA-EC19-C8D1301569D8}"/>
                </a:ext>
              </a:extLst>
            </p:cNvPr>
            <p:cNvSpPr/>
            <p:nvPr/>
          </p:nvSpPr>
          <p:spPr>
            <a:xfrm>
              <a:off x="10861860" y="2760135"/>
              <a:ext cx="364063" cy="364063"/>
            </a:xfrm>
            <a:prstGeom prst="ellipse">
              <a:avLst/>
            </a:prstGeom>
            <a:solidFill>
              <a:schemeClr val="accent6"/>
            </a:solidFill>
            <a:ln w="635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nvGrpSpPr>
          <p:cNvPr id="21" name="Group 20">
            <a:extLst>
              <a:ext uri="{FF2B5EF4-FFF2-40B4-BE49-F238E27FC236}">
                <a16:creationId xmlns:a16="http://schemas.microsoft.com/office/drawing/2014/main" id="{964EFE23-6DDF-D02B-FF8C-969F8FB8B27B}"/>
              </a:ext>
            </a:extLst>
          </p:cNvPr>
          <p:cNvGrpSpPr/>
          <p:nvPr/>
        </p:nvGrpSpPr>
        <p:grpSpPr>
          <a:xfrm>
            <a:off x="8602718" y="6331240"/>
            <a:ext cx="1082566" cy="1651811"/>
            <a:chOff x="8602718" y="6002056"/>
            <a:chExt cx="1082566" cy="1651811"/>
          </a:xfrm>
        </p:grpSpPr>
        <p:grpSp>
          <p:nvGrpSpPr>
            <p:cNvPr id="22" name="Group 21">
              <a:extLst>
                <a:ext uri="{FF2B5EF4-FFF2-40B4-BE49-F238E27FC236}">
                  <a16:creationId xmlns:a16="http://schemas.microsoft.com/office/drawing/2014/main" id="{4A42EBC8-2543-3DCC-8DE0-D637002D4211}"/>
                </a:ext>
              </a:extLst>
            </p:cNvPr>
            <p:cNvGrpSpPr/>
            <p:nvPr/>
          </p:nvGrpSpPr>
          <p:grpSpPr>
            <a:xfrm>
              <a:off x="8763925" y="6002056"/>
              <a:ext cx="760148" cy="1651811"/>
              <a:chOff x="8763925" y="6002056"/>
              <a:chExt cx="760148" cy="1651811"/>
            </a:xfrm>
          </p:grpSpPr>
          <p:cxnSp>
            <p:nvCxnSpPr>
              <p:cNvPr id="24" name="Straight Arrow Connector 23">
                <a:extLst>
                  <a:ext uri="{FF2B5EF4-FFF2-40B4-BE49-F238E27FC236}">
                    <a16:creationId xmlns:a16="http://schemas.microsoft.com/office/drawing/2014/main" id="{622F2D8D-B72B-207B-8EFD-494F12DE8A75}"/>
                  </a:ext>
                </a:extLst>
              </p:cNvPr>
              <p:cNvCxnSpPr>
                <a:cxnSpLocks/>
              </p:cNvCxnSpPr>
              <p:nvPr/>
            </p:nvCxnSpPr>
            <p:spPr>
              <a:xfrm>
                <a:off x="9144000" y="6002056"/>
                <a:ext cx="0" cy="1651811"/>
              </a:xfrm>
              <a:prstGeom prst="straightConnector1">
                <a:avLst/>
              </a:prstGeom>
              <a:ln w="31750" cap="rnd">
                <a:gradFill flip="none" rotWithShape="1">
                  <a:gsLst>
                    <a:gs pos="82000">
                      <a:schemeClr val="accent2"/>
                    </a:gs>
                    <a:gs pos="0">
                      <a:schemeClr val="accent1"/>
                    </a:gs>
                  </a:gsLst>
                  <a:lin ang="5400000" scaled="1"/>
                  <a:tileRect/>
                </a:gradFill>
                <a:prstDash val="solid"/>
                <a:round/>
                <a:tailEnd type="arrow" w="lg" len="sm"/>
              </a:ln>
            </p:spPr>
            <p:style>
              <a:lnRef idx="1">
                <a:schemeClr val="accent1"/>
              </a:lnRef>
              <a:fillRef idx="0">
                <a:schemeClr val="accent1"/>
              </a:fillRef>
              <a:effectRef idx="0">
                <a:schemeClr val="accent1"/>
              </a:effectRef>
              <a:fontRef idx="minor">
                <a:schemeClr val="tx1"/>
              </a:fontRef>
            </p:style>
          </p:cxnSp>
          <p:sp>
            <p:nvSpPr>
              <p:cNvPr id="25" name="Oval 24">
                <a:extLst>
                  <a:ext uri="{FF2B5EF4-FFF2-40B4-BE49-F238E27FC236}">
                    <a16:creationId xmlns:a16="http://schemas.microsoft.com/office/drawing/2014/main" id="{9ABF4B5C-2F6E-2FBD-B8A3-1F3CDB7EA954}"/>
                  </a:ext>
                </a:extLst>
              </p:cNvPr>
              <p:cNvSpPr/>
              <p:nvPr/>
            </p:nvSpPr>
            <p:spPr>
              <a:xfrm>
                <a:off x="8763925" y="6447885"/>
                <a:ext cx="760148" cy="7601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pic>
          <p:nvPicPr>
            <p:cNvPr id="23" name="Graphic 22" descr="Badge Tick outline">
              <a:extLst>
                <a:ext uri="{FF2B5EF4-FFF2-40B4-BE49-F238E27FC236}">
                  <a16:creationId xmlns:a16="http://schemas.microsoft.com/office/drawing/2014/main" id="{05DFB5A4-1710-6AC9-1FFF-7DDC3EDAFC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602718" y="6286679"/>
              <a:ext cx="1082566" cy="1082564"/>
            </a:xfrm>
            <a:prstGeom prst="rect">
              <a:avLst/>
            </a:prstGeom>
          </p:spPr>
        </p:pic>
      </p:grpSp>
      <p:sp>
        <p:nvSpPr>
          <p:cNvPr id="26" name="Rounded Rectangle 25">
            <a:extLst>
              <a:ext uri="{FF2B5EF4-FFF2-40B4-BE49-F238E27FC236}">
                <a16:creationId xmlns:a16="http://schemas.microsoft.com/office/drawing/2014/main" id="{5E229A44-B79B-6AFF-D8AE-0E7FD1F9BD9A}"/>
              </a:ext>
            </a:extLst>
          </p:cNvPr>
          <p:cNvSpPr/>
          <p:nvPr/>
        </p:nvSpPr>
        <p:spPr>
          <a:xfrm>
            <a:off x="1807636" y="1794964"/>
            <a:ext cx="1854200" cy="37253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WEBPAGE</a:t>
            </a:r>
          </a:p>
        </p:txBody>
      </p:sp>
      <p:sp>
        <p:nvSpPr>
          <p:cNvPr id="27" name="Rounded Rectangle 26">
            <a:extLst>
              <a:ext uri="{FF2B5EF4-FFF2-40B4-BE49-F238E27FC236}">
                <a16:creationId xmlns:a16="http://schemas.microsoft.com/office/drawing/2014/main" id="{DCAFF5E6-DD85-54A3-F59E-018490EECDE3}"/>
              </a:ext>
            </a:extLst>
          </p:cNvPr>
          <p:cNvSpPr/>
          <p:nvPr/>
        </p:nvSpPr>
        <p:spPr>
          <a:xfrm>
            <a:off x="6256806" y="457484"/>
            <a:ext cx="1854200" cy="37253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EMAIL</a:t>
            </a:r>
          </a:p>
        </p:txBody>
      </p:sp>
      <p:sp>
        <p:nvSpPr>
          <p:cNvPr id="28" name="Rounded Rectangle 27">
            <a:extLst>
              <a:ext uri="{FF2B5EF4-FFF2-40B4-BE49-F238E27FC236}">
                <a16:creationId xmlns:a16="http://schemas.microsoft.com/office/drawing/2014/main" id="{D095CC6F-F3CD-8D09-0995-C2216B663F7C}"/>
              </a:ext>
            </a:extLst>
          </p:cNvPr>
          <p:cNvSpPr/>
          <p:nvPr/>
        </p:nvSpPr>
        <p:spPr>
          <a:xfrm>
            <a:off x="9924432" y="457484"/>
            <a:ext cx="2243582" cy="37253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PHONE CALLS</a:t>
            </a:r>
          </a:p>
        </p:txBody>
      </p:sp>
      <p:sp>
        <p:nvSpPr>
          <p:cNvPr id="29" name="Rounded Rectangle 28">
            <a:extLst>
              <a:ext uri="{FF2B5EF4-FFF2-40B4-BE49-F238E27FC236}">
                <a16:creationId xmlns:a16="http://schemas.microsoft.com/office/drawing/2014/main" id="{B15159F1-1701-1A44-3172-560CC051F30B}"/>
              </a:ext>
            </a:extLst>
          </p:cNvPr>
          <p:cNvSpPr/>
          <p:nvPr/>
        </p:nvSpPr>
        <p:spPr>
          <a:xfrm>
            <a:off x="14807804" y="1937853"/>
            <a:ext cx="1685636" cy="372531"/>
          </a:xfrm>
          <a:prstGeom prst="roundRect">
            <a:avLst>
              <a:gd name="adj" fmla="val 50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TEXT</a:t>
            </a:r>
          </a:p>
        </p:txBody>
      </p:sp>
    </p:spTree>
    <p:extLst>
      <p:ext uri="{BB962C8B-B14F-4D97-AF65-F5344CB8AC3E}">
        <p14:creationId xmlns:p14="http://schemas.microsoft.com/office/powerpoint/2010/main" val="1658207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anim calcmode="lin" valueType="num">
                                      <p:cBhvr>
                                        <p:cTn id="8" dur="750" fill="hold"/>
                                        <p:tgtEl>
                                          <p:spTgt spid="4"/>
                                        </p:tgtEl>
                                        <p:attrNameLst>
                                          <p:attrName>ppt_x</p:attrName>
                                        </p:attrNameLst>
                                      </p:cBhvr>
                                      <p:tavLst>
                                        <p:tav tm="0">
                                          <p:val>
                                            <p:strVal val="#ppt_x"/>
                                          </p:val>
                                        </p:tav>
                                        <p:tav tm="100000">
                                          <p:val>
                                            <p:strVal val="#ppt_x"/>
                                          </p:val>
                                        </p:tav>
                                      </p:tavLst>
                                    </p:anim>
                                    <p:anim calcmode="lin" valueType="num">
                                      <p:cBhvr>
                                        <p:cTn id="9" dur="750" fill="hold"/>
                                        <p:tgtEl>
                                          <p:spTgt spid="4"/>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750"/>
                                        <p:tgtEl>
                                          <p:spTgt spid="5"/>
                                        </p:tgtEl>
                                      </p:cBhvr>
                                    </p:animEffect>
                                    <p:anim calcmode="lin" valueType="num">
                                      <p:cBhvr>
                                        <p:cTn id="14" dur="750" fill="hold"/>
                                        <p:tgtEl>
                                          <p:spTgt spid="5"/>
                                        </p:tgtEl>
                                        <p:attrNameLst>
                                          <p:attrName>ppt_x</p:attrName>
                                        </p:attrNameLst>
                                      </p:cBhvr>
                                      <p:tavLst>
                                        <p:tav tm="0">
                                          <p:val>
                                            <p:strVal val="#ppt_x"/>
                                          </p:val>
                                        </p:tav>
                                        <p:tav tm="100000">
                                          <p:val>
                                            <p:strVal val="#ppt_x"/>
                                          </p:val>
                                        </p:tav>
                                      </p:tavLst>
                                    </p:anim>
                                    <p:anim calcmode="lin" valueType="num">
                                      <p:cBhvr>
                                        <p:cTn id="15" dur="750" fill="hold"/>
                                        <p:tgtEl>
                                          <p:spTgt spid="5"/>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2" presetClass="entr" presetSubtype="0" fill="hold" nodeType="afterEffect">
                                  <p:stCondLst>
                                    <p:cond delay="0"/>
                                  </p:stCondLst>
                                  <p:childTnLst>
                                    <p:set>
                                      <p:cBhvr>
                                        <p:cTn id="18" dur="1" fill="hold">
                                          <p:stCondLst>
                                            <p:cond delay="0"/>
                                          </p:stCondLst>
                                        </p:cTn>
                                        <p:tgtEl>
                                          <p:spTgt spid="6"/>
                                        </p:tgtEl>
                                        <p:attrNameLst>
                                          <p:attrName>style.visibility</p:attrName>
                                        </p:attrNameLst>
                                      </p:cBhvr>
                                      <p:to>
                                        <p:strVal val="visible"/>
                                      </p:to>
                                    </p:set>
                                    <p:animEffect transition="in" filter="fade">
                                      <p:cBhvr>
                                        <p:cTn id="19" dur="750"/>
                                        <p:tgtEl>
                                          <p:spTgt spid="6"/>
                                        </p:tgtEl>
                                      </p:cBhvr>
                                    </p:animEffect>
                                    <p:anim calcmode="lin" valueType="num">
                                      <p:cBhvr>
                                        <p:cTn id="20" dur="750" fill="hold"/>
                                        <p:tgtEl>
                                          <p:spTgt spid="6"/>
                                        </p:tgtEl>
                                        <p:attrNameLst>
                                          <p:attrName>ppt_x</p:attrName>
                                        </p:attrNameLst>
                                      </p:cBhvr>
                                      <p:tavLst>
                                        <p:tav tm="0">
                                          <p:val>
                                            <p:strVal val="#ppt_x"/>
                                          </p:val>
                                        </p:tav>
                                        <p:tav tm="100000">
                                          <p:val>
                                            <p:strVal val="#ppt_x"/>
                                          </p:val>
                                        </p:tav>
                                      </p:tavLst>
                                    </p:anim>
                                    <p:anim calcmode="lin" valueType="num">
                                      <p:cBhvr>
                                        <p:cTn id="21" dur="750" fill="hold"/>
                                        <p:tgtEl>
                                          <p:spTgt spid="6"/>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2" presetClass="entr" presetSubtype="0" fill="hold" nodeType="after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750"/>
                                        <p:tgtEl>
                                          <p:spTgt spid="7"/>
                                        </p:tgtEl>
                                      </p:cBhvr>
                                    </p:animEffect>
                                    <p:anim calcmode="lin" valueType="num">
                                      <p:cBhvr>
                                        <p:cTn id="26" dur="750" fill="hold"/>
                                        <p:tgtEl>
                                          <p:spTgt spid="7"/>
                                        </p:tgtEl>
                                        <p:attrNameLst>
                                          <p:attrName>ppt_x</p:attrName>
                                        </p:attrNameLst>
                                      </p:cBhvr>
                                      <p:tavLst>
                                        <p:tav tm="0">
                                          <p:val>
                                            <p:strVal val="#ppt_x"/>
                                          </p:val>
                                        </p:tav>
                                        <p:tav tm="100000">
                                          <p:val>
                                            <p:strVal val="#ppt_x"/>
                                          </p:val>
                                        </p:tav>
                                      </p:tavLst>
                                    </p:anim>
                                    <p:anim calcmode="lin" valueType="num">
                                      <p:cBhvr>
                                        <p:cTn id="27" dur="750" fill="hold"/>
                                        <p:tgtEl>
                                          <p:spTgt spid="7"/>
                                        </p:tgtEl>
                                        <p:attrNameLst>
                                          <p:attrName>ppt_y</p:attrName>
                                        </p:attrNameLst>
                                      </p:cBhvr>
                                      <p:tavLst>
                                        <p:tav tm="0">
                                          <p:val>
                                            <p:strVal val="#ppt_y+.1"/>
                                          </p:val>
                                        </p:tav>
                                        <p:tav tm="100000">
                                          <p:val>
                                            <p:strVal val="#ppt_y"/>
                                          </p:val>
                                        </p:tav>
                                      </p:tavLst>
                                    </p:anim>
                                  </p:childTnLst>
                                </p:cTn>
                              </p:par>
                            </p:childTnLst>
                          </p:cTn>
                        </p:par>
                        <p:par>
                          <p:cTn id="28" fill="hold">
                            <p:stCondLst>
                              <p:cond delay="3000"/>
                            </p:stCondLst>
                            <p:childTnLst>
                              <p:par>
                                <p:cTn id="29" presetID="22" presetClass="entr" presetSubtype="2" fill="hold" nodeType="afterEffect">
                                  <p:stCondLst>
                                    <p:cond delay="0"/>
                                  </p:stCondLst>
                                  <p:childTnLst>
                                    <p:set>
                                      <p:cBhvr>
                                        <p:cTn id="30" dur="1" fill="hold">
                                          <p:stCondLst>
                                            <p:cond delay="0"/>
                                          </p:stCondLst>
                                        </p:cTn>
                                        <p:tgtEl>
                                          <p:spTgt spid="12"/>
                                        </p:tgtEl>
                                        <p:attrNameLst>
                                          <p:attrName>style.visibility</p:attrName>
                                        </p:attrNameLst>
                                      </p:cBhvr>
                                      <p:to>
                                        <p:strVal val="visible"/>
                                      </p:to>
                                    </p:set>
                                    <p:animEffect transition="in" filter="wipe(right)">
                                      <p:cBhvr>
                                        <p:cTn id="31" dur="750"/>
                                        <p:tgtEl>
                                          <p:spTgt spid="12"/>
                                        </p:tgtEl>
                                      </p:cBhvr>
                                    </p:animEffect>
                                  </p:childTnLst>
                                </p:cTn>
                              </p:par>
                              <p:par>
                                <p:cTn id="32" presetID="22" presetClass="entr" presetSubtype="8"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wipe(left)">
                                      <p:cBhvr>
                                        <p:cTn id="34" dur="750"/>
                                        <p:tgtEl>
                                          <p:spTgt spid="9"/>
                                        </p:tgtEl>
                                      </p:cBhvr>
                                    </p:animEffect>
                                  </p:childTnLst>
                                </p:cTn>
                              </p:par>
                              <p:par>
                                <p:cTn id="35" presetID="22" presetClass="entr" presetSubtype="1" fill="hold" nodeType="withEffect">
                                  <p:stCondLst>
                                    <p:cond delay="0"/>
                                  </p:stCondLst>
                                  <p:childTnLst>
                                    <p:set>
                                      <p:cBhvr>
                                        <p:cTn id="36" dur="1" fill="hold">
                                          <p:stCondLst>
                                            <p:cond delay="0"/>
                                          </p:stCondLst>
                                        </p:cTn>
                                        <p:tgtEl>
                                          <p:spTgt spid="15"/>
                                        </p:tgtEl>
                                        <p:attrNameLst>
                                          <p:attrName>style.visibility</p:attrName>
                                        </p:attrNameLst>
                                      </p:cBhvr>
                                      <p:to>
                                        <p:strVal val="visible"/>
                                      </p:to>
                                    </p:set>
                                    <p:animEffect transition="in" filter="wipe(up)">
                                      <p:cBhvr>
                                        <p:cTn id="37" dur="750"/>
                                        <p:tgtEl>
                                          <p:spTgt spid="15"/>
                                        </p:tgtEl>
                                      </p:cBhvr>
                                    </p:animEffect>
                                  </p:childTnLst>
                                </p:cTn>
                              </p:par>
                              <p:par>
                                <p:cTn id="38" presetID="22" presetClass="entr" presetSubtype="1" fill="hold" nodeType="withEffect">
                                  <p:stCondLst>
                                    <p:cond delay="0"/>
                                  </p:stCondLst>
                                  <p:childTnLst>
                                    <p:set>
                                      <p:cBhvr>
                                        <p:cTn id="39" dur="1" fill="hold">
                                          <p:stCondLst>
                                            <p:cond delay="0"/>
                                          </p:stCondLst>
                                        </p:cTn>
                                        <p:tgtEl>
                                          <p:spTgt spid="18"/>
                                        </p:tgtEl>
                                        <p:attrNameLst>
                                          <p:attrName>style.visibility</p:attrName>
                                        </p:attrNameLst>
                                      </p:cBhvr>
                                      <p:to>
                                        <p:strVal val="visible"/>
                                      </p:to>
                                    </p:set>
                                    <p:animEffect transition="in" filter="wipe(up)">
                                      <p:cBhvr>
                                        <p:cTn id="40" dur="750"/>
                                        <p:tgtEl>
                                          <p:spTgt spid="18"/>
                                        </p:tgtEl>
                                      </p:cBhvr>
                                    </p:animEffect>
                                  </p:childTnLst>
                                </p:cTn>
                              </p:par>
                            </p:childTnLst>
                          </p:cTn>
                        </p:par>
                        <p:par>
                          <p:cTn id="41" fill="hold">
                            <p:stCondLst>
                              <p:cond delay="3750"/>
                            </p:stCondLst>
                            <p:childTnLst>
                              <p:par>
                                <p:cTn id="42" presetID="53" presetClass="entr" presetSubtype="16" fill="hold" grpId="0" nodeType="afterEffect">
                                  <p:stCondLst>
                                    <p:cond delay="0"/>
                                  </p:stCondLst>
                                  <p:childTnLst>
                                    <p:set>
                                      <p:cBhvr>
                                        <p:cTn id="43" dur="1" fill="hold">
                                          <p:stCondLst>
                                            <p:cond delay="0"/>
                                          </p:stCondLst>
                                        </p:cTn>
                                        <p:tgtEl>
                                          <p:spTgt spid="3"/>
                                        </p:tgtEl>
                                        <p:attrNameLst>
                                          <p:attrName>style.visibility</p:attrName>
                                        </p:attrNameLst>
                                      </p:cBhvr>
                                      <p:to>
                                        <p:strVal val="visible"/>
                                      </p:to>
                                    </p:set>
                                    <p:anim calcmode="lin" valueType="num">
                                      <p:cBhvr>
                                        <p:cTn id="44" dur="750" fill="hold"/>
                                        <p:tgtEl>
                                          <p:spTgt spid="3"/>
                                        </p:tgtEl>
                                        <p:attrNameLst>
                                          <p:attrName>ppt_w</p:attrName>
                                        </p:attrNameLst>
                                      </p:cBhvr>
                                      <p:tavLst>
                                        <p:tav tm="0">
                                          <p:val>
                                            <p:fltVal val="0"/>
                                          </p:val>
                                        </p:tav>
                                        <p:tav tm="100000">
                                          <p:val>
                                            <p:strVal val="#ppt_w"/>
                                          </p:val>
                                        </p:tav>
                                      </p:tavLst>
                                    </p:anim>
                                    <p:anim calcmode="lin" valueType="num">
                                      <p:cBhvr>
                                        <p:cTn id="45" dur="750" fill="hold"/>
                                        <p:tgtEl>
                                          <p:spTgt spid="3"/>
                                        </p:tgtEl>
                                        <p:attrNameLst>
                                          <p:attrName>ppt_h</p:attrName>
                                        </p:attrNameLst>
                                      </p:cBhvr>
                                      <p:tavLst>
                                        <p:tav tm="0">
                                          <p:val>
                                            <p:fltVal val="0"/>
                                          </p:val>
                                        </p:tav>
                                        <p:tav tm="100000">
                                          <p:val>
                                            <p:strVal val="#ppt_h"/>
                                          </p:val>
                                        </p:tav>
                                      </p:tavLst>
                                    </p:anim>
                                    <p:animEffect transition="in" filter="fade">
                                      <p:cBhvr>
                                        <p:cTn id="46" dur="750"/>
                                        <p:tgtEl>
                                          <p:spTgt spid="3"/>
                                        </p:tgtEl>
                                      </p:cBhvr>
                                    </p:animEffect>
                                  </p:childTnLst>
                                </p:cTn>
                              </p:par>
                            </p:childTnLst>
                          </p:cTn>
                        </p:par>
                        <p:par>
                          <p:cTn id="47" fill="hold">
                            <p:stCondLst>
                              <p:cond delay="4500"/>
                            </p:stCondLst>
                            <p:childTnLst>
                              <p:par>
                                <p:cTn id="48" presetID="22" presetClass="entr" presetSubtype="1" fill="hold" nodeType="afterEffect">
                                  <p:stCondLst>
                                    <p:cond delay="0"/>
                                  </p:stCondLst>
                                  <p:childTnLst>
                                    <p:set>
                                      <p:cBhvr>
                                        <p:cTn id="49" dur="1" fill="hold">
                                          <p:stCondLst>
                                            <p:cond delay="0"/>
                                          </p:stCondLst>
                                        </p:cTn>
                                        <p:tgtEl>
                                          <p:spTgt spid="21"/>
                                        </p:tgtEl>
                                        <p:attrNameLst>
                                          <p:attrName>style.visibility</p:attrName>
                                        </p:attrNameLst>
                                      </p:cBhvr>
                                      <p:to>
                                        <p:strVal val="visible"/>
                                      </p:to>
                                    </p:set>
                                    <p:animEffect transition="in" filter="wipe(up)">
                                      <p:cBhvr>
                                        <p:cTn id="50" dur="750"/>
                                        <p:tgtEl>
                                          <p:spTgt spid="21"/>
                                        </p:tgtEl>
                                      </p:cBhvr>
                                    </p:animEffect>
                                  </p:childTnLst>
                                </p:cTn>
                              </p:par>
                            </p:childTnLst>
                          </p:cTn>
                        </p:par>
                        <p:par>
                          <p:cTn id="51" fill="hold">
                            <p:stCondLst>
                              <p:cond delay="5250"/>
                            </p:stCondLst>
                            <p:childTnLst>
                              <p:par>
                                <p:cTn id="52" presetID="53" presetClass="entr" presetSubtype="16" fill="hold" grpId="0" nodeType="afterEffect">
                                  <p:stCondLst>
                                    <p:cond delay="0"/>
                                  </p:stCondLst>
                                  <p:childTnLst>
                                    <p:set>
                                      <p:cBhvr>
                                        <p:cTn id="53" dur="1" fill="hold">
                                          <p:stCondLst>
                                            <p:cond delay="0"/>
                                          </p:stCondLst>
                                        </p:cTn>
                                        <p:tgtEl>
                                          <p:spTgt spid="8"/>
                                        </p:tgtEl>
                                        <p:attrNameLst>
                                          <p:attrName>style.visibility</p:attrName>
                                        </p:attrNameLst>
                                      </p:cBhvr>
                                      <p:to>
                                        <p:strVal val="visible"/>
                                      </p:to>
                                    </p:set>
                                    <p:anim calcmode="lin" valueType="num">
                                      <p:cBhvr>
                                        <p:cTn id="54" dur="750" fill="hold"/>
                                        <p:tgtEl>
                                          <p:spTgt spid="8"/>
                                        </p:tgtEl>
                                        <p:attrNameLst>
                                          <p:attrName>ppt_w</p:attrName>
                                        </p:attrNameLst>
                                      </p:cBhvr>
                                      <p:tavLst>
                                        <p:tav tm="0">
                                          <p:val>
                                            <p:fltVal val="0"/>
                                          </p:val>
                                        </p:tav>
                                        <p:tav tm="100000">
                                          <p:val>
                                            <p:strVal val="#ppt_w"/>
                                          </p:val>
                                        </p:tav>
                                      </p:tavLst>
                                    </p:anim>
                                    <p:anim calcmode="lin" valueType="num">
                                      <p:cBhvr>
                                        <p:cTn id="55" dur="750" fill="hold"/>
                                        <p:tgtEl>
                                          <p:spTgt spid="8"/>
                                        </p:tgtEl>
                                        <p:attrNameLst>
                                          <p:attrName>ppt_h</p:attrName>
                                        </p:attrNameLst>
                                      </p:cBhvr>
                                      <p:tavLst>
                                        <p:tav tm="0">
                                          <p:val>
                                            <p:fltVal val="0"/>
                                          </p:val>
                                        </p:tav>
                                        <p:tav tm="100000">
                                          <p:val>
                                            <p:strVal val="#ppt_h"/>
                                          </p:val>
                                        </p:tav>
                                      </p:tavLst>
                                    </p:anim>
                                    <p:animEffect transition="in" filter="fade">
                                      <p:cBhvr>
                                        <p:cTn id="56" dur="750"/>
                                        <p:tgtEl>
                                          <p:spTgt spid="8"/>
                                        </p:tgtEl>
                                      </p:cBhvr>
                                    </p:animEffect>
                                  </p:childTnLst>
                                </p:cTn>
                              </p:par>
                            </p:childTnLst>
                          </p:cTn>
                        </p:par>
                        <p:par>
                          <p:cTn id="57" fill="hold">
                            <p:stCondLst>
                              <p:cond delay="6000"/>
                            </p:stCondLst>
                            <p:childTnLst>
                              <p:par>
                                <p:cTn id="58" presetID="42" presetClass="entr" presetSubtype="0" fill="hold" grpId="0" nodeType="after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750"/>
                                        <p:tgtEl>
                                          <p:spTgt spid="26"/>
                                        </p:tgtEl>
                                      </p:cBhvr>
                                    </p:animEffect>
                                    <p:anim calcmode="lin" valueType="num">
                                      <p:cBhvr>
                                        <p:cTn id="61" dur="750" fill="hold"/>
                                        <p:tgtEl>
                                          <p:spTgt spid="26"/>
                                        </p:tgtEl>
                                        <p:attrNameLst>
                                          <p:attrName>ppt_x</p:attrName>
                                        </p:attrNameLst>
                                      </p:cBhvr>
                                      <p:tavLst>
                                        <p:tav tm="0">
                                          <p:val>
                                            <p:strVal val="#ppt_x"/>
                                          </p:val>
                                        </p:tav>
                                        <p:tav tm="100000">
                                          <p:val>
                                            <p:strVal val="#ppt_x"/>
                                          </p:val>
                                        </p:tav>
                                      </p:tavLst>
                                    </p:anim>
                                    <p:anim calcmode="lin" valueType="num">
                                      <p:cBhvr>
                                        <p:cTn id="62" dur="750" fill="hold"/>
                                        <p:tgtEl>
                                          <p:spTgt spid="26"/>
                                        </p:tgtEl>
                                        <p:attrNameLst>
                                          <p:attrName>ppt_y</p:attrName>
                                        </p:attrNameLst>
                                      </p:cBhvr>
                                      <p:tavLst>
                                        <p:tav tm="0">
                                          <p:val>
                                            <p:strVal val="#ppt_y+.1"/>
                                          </p:val>
                                        </p:tav>
                                        <p:tav tm="100000">
                                          <p:val>
                                            <p:strVal val="#ppt_y"/>
                                          </p:val>
                                        </p:tav>
                                      </p:tavLst>
                                    </p:anim>
                                  </p:childTnLst>
                                </p:cTn>
                              </p:par>
                            </p:childTnLst>
                          </p:cTn>
                        </p:par>
                        <p:par>
                          <p:cTn id="63" fill="hold">
                            <p:stCondLst>
                              <p:cond delay="6750"/>
                            </p:stCondLst>
                            <p:childTnLst>
                              <p:par>
                                <p:cTn id="64" presetID="42" presetClass="entr" presetSubtype="0" fill="hold" grpId="0" nodeType="afterEffect">
                                  <p:stCondLst>
                                    <p:cond delay="0"/>
                                  </p:stCondLst>
                                  <p:childTnLst>
                                    <p:set>
                                      <p:cBhvr>
                                        <p:cTn id="65" dur="1" fill="hold">
                                          <p:stCondLst>
                                            <p:cond delay="0"/>
                                          </p:stCondLst>
                                        </p:cTn>
                                        <p:tgtEl>
                                          <p:spTgt spid="27"/>
                                        </p:tgtEl>
                                        <p:attrNameLst>
                                          <p:attrName>style.visibility</p:attrName>
                                        </p:attrNameLst>
                                      </p:cBhvr>
                                      <p:to>
                                        <p:strVal val="visible"/>
                                      </p:to>
                                    </p:set>
                                    <p:animEffect transition="in" filter="fade">
                                      <p:cBhvr>
                                        <p:cTn id="66" dur="750"/>
                                        <p:tgtEl>
                                          <p:spTgt spid="27"/>
                                        </p:tgtEl>
                                      </p:cBhvr>
                                    </p:animEffect>
                                    <p:anim calcmode="lin" valueType="num">
                                      <p:cBhvr>
                                        <p:cTn id="67" dur="750" fill="hold"/>
                                        <p:tgtEl>
                                          <p:spTgt spid="27"/>
                                        </p:tgtEl>
                                        <p:attrNameLst>
                                          <p:attrName>ppt_x</p:attrName>
                                        </p:attrNameLst>
                                      </p:cBhvr>
                                      <p:tavLst>
                                        <p:tav tm="0">
                                          <p:val>
                                            <p:strVal val="#ppt_x"/>
                                          </p:val>
                                        </p:tav>
                                        <p:tav tm="100000">
                                          <p:val>
                                            <p:strVal val="#ppt_x"/>
                                          </p:val>
                                        </p:tav>
                                      </p:tavLst>
                                    </p:anim>
                                    <p:anim calcmode="lin" valueType="num">
                                      <p:cBhvr>
                                        <p:cTn id="68" dur="750" fill="hold"/>
                                        <p:tgtEl>
                                          <p:spTgt spid="27"/>
                                        </p:tgtEl>
                                        <p:attrNameLst>
                                          <p:attrName>ppt_y</p:attrName>
                                        </p:attrNameLst>
                                      </p:cBhvr>
                                      <p:tavLst>
                                        <p:tav tm="0">
                                          <p:val>
                                            <p:strVal val="#ppt_y+.1"/>
                                          </p:val>
                                        </p:tav>
                                        <p:tav tm="100000">
                                          <p:val>
                                            <p:strVal val="#ppt_y"/>
                                          </p:val>
                                        </p:tav>
                                      </p:tavLst>
                                    </p:anim>
                                  </p:childTnLst>
                                </p:cTn>
                              </p:par>
                            </p:childTnLst>
                          </p:cTn>
                        </p:par>
                        <p:par>
                          <p:cTn id="69" fill="hold">
                            <p:stCondLst>
                              <p:cond delay="7500"/>
                            </p:stCondLst>
                            <p:childTnLst>
                              <p:par>
                                <p:cTn id="70" presetID="42" presetClass="entr" presetSubtype="0" fill="hold" grpId="0" nodeType="afterEffect">
                                  <p:stCondLst>
                                    <p:cond delay="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750"/>
                                        <p:tgtEl>
                                          <p:spTgt spid="28"/>
                                        </p:tgtEl>
                                      </p:cBhvr>
                                    </p:animEffect>
                                    <p:anim calcmode="lin" valueType="num">
                                      <p:cBhvr>
                                        <p:cTn id="73" dur="750" fill="hold"/>
                                        <p:tgtEl>
                                          <p:spTgt spid="28"/>
                                        </p:tgtEl>
                                        <p:attrNameLst>
                                          <p:attrName>ppt_x</p:attrName>
                                        </p:attrNameLst>
                                      </p:cBhvr>
                                      <p:tavLst>
                                        <p:tav tm="0">
                                          <p:val>
                                            <p:strVal val="#ppt_x"/>
                                          </p:val>
                                        </p:tav>
                                        <p:tav tm="100000">
                                          <p:val>
                                            <p:strVal val="#ppt_x"/>
                                          </p:val>
                                        </p:tav>
                                      </p:tavLst>
                                    </p:anim>
                                    <p:anim calcmode="lin" valueType="num">
                                      <p:cBhvr>
                                        <p:cTn id="74" dur="750" fill="hold"/>
                                        <p:tgtEl>
                                          <p:spTgt spid="28"/>
                                        </p:tgtEl>
                                        <p:attrNameLst>
                                          <p:attrName>ppt_y</p:attrName>
                                        </p:attrNameLst>
                                      </p:cBhvr>
                                      <p:tavLst>
                                        <p:tav tm="0">
                                          <p:val>
                                            <p:strVal val="#ppt_y+.1"/>
                                          </p:val>
                                        </p:tav>
                                        <p:tav tm="100000">
                                          <p:val>
                                            <p:strVal val="#ppt_y"/>
                                          </p:val>
                                        </p:tav>
                                      </p:tavLst>
                                    </p:anim>
                                  </p:childTnLst>
                                </p:cTn>
                              </p:par>
                            </p:childTnLst>
                          </p:cTn>
                        </p:par>
                        <p:par>
                          <p:cTn id="75" fill="hold">
                            <p:stCondLst>
                              <p:cond delay="8250"/>
                            </p:stCondLst>
                            <p:childTnLst>
                              <p:par>
                                <p:cTn id="76" presetID="42" presetClass="entr" presetSubtype="0" fill="hold" grpId="0" nodeType="afterEffect">
                                  <p:stCondLst>
                                    <p:cond delay="0"/>
                                  </p:stCondLst>
                                  <p:childTnLst>
                                    <p:set>
                                      <p:cBhvr>
                                        <p:cTn id="77" dur="1" fill="hold">
                                          <p:stCondLst>
                                            <p:cond delay="0"/>
                                          </p:stCondLst>
                                        </p:cTn>
                                        <p:tgtEl>
                                          <p:spTgt spid="29"/>
                                        </p:tgtEl>
                                        <p:attrNameLst>
                                          <p:attrName>style.visibility</p:attrName>
                                        </p:attrNameLst>
                                      </p:cBhvr>
                                      <p:to>
                                        <p:strVal val="visible"/>
                                      </p:to>
                                    </p:set>
                                    <p:animEffect transition="in" filter="fade">
                                      <p:cBhvr>
                                        <p:cTn id="78" dur="750"/>
                                        <p:tgtEl>
                                          <p:spTgt spid="29"/>
                                        </p:tgtEl>
                                      </p:cBhvr>
                                    </p:animEffect>
                                    <p:anim calcmode="lin" valueType="num">
                                      <p:cBhvr>
                                        <p:cTn id="79" dur="750" fill="hold"/>
                                        <p:tgtEl>
                                          <p:spTgt spid="29"/>
                                        </p:tgtEl>
                                        <p:attrNameLst>
                                          <p:attrName>ppt_x</p:attrName>
                                        </p:attrNameLst>
                                      </p:cBhvr>
                                      <p:tavLst>
                                        <p:tav tm="0">
                                          <p:val>
                                            <p:strVal val="#ppt_x"/>
                                          </p:val>
                                        </p:tav>
                                        <p:tav tm="100000">
                                          <p:val>
                                            <p:strVal val="#ppt_x"/>
                                          </p:val>
                                        </p:tav>
                                      </p:tavLst>
                                    </p:anim>
                                    <p:anim calcmode="lin" valueType="num">
                                      <p:cBhvr>
                                        <p:cTn id="80" dur="750" fill="hold"/>
                                        <p:tgtEl>
                                          <p:spTgt spid="2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8" grpId="0" animBg="1"/>
      <p:bldP spid="26" grpId="0" animBg="1"/>
      <p:bldP spid="27" grpId="0" animBg="1"/>
      <p:bldP spid="28" grpId="0" animBg="1"/>
      <p:bldP spid="2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598C56B-DF99-96C2-6DF6-44D2CDF344D1}"/>
              </a:ext>
            </a:extLst>
          </p:cNvPr>
          <p:cNvGrpSpPr/>
          <p:nvPr/>
        </p:nvGrpSpPr>
        <p:grpSpPr>
          <a:xfrm>
            <a:off x="1500339" y="0"/>
            <a:ext cx="4180114" cy="7630886"/>
            <a:chOff x="1500339" y="0"/>
            <a:chExt cx="4180114" cy="7630886"/>
          </a:xfrm>
        </p:grpSpPr>
        <p:sp>
          <p:nvSpPr>
            <p:cNvPr id="3" name="!!_Builders_Oval">
              <a:extLst>
                <a:ext uri="{FF2B5EF4-FFF2-40B4-BE49-F238E27FC236}">
                  <a16:creationId xmlns:a16="http://schemas.microsoft.com/office/drawing/2014/main" id="{AA42514A-FF07-4F8E-B3B0-5BCBC3F67083}"/>
                </a:ext>
              </a:extLst>
            </p:cNvPr>
            <p:cNvSpPr/>
            <p:nvPr/>
          </p:nvSpPr>
          <p:spPr>
            <a:xfrm>
              <a:off x="1963532" y="3772233"/>
              <a:ext cx="3251200" cy="3251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nvGrpSpPr>
            <p:cNvPr id="4" name="Group 3">
              <a:extLst>
                <a:ext uri="{FF2B5EF4-FFF2-40B4-BE49-F238E27FC236}">
                  <a16:creationId xmlns:a16="http://schemas.microsoft.com/office/drawing/2014/main" id="{D90D76EC-45CC-B7E4-2D17-B6FDE0C47458}"/>
                </a:ext>
              </a:extLst>
            </p:cNvPr>
            <p:cNvGrpSpPr/>
            <p:nvPr/>
          </p:nvGrpSpPr>
          <p:grpSpPr>
            <a:xfrm>
              <a:off x="2345767" y="4470392"/>
              <a:ext cx="2396264" cy="2564184"/>
              <a:chOff x="8227793" y="4428809"/>
              <a:chExt cx="1800347" cy="1926509"/>
            </a:xfrm>
          </p:grpSpPr>
          <p:sp>
            <p:nvSpPr>
              <p:cNvPr id="7" name="Freeform 6">
                <a:extLst>
                  <a:ext uri="{FF2B5EF4-FFF2-40B4-BE49-F238E27FC236}">
                    <a16:creationId xmlns:a16="http://schemas.microsoft.com/office/drawing/2014/main" id="{4AAAD431-9DD5-3E52-A488-AC3A78D0FF9E}"/>
                  </a:ext>
                </a:extLst>
              </p:cNvPr>
              <p:cNvSpPr/>
              <p:nvPr/>
            </p:nvSpPr>
            <p:spPr>
              <a:xfrm>
                <a:off x="8694962" y="4456746"/>
                <a:ext cx="459504" cy="1085113"/>
              </a:xfrm>
              <a:custGeom>
                <a:avLst/>
                <a:gdLst>
                  <a:gd name="connsiteX0" fmla="*/ 0 w 459504"/>
                  <a:gd name="connsiteY0" fmla="*/ 64056 h 1085113"/>
                  <a:gd name="connsiteX1" fmla="*/ 0 w 459504"/>
                  <a:gd name="connsiteY1" fmla="*/ 1063948 h 1085113"/>
                  <a:gd name="connsiteX2" fmla="*/ 246192 w 459504"/>
                  <a:gd name="connsiteY2" fmla="*/ 681801 h 1085113"/>
                  <a:gd name="connsiteX3" fmla="*/ 250530 w 459504"/>
                  <a:gd name="connsiteY3" fmla="*/ 656129 h 1085113"/>
                  <a:gd name="connsiteX4" fmla="*/ 191422 w 459504"/>
                  <a:gd name="connsiteY4" fmla="*/ 605586 h 1085113"/>
                  <a:gd name="connsiteX5" fmla="*/ 180035 w 459504"/>
                  <a:gd name="connsiteY5" fmla="*/ 607458 h 1085113"/>
                  <a:gd name="connsiteX6" fmla="*/ 344886 w 459504"/>
                  <a:gd name="connsiteY6" fmla="*/ 822465 h 1085113"/>
                  <a:gd name="connsiteX7" fmla="*/ 349224 w 459504"/>
                  <a:gd name="connsiteY7" fmla="*/ 796793 h 1085113"/>
                  <a:gd name="connsiteX8" fmla="*/ 289845 w 459504"/>
                  <a:gd name="connsiteY8" fmla="*/ 746250 h 1085113"/>
                  <a:gd name="connsiteX9" fmla="*/ 278457 w 459504"/>
                  <a:gd name="connsiteY9" fmla="*/ 748122 h 1085113"/>
                  <a:gd name="connsiteX10" fmla="*/ 63175 w 459504"/>
                  <a:gd name="connsiteY10" fmla="*/ 425878 h 1085113"/>
                  <a:gd name="connsiteX11" fmla="*/ 86493 w 459504"/>
                  <a:gd name="connsiteY11" fmla="*/ 413577 h 1085113"/>
                  <a:gd name="connsiteX12" fmla="*/ 90831 w 459504"/>
                  <a:gd name="connsiteY12" fmla="*/ 336559 h 1085113"/>
                  <a:gd name="connsiteX13" fmla="*/ 82426 w 459504"/>
                  <a:gd name="connsiteY13" fmla="*/ 329071 h 1085113"/>
                  <a:gd name="connsiteX14" fmla="*/ 186542 w 459504"/>
                  <a:gd name="connsiteY14" fmla="*/ 271308 h 1085113"/>
                  <a:gd name="connsiteX15" fmla="*/ 147769 w 459504"/>
                  <a:gd name="connsiteY15" fmla="*/ 373196 h 1085113"/>
                  <a:gd name="connsiteX16" fmla="*/ 104388 w 459504"/>
                  <a:gd name="connsiteY16" fmla="*/ 387102 h 1085113"/>
                  <a:gd name="connsiteX17" fmla="*/ 245650 w 459504"/>
                  <a:gd name="connsiteY17" fmla="*/ 223172 h 1085113"/>
                  <a:gd name="connsiteX18" fmla="*/ 233720 w 459504"/>
                  <a:gd name="connsiteY18" fmla="*/ 246438 h 1085113"/>
                  <a:gd name="connsiteX19" fmla="*/ 155632 w 459504"/>
                  <a:gd name="connsiteY19" fmla="*/ 252856 h 1085113"/>
                  <a:gd name="connsiteX20" fmla="*/ 147769 w 459504"/>
                  <a:gd name="connsiteY20" fmla="*/ 244566 h 1085113"/>
                  <a:gd name="connsiteX21" fmla="*/ 183288 w 459504"/>
                  <a:gd name="connsiteY21" fmla="*/ 874613 h 1085113"/>
                  <a:gd name="connsiteX22" fmla="*/ 202539 w 459504"/>
                  <a:gd name="connsiteY22" fmla="*/ 925958 h 1085113"/>
                  <a:gd name="connsiteX23" fmla="*/ 85408 w 459504"/>
                  <a:gd name="connsiteY23" fmla="*/ 1083470 h 1085113"/>
                  <a:gd name="connsiteX24" fmla="*/ 10303 w 459504"/>
                  <a:gd name="connsiteY24" fmla="*/ 1074645 h 1085113"/>
                  <a:gd name="connsiteX25" fmla="*/ 351935 w 459504"/>
                  <a:gd name="connsiteY25" fmla="*/ 432296 h 1085113"/>
                  <a:gd name="connsiteX26" fmla="*/ 340277 w 459504"/>
                  <a:gd name="connsiteY26" fmla="*/ 455562 h 1085113"/>
                  <a:gd name="connsiteX27" fmla="*/ 262189 w 459504"/>
                  <a:gd name="connsiteY27" fmla="*/ 461980 h 1085113"/>
                  <a:gd name="connsiteX28" fmla="*/ 254326 w 459504"/>
                  <a:gd name="connsiteY28" fmla="*/ 453690 h 1085113"/>
                  <a:gd name="connsiteX29" fmla="*/ 54498 w 459504"/>
                  <a:gd name="connsiteY29" fmla="*/ 168350 h 1085113"/>
                  <a:gd name="connsiteX30" fmla="*/ 53685 w 459504"/>
                  <a:gd name="connsiteY30" fmla="*/ 142410 h 1085113"/>
                  <a:gd name="connsiteX31" fmla="*/ 119300 w 459504"/>
                  <a:gd name="connsiteY31" fmla="*/ 100158 h 1085113"/>
                  <a:gd name="connsiteX32" fmla="*/ 130146 w 459504"/>
                  <a:gd name="connsiteY32" fmla="*/ 103634 h 1085113"/>
                  <a:gd name="connsiteX33" fmla="*/ 420533 w 459504"/>
                  <a:gd name="connsiteY33" fmla="*/ 508244 h 1085113"/>
                  <a:gd name="connsiteX34" fmla="*/ 456323 w 459504"/>
                  <a:gd name="connsiteY34" fmla="*/ 606388 h 1085113"/>
                  <a:gd name="connsiteX35" fmla="*/ 386099 w 459504"/>
                  <a:gd name="connsiteY35" fmla="*/ 672174 h 1085113"/>
                  <a:gd name="connsiteX36" fmla="*/ 290930 w 459504"/>
                  <a:gd name="connsiteY36" fmla="*/ 278528 h 1085113"/>
                  <a:gd name="connsiteX37" fmla="*/ 346513 w 459504"/>
                  <a:gd name="connsiteY37" fmla="*/ 278796 h 1085113"/>
                  <a:gd name="connsiteX38" fmla="*/ 455238 w 459504"/>
                  <a:gd name="connsiteY38" fmla="*/ 442191 h 1085113"/>
                  <a:gd name="connsiteX39" fmla="*/ 420533 w 459504"/>
                  <a:gd name="connsiteY39" fmla="*/ 508244 h 1085113"/>
                  <a:gd name="connsiteX40" fmla="*/ 376880 w 459504"/>
                  <a:gd name="connsiteY40" fmla="*/ 600237 h 1085113"/>
                  <a:gd name="connsiteX41" fmla="*/ 379591 w 459504"/>
                  <a:gd name="connsiteY41" fmla="*/ 732344 h 1085113"/>
                  <a:gd name="connsiteX42" fmla="*/ 204166 w 459504"/>
                  <a:gd name="connsiteY42" fmla="*/ 942270 h 1085113"/>
                  <a:gd name="connsiteX43" fmla="*/ 333769 w 459504"/>
                  <a:gd name="connsiteY43" fmla="*/ 273447 h 1085113"/>
                  <a:gd name="connsiteX44" fmla="*/ 154548 w 459504"/>
                  <a:gd name="connsiteY44" fmla="*/ 3618 h 1085113"/>
                  <a:gd name="connsiteX45" fmla="*/ 2169 w 459504"/>
                  <a:gd name="connsiteY45" fmla="*/ 47743 h 1085113"/>
                  <a:gd name="connsiteX46" fmla="*/ 116318 w 459504"/>
                  <a:gd name="connsiteY46" fmla="*/ 760691 h 1085113"/>
                  <a:gd name="connsiteX47" fmla="*/ 89746 w 459504"/>
                  <a:gd name="connsiteY47" fmla="*/ 759889 h 1085113"/>
                  <a:gd name="connsiteX48" fmla="*/ 47178 w 459504"/>
                  <a:gd name="connsiteY48" fmla="*/ 824872 h 1085113"/>
                  <a:gd name="connsiteX49" fmla="*/ 50703 w 459504"/>
                  <a:gd name="connsiteY49" fmla="*/ 835569 h 1085113"/>
                  <a:gd name="connsiteX50" fmla="*/ 58837 w 459504"/>
                  <a:gd name="connsiteY50" fmla="*/ 769248 h 1085113"/>
                  <a:gd name="connsiteX51" fmla="*/ 173256 w 459504"/>
                  <a:gd name="connsiteY51" fmla="*/ 608527 h 1085113"/>
                  <a:gd name="connsiteX52" fmla="*/ 254326 w 459504"/>
                  <a:gd name="connsiteY52" fmla="*/ 582587 h 1085113"/>
                  <a:gd name="connsiteX53" fmla="*/ 293099 w 459504"/>
                  <a:gd name="connsiteY53" fmla="*/ 480700 h 1085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459504" h="1085113">
                    <a:moveTo>
                      <a:pt x="0" y="64056"/>
                    </a:moveTo>
                    <a:lnTo>
                      <a:pt x="0" y="1063948"/>
                    </a:lnTo>
                    <a:moveTo>
                      <a:pt x="246192" y="681801"/>
                    </a:moveTo>
                    <a:cubicBezTo>
                      <a:pt x="249717" y="674046"/>
                      <a:pt x="251344" y="665221"/>
                      <a:pt x="250530" y="656129"/>
                    </a:cubicBezTo>
                    <a:cubicBezTo>
                      <a:pt x="248361" y="626177"/>
                      <a:pt x="221790" y="603446"/>
                      <a:pt x="191422" y="605586"/>
                    </a:cubicBezTo>
                    <a:cubicBezTo>
                      <a:pt x="187627" y="605586"/>
                      <a:pt x="183831" y="606388"/>
                      <a:pt x="180035" y="607458"/>
                    </a:cubicBezTo>
                    <a:moveTo>
                      <a:pt x="344886" y="822465"/>
                    </a:moveTo>
                    <a:cubicBezTo>
                      <a:pt x="348411" y="814710"/>
                      <a:pt x="350037" y="805885"/>
                      <a:pt x="349224" y="796793"/>
                    </a:cubicBezTo>
                    <a:cubicBezTo>
                      <a:pt x="347055" y="766574"/>
                      <a:pt x="320484" y="744111"/>
                      <a:pt x="289845" y="746250"/>
                    </a:cubicBezTo>
                    <a:cubicBezTo>
                      <a:pt x="286049" y="746250"/>
                      <a:pt x="282253" y="747052"/>
                      <a:pt x="278457" y="748122"/>
                    </a:cubicBezTo>
                    <a:moveTo>
                      <a:pt x="63175" y="425878"/>
                    </a:moveTo>
                    <a:cubicBezTo>
                      <a:pt x="71580" y="423739"/>
                      <a:pt x="79714" y="419727"/>
                      <a:pt x="86493" y="413577"/>
                    </a:cubicBezTo>
                    <a:cubicBezTo>
                      <a:pt x="109268" y="393520"/>
                      <a:pt x="111437" y="359022"/>
                      <a:pt x="90831" y="336559"/>
                    </a:cubicBezTo>
                    <a:cubicBezTo>
                      <a:pt x="88119" y="333617"/>
                      <a:pt x="85408" y="331210"/>
                      <a:pt x="82426" y="329071"/>
                    </a:cubicBezTo>
                    <a:moveTo>
                      <a:pt x="186542" y="271308"/>
                    </a:moveTo>
                    <a:cubicBezTo>
                      <a:pt x="192507" y="313561"/>
                      <a:pt x="177866" y="353139"/>
                      <a:pt x="147769" y="373196"/>
                    </a:cubicBezTo>
                    <a:cubicBezTo>
                      <a:pt x="132315" y="383625"/>
                      <a:pt x="115775" y="386567"/>
                      <a:pt x="104388" y="387102"/>
                    </a:cubicBezTo>
                    <a:moveTo>
                      <a:pt x="245650" y="223172"/>
                    </a:moveTo>
                    <a:cubicBezTo>
                      <a:pt x="243752" y="231462"/>
                      <a:pt x="239956" y="239485"/>
                      <a:pt x="233720" y="246438"/>
                    </a:cubicBezTo>
                    <a:cubicBezTo>
                      <a:pt x="213927" y="269436"/>
                      <a:pt x="178950" y="272378"/>
                      <a:pt x="155632" y="252856"/>
                    </a:cubicBezTo>
                    <a:cubicBezTo>
                      <a:pt x="152650" y="250449"/>
                      <a:pt x="149939" y="247507"/>
                      <a:pt x="147769" y="244566"/>
                    </a:cubicBezTo>
                    <a:moveTo>
                      <a:pt x="183288" y="874613"/>
                    </a:moveTo>
                    <a:cubicBezTo>
                      <a:pt x="192778" y="889856"/>
                      <a:pt x="199557" y="907238"/>
                      <a:pt x="202539" y="925958"/>
                    </a:cubicBezTo>
                    <a:cubicBezTo>
                      <a:pt x="214469" y="1001371"/>
                      <a:pt x="161869" y="1071703"/>
                      <a:pt x="85408" y="1083470"/>
                    </a:cubicBezTo>
                    <a:cubicBezTo>
                      <a:pt x="59108" y="1087481"/>
                      <a:pt x="33350" y="1084004"/>
                      <a:pt x="10303" y="1074645"/>
                    </a:cubicBezTo>
                    <a:moveTo>
                      <a:pt x="351935" y="432296"/>
                    </a:moveTo>
                    <a:cubicBezTo>
                      <a:pt x="350037" y="440586"/>
                      <a:pt x="346241" y="448609"/>
                      <a:pt x="340277" y="455562"/>
                    </a:cubicBezTo>
                    <a:cubicBezTo>
                      <a:pt x="320484" y="478560"/>
                      <a:pt x="285507" y="481502"/>
                      <a:pt x="262189" y="461980"/>
                    </a:cubicBezTo>
                    <a:cubicBezTo>
                      <a:pt x="259207" y="459573"/>
                      <a:pt x="256495" y="456632"/>
                      <a:pt x="254326" y="453690"/>
                    </a:cubicBezTo>
                    <a:moveTo>
                      <a:pt x="54498" y="168350"/>
                    </a:moveTo>
                    <a:cubicBezTo>
                      <a:pt x="52058" y="160060"/>
                      <a:pt x="51516" y="151235"/>
                      <a:pt x="53685" y="142410"/>
                    </a:cubicBezTo>
                    <a:cubicBezTo>
                      <a:pt x="59921" y="112994"/>
                      <a:pt x="89204" y="94007"/>
                      <a:pt x="119300" y="100158"/>
                    </a:cubicBezTo>
                    <a:cubicBezTo>
                      <a:pt x="123096" y="100960"/>
                      <a:pt x="126892" y="102030"/>
                      <a:pt x="130146" y="103634"/>
                    </a:cubicBezTo>
                    <a:moveTo>
                      <a:pt x="420533" y="508244"/>
                    </a:moveTo>
                    <a:cubicBezTo>
                      <a:pt x="451171" y="529905"/>
                      <a:pt x="466626" y="568682"/>
                      <a:pt x="456323" y="606388"/>
                    </a:cubicBezTo>
                    <a:cubicBezTo>
                      <a:pt x="447104" y="640618"/>
                      <a:pt x="419177" y="665221"/>
                      <a:pt x="386099" y="672174"/>
                    </a:cubicBezTo>
                    <a:moveTo>
                      <a:pt x="290930" y="278528"/>
                    </a:moveTo>
                    <a:cubicBezTo>
                      <a:pt x="308825" y="275052"/>
                      <a:pt x="327804" y="275052"/>
                      <a:pt x="346513" y="278796"/>
                    </a:cubicBezTo>
                    <a:cubicBezTo>
                      <a:pt x="422431" y="294306"/>
                      <a:pt x="470964" y="367580"/>
                      <a:pt x="455238" y="442191"/>
                    </a:cubicBezTo>
                    <a:cubicBezTo>
                      <a:pt x="449816" y="467863"/>
                      <a:pt x="437343" y="490327"/>
                      <a:pt x="420533" y="508244"/>
                    </a:cubicBezTo>
                    <a:moveTo>
                      <a:pt x="376880" y="600237"/>
                    </a:moveTo>
                    <a:cubicBezTo>
                      <a:pt x="387725" y="642223"/>
                      <a:pt x="389352" y="687150"/>
                      <a:pt x="379591" y="732344"/>
                    </a:cubicBezTo>
                    <a:cubicBezTo>
                      <a:pt x="358985" y="829953"/>
                      <a:pt x="290930" y="905901"/>
                      <a:pt x="204166" y="942270"/>
                    </a:cubicBezTo>
                    <a:moveTo>
                      <a:pt x="333769" y="273447"/>
                    </a:moveTo>
                    <a:cubicBezTo>
                      <a:pt x="360069" y="150166"/>
                      <a:pt x="279542" y="29291"/>
                      <a:pt x="154548" y="3618"/>
                    </a:cubicBezTo>
                    <a:cubicBezTo>
                      <a:pt x="100049" y="-7614"/>
                      <a:pt x="36875" y="7362"/>
                      <a:pt x="2169" y="47743"/>
                    </a:cubicBezTo>
                    <a:moveTo>
                      <a:pt x="116318" y="760691"/>
                    </a:moveTo>
                    <a:cubicBezTo>
                      <a:pt x="107912" y="758284"/>
                      <a:pt x="98965" y="758017"/>
                      <a:pt x="89746" y="759889"/>
                    </a:cubicBezTo>
                    <a:cubicBezTo>
                      <a:pt x="59650" y="766307"/>
                      <a:pt x="40670" y="795188"/>
                      <a:pt x="47178" y="824872"/>
                    </a:cubicBezTo>
                    <a:cubicBezTo>
                      <a:pt x="47991" y="828616"/>
                      <a:pt x="49347" y="832093"/>
                      <a:pt x="50703" y="835569"/>
                    </a:cubicBezTo>
                    <a:moveTo>
                      <a:pt x="58837" y="769248"/>
                    </a:moveTo>
                    <a:cubicBezTo>
                      <a:pt x="63717" y="692498"/>
                      <a:pt x="87848" y="640351"/>
                      <a:pt x="173256" y="608527"/>
                    </a:cubicBezTo>
                    <a:cubicBezTo>
                      <a:pt x="173256" y="608527"/>
                      <a:pt x="226670" y="592215"/>
                      <a:pt x="254326" y="582587"/>
                    </a:cubicBezTo>
                    <a:cubicBezTo>
                      <a:pt x="288761" y="570286"/>
                      <a:pt x="299064" y="522685"/>
                      <a:pt x="293099" y="480700"/>
                    </a:cubicBezTo>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8" name="Freeform 7">
                <a:extLst>
                  <a:ext uri="{FF2B5EF4-FFF2-40B4-BE49-F238E27FC236}">
                    <a16:creationId xmlns:a16="http://schemas.microsoft.com/office/drawing/2014/main" id="{837B65E3-47B5-5E35-12F3-0CE0A347CDCE}"/>
                  </a:ext>
                </a:extLst>
              </p:cNvPr>
              <p:cNvSpPr/>
              <p:nvPr/>
            </p:nvSpPr>
            <p:spPr>
              <a:xfrm>
                <a:off x="8482662" y="4780201"/>
                <a:ext cx="42839" cy="42252"/>
              </a:xfrm>
              <a:custGeom>
                <a:avLst/>
                <a:gdLst>
                  <a:gd name="connsiteX0" fmla="*/ 0 w 42839"/>
                  <a:gd name="connsiteY0" fmla="*/ 21126 h 42252"/>
                  <a:gd name="connsiteX1" fmla="*/ 0 w 42839"/>
                  <a:gd name="connsiteY1" fmla="*/ 21126 h 42252"/>
                  <a:gd name="connsiteX2" fmla="*/ 21420 w 42839"/>
                  <a:gd name="connsiteY2" fmla="*/ 0 h 42252"/>
                  <a:gd name="connsiteX3" fmla="*/ 42840 w 42839"/>
                  <a:gd name="connsiteY3" fmla="*/ 21126 h 42252"/>
                  <a:gd name="connsiteX4" fmla="*/ 21420 w 42839"/>
                  <a:gd name="connsiteY4" fmla="*/ 42253 h 42252"/>
                  <a:gd name="connsiteX5" fmla="*/ 0 w 42839"/>
                  <a:gd name="connsiteY5" fmla="*/ 21126 h 4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39" h="42252">
                    <a:moveTo>
                      <a:pt x="0" y="21126"/>
                    </a:moveTo>
                    <a:lnTo>
                      <a:pt x="0" y="21126"/>
                    </a:lnTo>
                    <a:cubicBezTo>
                      <a:pt x="0" y="9360"/>
                      <a:pt x="9761" y="0"/>
                      <a:pt x="21420" y="0"/>
                    </a:cubicBezTo>
                    <a:cubicBezTo>
                      <a:pt x="33079" y="0"/>
                      <a:pt x="42840" y="9627"/>
                      <a:pt x="42840" y="21126"/>
                    </a:cubicBezTo>
                    <a:cubicBezTo>
                      <a:pt x="42840" y="32626"/>
                      <a:pt x="33079" y="42253"/>
                      <a:pt x="21420" y="42253"/>
                    </a:cubicBezTo>
                    <a:cubicBezTo>
                      <a:pt x="9761" y="42253"/>
                      <a:pt x="0" y="32626"/>
                      <a:pt x="0" y="21126"/>
                    </a:cubicBezTo>
                    <a:close/>
                  </a:path>
                </a:pathLst>
              </a:custGeom>
              <a:solidFill>
                <a:schemeClr val="bg1"/>
              </a:solid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9" name="Freeform 8">
                <a:extLst>
                  <a:ext uri="{FF2B5EF4-FFF2-40B4-BE49-F238E27FC236}">
                    <a16:creationId xmlns:a16="http://schemas.microsoft.com/office/drawing/2014/main" id="{940D5ED4-016F-1C06-6933-43C8F54F0374}"/>
                  </a:ext>
                </a:extLst>
              </p:cNvPr>
              <p:cNvSpPr/>
              <p:nvPr/>
            </p:nvSpPr>
            <p:spPr>
              <a:xfrm>
                <a:off x="8557767" y="4834756"/>
                <a:ext cx="42839" cy="42252"/>
              </a:xfrm>
              <a:custGeom>
                <a:avLst/>
                <a:gdLst>
                  <a:gd name="connsiteX0" fmla="*/ 21420 w 42839"/>
                  <a:gd name="connsiteY0" fmla="*/ 42253 h 42252"/>
                  <a:gd name="connsiteX1" fmla="*/ 21420 w 42839"/>
                  <a:gd name="connsiteY1" fmla="*/ 42253 h 42252"/>
                  <a:gd name="connsiteX2" fmla="*/ 42840 w 42839"/>
                  <a:gd name="connsiteY2" fmla="*/ 21126 h 42252"/>
                  <a:gd name="connsiteX3" fmla="*/ 21420 w 42839"/>
                  <a:gd name="connsiteY3" fmla="*/ 0 h 42252"/>
                  <a:gd name="connsiteX4" fmla="*/ 0 w 42839"/>
                  <a:gd name="connsiteY4" fmla="*/ 21126 h 42252"/>
                  <a:gd name="connsiteX5" fmla="*/ 21420 w 42839"/>
                  <a:gd name="connsiteY5" fmla="*/ 42253 h 4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39" h="42252">
                    <a:moveTo>
                      <a:pt x="21420" y="42253"/>
                    </a:moveTo>
                    <a:lnTo>
                      <a:pt x="21420" y="42253"/>
                    </a:lnTo>
                    <a:cubicBezTo>
                      <a:pt x="33350" y="42253"/>
                      <a:pt x="42840" y="32626"/>
                      <a:pt x="42840" y="21126"/>
                    </a:cubicBezTo>
                    <a:cubicBezTo>
                      <a:pt x="42840" y="9627"/>
                      <a:pt x="33079" y="0"/>
                      <a:pt x="21420" y="0"/>
                    </a:cubicBezTo>
                    <a:cubicBezTo>
                      <a:pt x="9761" y="0"/>
                      <a:pt x="0" y="9627"/>
                      <a:pt x="0" y="21126"/>
                    </a:cubicBezTo>
                    <a:cubicBezTo>
                      <a:pt x="0" y="32626"/>
                      <a:pt x="9761" y="42253"/>
                      <a:pt x="21420" y="42253"/>
                    </a:cubicBezTo>
                    <a:close/>
                  </a:path>
                </a:pathLst>
              </a:custGeom>
              <a:solidFill>
                <a:schemeClr val="bg1"/>
              </a:solid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0" name="Freeform 9">
                <a:extLst>
                  <a:ext uri="{FF2B5EF4-FFF2-40B4-BE49-F238E27FC236}">
                    <a16:creationId xmlns:a16="http://schemas.microsoft.com/office/drawing/2014/main" id="{CC03989A-D3A2-7E6A-8BB7-DDA024085BC6}"/>
                  </a:ext>
                </a:extLst>
              </p:cNvPr>
              <p:cNvSpPr/>
              <p:nvPr/>
            </p:nvSpPr>
            <p:spPr>
              <a:xfrm>
                <a:off x="8600335" y="5374949"/>
                <a:ext cx="42839" cy="42252"/>
              </a:xfrm>
              <a:custGeom>
                <a:avLst/>
                <a:gdLst>
                  <a:gd name="connsiteX0" fmla="*/ 21420 w 42839"/>
                  <a:gd name="connsiteY0" fmla="*/ 42253 h 42252"/>
                  <a:gd name="connsiteX1" fmla="*/ 21420 w 42839"/>
                  <a:gd name="connsiteY1" fmla="*/ 42253 h 42252"/>
                  <a:gd name="connsiteX2" fmla="*/ 42840 w 42839"/>
                  <a:gd name="connsiteY2" fmla="*/ 21126 h 42252"/>
                  <a:gd name="connsiteX3" fmla="*/ 21420 w 42839"/>
                  <a:gd name="connsiteY3" fmla="*/ 0 h 42252"/>
                  <a:gd name="connsiteX4" fmla="*/ 0 w 42839"/>
                  <a:gd name="connsiteY4" fmla="*/ 21126 h 42252"/>
                  <a:gd name="connsiteX5" fmla="*/ 21420 w 42839"/>
                  <a:gd name="connsiteY5" fmla="*/ 42253 h 4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39" h="42252">
                    <a:moveTo>
                      <a:pt x="21420" y="42253"/>
                    </a:moveTo>
                    <a:lnTo>
                      <a:pt x="21420" y="42253"/>
                    </a:lnTo>
                    <a:cubicBezTo>
                      <a:pt x="33350" y="42253"/>
                      <a:pt x="42840" y="32626"/>
                      <a:pt x="42840" y="21126"/>
                    </a:cubicBezTo>
                    <a:cubicBezTo>
                      <a:pt x="42840" y="9627"/>
                      <a:pt x="33079" y="0"/>
                      <a:pt x="21420" y="0"/>
                    </a:cubicBezTo>
                    <a:cubicBezTo>
                      <a:pt x="9761" y="0"/>
                      <a:pt x="0" y="9627"/>
                      <a:pt x="0" y="21126"/>
                    </a:cubicBezTo>
                    <a:cubicBezTo>
                      <a:pt x="0" y="32626"/>
                      <a:pt x="9761" y="42253"/>
                      <a:pt x="21420" y="42253"/>
                    </a:cubicBezTo>
                    <a:close/>
                  </a:path>
                </a:pathLst>
              </a:custGeom>
              <a:solidFill>
                <a:schemeClr val="bg1"/>
              </a:solid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1" name="Freeform 10">
                <a:extLst>
                  <a:ext uri="{FF2B5EF4-FFF2-40B4-BE49-F238E27FC236}">
                    <a16:creationId xmlns:a16="http://schemas.microsoft.com/office/drawing/2014/main" id="{2A30606B-25EC-CACE-FA0A-A011B3038ABC}"/>
                  </a:ext>
                </a:extLst>
              </p:cNvPr>
              <p:cNvSpPr/>
              <p:nvPr/>
            </p:nvSpPr>
            <p:spPr>
              <a:xfrm>
                <a:off x="8454735" y="5018207"/>
                <a:ext cx="42839" cy="42252"/>
              </a:xfrm>
              <a:custGeom>
                <a:avLst/>
                <a:gdLst>
                  <a:gd name="connsiteX0" fmla="*/ 21420 w 42839"/>
                  <a:gd name="connsiteY0" fmla="*/ 42253 h 42252"/>
                  <a:gd name="connsiteX1" fmla="*/ 21420 w 42839"/>
                  <a:gd name="connsiteY1" fmla="*/ 42253 h 42252"/>
                  <a:gd name="connsiteX2" fmla="*/ 42840 w 42839"/>
                  <a:gd name="connsiteY2" fmla="*/ 21126 h 42252"/>
                  <a:gd name="connsiteX3" fmla="*/ 21420 w 42839"/>
                  <a:gd name="connsiteY3" fmla="*/ 0 h 42252"/>
                  <a:gd name="connsiteX4" fmla="*/ 0 w 42839"/>
                  <a:gd name="connsiteY4" fmla="*/ 21126 h 42252"/>
                  <a:gd name="connsiteX5" fmla="*/ 21420 w 42839"/>
                  <a:gd name="connsiteY5" fmla="*/ 42253 h 4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39" h="42252">
                    <a:moveTo>
                      <a:pt x="21420" y="42253"/>
                    </a:moveTo>
                    <a:lnTo>
                      <a:pt x="21420" y="42253"/>
                    </a:lnTo>
                    <a:cubicBezTo>
                      <a:pt x="33350" y="42253"/>
                      <a:pt x="42840" y="32626"/>
                      <a:pt x="42840" y="21126"/>
                    </a:cubicBezTo>
                    <a:cubicBezTo>
                      <a:pt x="42840" y="9627"/>
                      <a:pt x="33079" y="0"/>
                      <a:pt x="21420" y="0"/>
                    </a:cubicBezTo>
                    <a:cubicBezTo>
                      <a:pt x="9761" y="0"/>
                      <a:pt x="0" y="9627"/>
                      <a:pt x="0" y="21126"/>
                    </a:cubicBezTo>
                    <a:cubicBezTo>
                      <a:pt x="0" y="32626"/>
                      <a:pt x="9761" y="42253"/>
                      <a:pt x="21420" y="42253"/>
                    </a:cubicBezTo>
                    <a:close/>
                  </a:path>
                </a:pathLst>
              </a:custGeom>
              <a:solidFill>
                <a:schemeClr val="bg1"/>
              </a:solid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2" name="Freeform 11">
                <a:extLst>
                  <a:ext uri="{FF2B5EF4-FFF2-40B4-BE49-F238E27FC236}">
                    <a16:creationId xmlns:a16="http://schemas.microsoft.com/office/drawing/2014/main" id="{1B7E7760-960C-236D-49FD-E44D18FF3872}"/>
                  </a:ext>
                </a:extLst>
              </p:cNvPr>
              <p:cNvSpPr/>
              <p:nvPr/>
            </p:nvSpPr>
            <p:spPr>
              <a:xfrm>
                <a:off x="8425452" y="4560915"/>
                <a:ext cx="179763" cy="835694"/>
              </a:xfrm>
              <a:custGeom>
                <a:avLst/>
                <a:gdLst>
                  <a:gd name="connsiteX0" fmla="*/ 128790 w 179763"/>
                  <a:gd name="connsiteY0" fmla="*/ 686473 h 835694"/>
                  <a:gd name="connsiteX1" fmla="*/ 16539 w 179763"/>
                  <a:gd name="connsiteY1" fmla="*/ 686473 h 835694"/>
                  <a:gd name="connsiteX2" fmla="*/ 813 w 179763"/>
                  <a:gd name="connsiteY2" fmla="*/ 670963 h 835694"/>
                  <a:gd name="connsiteX3" fmla="*/ 813 w 179763"/>
                  <a:gd name="connsiteY3" fmla="*/ 654650 h 835694"/>
                  <a:gd name="connsiteX4" fmla="*/ 147498 w 179763"/>
                  <a:gd name="connsiteY4" fmla="*/ 710274 h 835694"/>
                  <a:gd name="connsiteX5" fmla="*/ 147498 w 179763"/>
                  <a:gd name="connsiteY5" fmla="*/ 820452 h 835694"/>
                  <a:gd name="connsiteX6" fmla="*/ 163224 w 179763"/>
                  <a:gd name="connsiteY6" fmla="*/ 835695 h 835694"/>
                  <a:gd name="connsiteX7" fmla="*/ 179764 w 179763"/>
                  <a:gd name="connsiteY7" fmla="*/ 835695 h 835694"/>
                  <a:gd name="connsiteX8" fmla="*/ 0 w 179763"/>
                  <a:gd name="connsiteY8" fmla="*/ 603840 h 835694"/>
                  <a:gd name="connsiteX9" fmla="*/ 0 w 179763"/>
                  <a:gd name="connsiteY9" fmla="*/ 493662 h 835694"/>
                  <a:gd name="connsiteX10" fmla="*/ 15726 w 179763"/>
                  <a:gd name="connsiteY10" fmla="*/ 478151 h 835694"/>
                  <a:gd name="connsiteX11" fmla="*/ 32536 w 179763"/>
                  <a:gd name="connsiteY11" fmla="*/ 478151 h 835694"/>
                  <a:gd name="connsiteX12" fmla="*/ 101134 w 179763"/>
                  <a:gd name="connsiteY12" fmla="*/ 241215 h 835694"/>
                  <a:gd name="connsiteX13" fmla="*/ 139364 w 179763"/>
                  <a:gd name="connsiteY13" fmla="*/ 241215 h 835694"/>
                  <a:gd name="connsiteX14" fmla="*/ 155090 w 179763"/>
                  <a:gd name="connsiteY14" fmla="*/ 256725 h 835694"/>
                  <a:gd name="connsiteX15" fmla="*/ 155090 w 179763"/>
                  <a:gd name="connsiteY15" fmla="*/ 273038 h 835694"/>
                  <a:gd name="connsiteX16" fmla="*/ 132857 w 179763"/>
                  <a:gd name="connsiteY16" fmla="*/ 0 h 835694"/>
                  <a:gd name="connsiteX17" fmla="*/ 94356 w 179763"/>
                  <a:gd name="connsiteY17" fmla="*/ 0 h 835694"/>
                  <a:gd name="connsiteX18" fmla="*/ 78630 w 179763"/>
                  <a:gd name="connsiteY18" fmla="*/ 15510 h 835694"/>
                  <a:gd name="connsiteX19" fmla="*/ 78630 w 179763"/>
                  <a:gd name="connsiteY19" fmla="*/ 231855 h 835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9763" h="835694">
                    <a:moveTo>
                      <a:pt x="128790" y="686473"/>
                    </a:moveTo>
                    <a:lnTo>
                      <a:pt x="16539" y="686473"/>
                    </a:lnTo>
                    <a:cubicBezTo>
                      <a:pt x="7863" y="686473"/>
                      <a:pt x="813" y="679520"/>
                      <a:pt x="813" y="670963"/>
                    </a:cubicBezTo>
                    <a:lnTo>
                      <a:pt x="813" y="654650"/>
                    </a:lnTo>
                    <a:moveTo>
                      <a:pt x="147498" y="710274"/>
                    </a:moveTo>
                    <a:lnTo>
                      <a:pt x="147498" y="820452"/>
                    </a:lnTo>
                    <a:cubicBezTo>
                      <a:pt x="147498" y="828742"/>
                      <a:pt x="154548" y="835695"/>
                      <a:pt x="163224" y="835695"/>
                    </a:cubicBezTo>
                    <a:lnTo>
                      <a:pt x="179764" y="835695"/>
                    </a:lnTo>
                    <a:moveTo>
                      <a:pt x="0" y="603840"/>
                    </a:moveTo>
                    <a:lnTo>
                      <a:pt x="0" y="493662"/>
                    </a:lnTo>
                    <a:cubicBezTo>
                      <a:pt x="0" y="485104"/>
                      <a:pt x="7050" y="478151"/>
                      <a:pt x="15726" y="478151"/>
                    </a:cubicBezTo>
                    <a:lnTo>
                      <a:pt x="32536" y="478151"/>
                    </a:lnTo>
                    <a:moveTo>
                      <a:pt x="101134" y="241215"/>
                    </a:moveTo>
                    <a:lnTo>
                      <a:pt x="139364" y="241215"/>
                    </a:lnTo>
                    <a:cubicBezTo>
                      <a:pt x="148041" y="241215"/>
                      <a:pt x="155090" y="248168"/>
                      <a:pt x="155090" y="256725"/>
                    </a:cubicBezTo>
                    <a:lnTo>
                      <a:pt x="155090" y="273038"/>
                    </a:lnTo>
                    <a:moveTo>
                      <a:pt x="132857" y="0"/>
                    </a:moveTo>
                    <a:lnTo>
                      <a:pt x="94356" y="0"/>
                    </a:lnTo>
                    <a:cubicBezTo>
                      <a:pt x="85679" y="0"/>
                      <a:pt x="78630" y="6953"/>
                      <a:pt x="78630" y="15510"/>
                    </a:cubicBezTo>
                    <a:lnTo>
                      <a:pt x="78630" y="231855"/>
                    </a:lnTo>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3" name="Freeform 12">
                <a:extLst>
                  <a:ext uri="{FF2B5EF4-FFF2-40B4-BE49-F238E27FC236}">
                    <a16:creationId xmlns:a16="http://schemas.microsoft.com/office/drawing/2014/main" id="{57BDF54C-7A51-7D73-32BA-DD7F889D9810}"/>
                  </a:ext>
                </a:extLst>
              </p:cNvPr>
              <p:cNvSpPr/>
              <p:nvPr/>
            </p:nvSpPr>
            <p:spPr>
              <a:xfrm>
                <a:off x="8402948" y="4537649"/>
                <a:ext cx="207690" cy="733004"/>
              </a:xfrm>
              <a:custGeom>
                <a:avLst/>
                <a:gdLst>
                  <a:gd name="connsiteX0" fmla="*/ 160784 w 207690"/>
                  <a:gd name="connsiteY0" fmla="*/ 24068 h 733004"/>
                  <a:gd name="connsiteX1" fmla="*/ 160784 w 207690"/>
                  <a:gd name="connsiteY1" fmla="*/ 22196 h 733004"/>
                  <a:gd name="connsiteX2" fmla="*/ 183288 w 207690"/>
                  <a:gd name="connsiteY2" fmla="*/ 0 h 733004"/>
                  <a:gd name="connsiteX3" fmla="*/ 185186 w 207690"/>
                  <a:gd name="connsiteY3" fmla="*/ 0 h 733004"/>
                  <a:gd name="connsiteX4" fmla="*/ 207691 w 207690"/>
                  <a:gd name="connsiteY4" fmla="*/ 22196 h 733004"/>
                  <a:gd name="connsiteX5" fmla="*/ 207691 w 207690"/>
                  <a:gd name="connsiteY5" fmla="*/ 24068 h 733004"/>
                  <a:gd name="connsiteX6" fmla="*/ 185186 w 207690"/>
                  <a:gd name="connsiteY6" fmla="*/ 46264 h 733004"/>
                  <a:gd name="connsiteX7" fmla="*/ 183288 w 207690"/>
                  <a:gd name="connsiteY7" fmla="*/ 46264 h 733004"/>
                  <a:gd name="connsiteX8" fmla="*/ 160784 w 207690"/>
                  <a:gd name="connsiteY8" fmla="*/ 24068 h 733004"/>
                  <a:gd name="connsiteX9" fmla="*/ 198201 w 207690"/>
                  <a:gd name="connsiteY9" fmla="*/ 708937 h 733004"/>
                  <a:gd name="connsiteX10" fmla="*/ 198201 w 207690"/>
                  <a:gd name="connsiteY10" fmla="*/ 710809 h 733004"/>
                  <a:gd name="connsiteX11" fmla="*/ 175697 w 207690"/>
                  <a:gd name="connsiteY11" fmla="*/ 733005 h 733004"/>
                  <a:gd name="connsiteX12" fmla="*/ 173799 w 207690"/>
                  <a:gd name="connsiteY12" fmla="*/ 733005 h 733004"/>
                  <a:gd name="connsiteX13" fmla="*/ 151294 w 207690"/>
                  <a:gd name="connsiteY13" fmla="*/ 710809 h 733004"/>
                  <a:gd name="connsiteX14" fmla="*/ 151294 w 207690"/>
                  <a:gd name="connsiteY14" fmla="*/ 708937 h 733004"/>
                  <a:gd name="connsiteX15" fmla="*/ 173799 w 207690"/>
                  <a:gd name="connsiteY15" fmla="*/ 686741 h 733004"/>
                  <a:gd name="connsiteX16" fmla="*/ 175697 w 207690"/>
                  <a:gd name="connsiteY16" fmla="*/ 686741 h 733004"/>
                  <a:gd name="connsiteX17" fmla="*/ 198201 w 207690"/>
                  <a:gd name="connsiteY17" fmla="*/ 708937 h 733004"/>
                  <a:gd name="connsiteX18" fmla="*/ 46907 w 207690"/>
                  <a:gd name="connsiteY18" fmla="*/ 651173 h 733004"/>
                  <a:gd name="connsiteX19" fmla="*/ 46907 w 207690"/>
                  <a:gd name="connsiteY19" fmla="*/ 653045 h 733004"/>
                  <a:gd name="connsiteX20" fmla="*/ 24402 w 207690"/>
                  <a:gd name="connsiteY20" fmla="*/ 674974 h 733004"/>
                  <a:gd name="connsiteX21" fmla="*/ 22504 w 207690"/>
                  <a:gd name="connsiteY21" fmla="*/ 674974 h 733004"/>
                  <a:gd name="connsiteX22" fmla="*/ 0 w 207690"/>
                  <a:gd name="connsiteY22" fmla="*/ 653045 h 733004"/>
                  <a:gd name="connsiteX23" fmla="*/ 0 w 207690"/>
                  <a:gd name="connsiteY23" fmla="*/ 651173 h 733004"/>
                  <a:gd name="connsiteX24" fmla="*/ 22504 w 207690"/>
                  <a:gd name="connsiteY24" fmla="*/ 628977 h 733004"/>
                  <a:gd name="connsiteX25" fmla="*/ 24402 w 207690"/>
                  <a:gd name="connsiteY25" fmla="*/ 628977 h 733004"/>
                  <a:gd name="connsiteX26" fmla="*/ 46907 w 207690"/>
                  <a:gd name="connsiteY26" fmla="*/ 651173 h 7330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07690" h="733004">
                    <a:moveTo>
                      <a:pt x="160784" y="24068"/>
                    </a:moveTo>
                    <a:lnTo>
                      <a:pt x="160784" y="22196"/>
                    </a:lnTo>
                    <a:cubicBezTo>
                      <a:pt x="160784" y="10162"/>
                      <a:pt x="170816" y="0"/>
                      <a:pt x="183288" y="0"/>
                    </a:cubicBezTo>
                    <a:lnTo>
                      <a:pt x="185186" y="0"/>
                    </a:lnTo>
                    <a:cubicBezTo>
                      <a:pt x="197659" y="0"/>
                      <a:pt x="207691" y="9895"/>
                      <a:pt x="207691" y="22196"/>
                    </a:cubicBezTo>
                    <a:lnTo>
                      <a:pt x="207691" y="24068"/>
                    </a:lnTo>
                    <a:cubicBezTo>
                      <a:pt x="207691" y="36369"/>
                      <a:pt x="197659" y="46264"/>
                      <a:pt x="185186" y="46264"/>
                    </a:cubicBezTo>
                    <a:lnTo>
                      <a:pt x="183288" y="46264"/>
                    </a:lnTo>
                    <a:cubicBezTo>
                      <a:pt x="170816" y="46264"/>
                      <a:pt x="160784" y="36369"/>
                      <a:pt x="160784" y="24068"/>
                    </a:cubicBezTo>
                    <a:close/>
                    <a:moveTo>
                      <a:pt x="198201" y="708937"/>
                    </a:moveTo>
                    <a:lnTo>
                      <a:pt x="198201" y="710809"/>
                    </a:lnTo>
                    <a:cubicBezTo>
                      <a:pt x="198201" y="722843"/>
                      <a:pt x="188169" y="733005"/>
                      <a:pt x="175697" y="733005"/>
                    </a:cubicBezTo>
                    <a:lnTo>
                      <a:pt x="173799" y="733005"/>
                    </a:lnTo>
                    <a:cubicBezTo>
                      <a:pt x="161326" y="733005"/>
                      <a:pt x="151294" y="723110"/>
                      <a:pt x="151294" y="710809"/>
                    </a:cubicBezTo>
                    <a:lnTo>
                      <a:pt x="151294" y="708937"/>
                    </a:lnTo>
                    <a:cubicBezTo>
                      <a:pt x="151294" y="696635"/>
                      <a:pt x="161326" y="686741"/>
                      <a:pt x="173799" y="686741"/>
                    </a:cubicBezTo>
                    <a:lnTo>
                      <a:pt x="175697" y="686741"/>
                    </a:lnTo>
                    <a:cubicBezTo>
                      <a:pt x="188169" y="686741"/>
                      <a:pt x="198201" y="696635"/>
                      <a:pt x="198201" y="708937"/>
                    </a:cubicBezTo>
                    <a:close/>
                    <a:moveTo>
                      <a:pt x="46907" y="651173"/>
                    </a:moveTo>
                    <a:lnTo>
                      <a:pt x="46907" y="653045"/>
                    </a:lnTo>
                    <a:cubicBezTo>
                      <a:pt x="46907" y="665079"/>
                      <a:pt x="36875" y="674974"/>
                      <a:pt x="24402" y="674974"/>
                    </a:cubicBezTo>
                    <a:lnTo>
                      <a:pt x="22504" y="674974"/>
                    </a:lnTo>
                    <a:cubicBezTo>
                      <a:pt x="10032" y="674974"/>
                      <a:pt x="0" y="665079"/>
                      <a:pt x="0" y="653045"/>
                    </a:cubicBezTo>
                    <a:lnTo>
                      <a:pt x="0" y="651173"/>
                    </a:lnTo>
                    <a:cubicBezTo>
                      <a:pt x="0" y="639139"/>
                      <a:pt x="10032" y="628977"/>
                      <a:pt x="22504" y="628977"/>
                    </a:cubicBezTo>
                    <a:lnTo>
                      <a:pt x="24402" y="628977"/>
                    </a:lnTo>
                    <a:cubicBezTo>
                      <a:pt x="36875" y="628977"/>
                      <a:pt x="46907" y="638872"/>
                      <a:pt x="46907" y="651173"/>
                    </a:cubicBezTo>
                    <a:close/>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4" name="Freeform 13">
                <a:extLst>
                  <a:ext uri="{FF2B5EF4-FFF2-40B4-BE49-F238E27FC236}">
                    <a16:creationId xmlns:a16="http://schemas.microsoft.com/office/drawing/2014/main" id="{0BEBBCA9-CA8E-E444-59B3-0564F1F94CF2}"/>
                  </a:ext>
                </a:extLst>
              </p:cNvPr>
              <p:cNvSpPr/>
              <p:nvPr/>
            </p:nvSpPr>
            <p:spPr>
              <a:xfrm>
                <a:off x="8347093" y="4875404"/>
                <a:ext cx="231008" cy="314488"/>
              </a:xfrm>
              <a:custGeom>
                <a:avLst/>
                <a:gdLst>
                  <a:gd name="connsiteX0" fmla="*/ 231008 w 231008"/>
                  <a:gd name="connsiteY0" fmla="*/ 0 h 314488"/>
                  <a:gd name="connsiteX1" fmla="*/ 231008 w 231008"/>
                  <a:gd name="connsiteY1" fmla="*/ 37974 h 314488"/>
                  <a:gd name="connsiteX2" fmla="*/ 215282 w 231008"/>
                  <a:gd name="connsiteY2" fmla="*/ 53484 h 314488"/>
                  <a:gd name="connsiteX3" fmla="*/ 27114 w 231008"/>
                  <a:gd name="connsiteY3" fmla="*/ 53484 h 314488"/>
                  <a:gd name="connsiteX4" fmla="*/ 54227 w 231008"/>
                  <a:gd name="connsiteY4" fmla="*/ 314489 h 314488"/>
                  <a:gd name="connsiteX5" fmla="*/ 15726 w 231008"/>
                  <a:gd name="connsiteY5" fmla="*/ 314489 h 314488"/>
                  <a:gd name="connsiteX6" fmla="*/ 0 w 231008"/>
                  <a:gd name="connsiteY6" fmla="*/ 298978 h 314488"/>
                  <a:gd name="connsiteX7" fmla="*/ 0 w 231008"/>
                  <a:gd name="connsiteY7" fmla="*/ 81831 h 314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1008" h="314488">
                    <a:moveTo>
                      <a:pt x="231008" y="0"/>
                    </a:moveTo>
                    <a:lnTo>
                      <a:pt x="231008" y="37974"/>
                    </a:lnTo>
                    <a:cubicBezTo>
                      <a:pt x="231008" y="46531"/>
                      <a:pt x="223959" y="53484"/>
                      <a:pt x="215282" y="53484"/>
                    </a:cubicBezTo>
                    <a:lnTo>
                      <a:pt x="27114" y="53484"/>
                    </a:lnTo>
                    <a:moveTo>
                      <a:pt x="54227" y="314489"/>
                    </a:moveTo>
                    <a:lnTo>
                      <a:pt x="15726" y="314489"/>
                    </a:lnTo>
                    <a:cubicBezTo>
                      <a:pt x="7050" y="314489"/>
                      <a:pt x="0" y="307536"/>
                      <a:pt x="0" y="298978"/>
                    </a:cubicBezTo>
                    <a:lnTo>
                      <a:pt x="0" y="81831"/>
                    </a:lnTo>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5" name="Freeform 14">
                <a:extLst>
                  <a:ext uri="{FF2B5EF4-FFF2-40B4-BE49-F238E27FC236}">
                    <a16:creationId xmlns:a16="http://schemas.microsoft.com/office/drawing/2014/main" id="{95BD9816-709B-791E-4DFC-6973041B4112}"/>
                  </a:ext>
                </a:extLst>
              </p:cNvPr>
              <p:cNvSpPr/>
              <p:nvPr/>
            </p:nvSpPr>
            <p:spPr>
              <a:xfrm>
                <a:off x="8321607" y="4905623"/>
                <a:ext cx="47991" cy="47333"/>
              </a:xfrm>
              <a:custGeom>
                <a:avLst/>
                <a:gdLst>
                  <a:gd name="connsiteX0" fmla="*/ 23047 w 47991"/>
                  <a:gd name="connsiteY0" fmla="*/ 0 h 47333"/>
                  <a:gd name="connsiteX1" fmla="*/ 24945 w 47991"/>
                  <a:gd name="connsiteY1" fmla="*/ 0 h 47333"/>
                  <a:gd name="connsiteX2" fmla="*/ 47991 w 47991"/>
                  <a:gd name="connsiteY2" fmla="*/ 22731 h 47333"/>
                  <a:gd name="connsiteX3" fmla="*/ 47991 w 47991"/>
                  <a:gd name="connsiteY3" fmla="*/ 24603 h 47333"/>
                  <a:gd name="connsiteX4" fmla="*/ 24945 w 47991"/>
                  <a:gd name="connsiteY4" fmla="*/ 47334 h 47333"/>
                  <a:gd name="connsiteX5" fmla="*/ 23047 w 47991"/>
                  <a:gd name="connsiteY5" fmla="*/ 47334 h 47333"/>
                  <a:gd name="connsiteX6" fmla="*/ 0 w 47991"/>
                  <a:gd name="connsiteY6" fmla="*/ 24603 h 47333"/>
                  <a:gd name="connsiteX7" fmla="*/ 0 w 47991"/>
                  <a:gd name="connsiteY7" fmla="*/ 22731 h 47333"/>
                  <a:gd name="connsiteX8" fmla="*/ 23047 w 47991"/>
                  <a:gd name="connsiteY8" fmla="*/ 0 h 47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991" h="47333">
                    <a:moveTo>
                      <a:pt x="23047" y="0"/>
                    </a:moveTo>
                    <a:lnTo>
                      <a:pt x="24945" y="0"/>
                    </a:lnTo>
                    <a:cubicBezTo>
                      <a:pt x="37688" y="0"/>
                      <a:pt x="47991" y="10162"/>
                      <a:pt x="47991" y="22731"/>
                    </a:cubicBezTo>
                    <a:lnTo>
                      <a:pt x="47991" y="24603"/>
                    </a:lnTo>
                    <a:cubicBezTo>
                      <a:pt x="47991" y="37172"/>
                      <a:pt x="37688" y="47334"/>
                      <a:pt x="24945" y="47334"/>
                    </a:cubicBezTo>
                    <a:lnTo>
                      <a:pt x="23047" y="47334"/>
                    </a:lnTo>
                    <a:cubicBezTo>
                      <a:pt x="10303" y="47334"/>
                      <a:pt x="0" y="37172"/>
                      <a:pt x="0" y="24603"/>
                    </a:cubicBezTo>
                    <a:lnTo>
                      <a:pt x="0" y="22731"/>
                    </a:lnTo>
                    <a:cubicBezTo>
                      <a:pt x="0" y="10162"/>
                      <a:pt x="10303" y="0"/>
                      <a:pt x="23047" y="0"/>
                    </a:cubicBezTo>
                    <a:close/>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6" name="Freeform 15">
                <a:extLst>
                  <a:ext uri="{FF2B5EF4-FFF2-40B4-BE49-F238E27FC236}">
                    <a16:creationId xmlns:a16="http://schemas.microsoft.com/office/drawing/2014/main" id="{BFFAB228-6179-92F1-FF48-78A021B6306B}"/>
                  </a:ext>
                </a:extLst>
              </p:cNvPr>
              <p:cNvSpPr/>
              <p:nvPr/>
            </p:nvSpPr>
            <p:spPr>
              <a:xfrm>
                <a:off x="8227793" y="4428809"/>
                <a:ext cx="467710" cy="1115953"/>
              </a:xfrm>
              <a:custGeom>
                <a:avLst/>
                <a:gdLst>
                  <a:gd name="connsiteX0" fmla="*/ 467440 w 467710"/>
                  <a:gd name="connsiteY0" fmla="*/ 66053 h 1115953"/>
                  <a:gd name="connsiteX1" fmla="*/ 305029 w 467710"/>
                  <a:gd name="connsiteY1" fmla="*/ 0 h 1115953"/>
                  <a:gd name="connsiteX2" fmla="*/ 117402 w 467710"/>
                  <a:gd name="connsiteY2" fmla="*/ 86377 h 1115953"/>
                  <a:gd name="connsiteX3" fmla="*/ 117402 w 467710"/>
                  <a:gd name="connsiteY3" fmla="*/ 289084 h 1115953"/>
                  <a:gd name="connsiteX4" fmla="*/ 8134 w 467710"/>
                  <a:gd name="connsiteY4" fmla="*/ 351393 h 1115953"/>
                  <a:gd name="connsiteX5" fmla="*/ 23860 w 467710"/>
                  <a:gd name="connsiteY5" fmla="*/ 528961 h 1115953"/>
                  <a:gd name="connsiteX6" fmla="*/ 0 w 467710"/>
                  <a:gd name="connsiteY6" fmla="*/ 633256 h 1115953"/>
                  <a:gd name="connsiteX7" fmla="*/ 73478 w 467710"/>
                  <a:gd name="connsiteY7" fmla="*/ 690752 h 1115953"/>
                  <a:gd name="connsiteX8" fmla="*/ 119842 w 467710"/>
                  <a:gd name="connsiteY8" fmla="*/ 937315 h 1115953"/>
                  <a:gd name="connsiteX9" fmla="*/ 276559 w 467710"/>
                  <a:gd name="connsiteY9" fmla="*/ 999892 h 1115953"/>
                  <a:gd name="connsiteX10" fmla="*/ 361425 w 467710"/>
                  <a:gd name="connsiteY10" fmla="*/ 1115953 h 1115953"/>
                  <a:gd name="connsiteX11" fmla="*/ 467711 w 467710"/>
                  <a:gd name="connsiteY11" fmla="*/ 1101780 h 1115953"/>
                  <a:gd name="connsiteX12" fmla="*/ 467711 w 467710"/>
                  <a:gd name="connsiteY12" fmla="*/ 66053 h 1115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67710" h="1115953">
                    <a:moveTo>
                      <a:pt x="467440" y="66053"/>
                    </a:moveTo>
                    <a:cubicBezTo>
                      <a:pt x="457950" y="65518"/>
                      <a:pt x="305029" y="0"/>
                      <a:pt x="305029" y="0"/>
                    </a:cubicBezTo>
                    <a:lnTo>
                      <a:pt x="117402" y="86377"/>
                    </a:lnTo>
                    <a:lnTo>
                      <a:pt x="117402" y="289084"/>
                    </a:lnTo>
                    <a:lnTo>
                      <a:pt x="8134" y="351393"/>
                    </a:lnTo>
                    <a:lnTo>
                      <a:pt x="23860" y="528961"/>
                    </a:lnTo>
                    <a:lnTo>
                      <a:pt x="0" y="633256"/>
                    </a:lnTo>
                    <a:lnTo>
                      <a:pt x="73478" y="690752"/>
                    </a:lnTo>
                    <a:lnTo>
                      <a:pt x="119842" y="937315"/>
                    </a:lnTo>
                    <a:lnTo>
                      <a:pt x="276559" y="999892"/>
                    </a:lnTo>
                    <a:lnTo>
                      <a:pt x="361425" y="1115953"/>
                    </a:lnTo>
                    <a:lnTo>
                      <a:pt x="467711" y="1101780"/>
                    </a:lnTo>
                    <a:lnTo>
                      <a:pt x="467711" y="66053"/>
                    </a:lnTo>
                    <a:close/>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7" name="Freeform 16">
                <a:extLst>
                  <a:ext uri="{FF2B5EF4-FFF2-40B4-BE49-F238E27FC236}">
                    <a16:creationId xmlns:a16="http://schemas.microsoft.com/office/drawing/2014/main" id="{57C0590F-A6A2-E73E-13F1-D304728E3C20}"/>
                  </a:ext>
                </a:extLst>
              </p:cNvPr>
              <p:cNvSpPr/>
              <p:nvPr/>
            </p:nvSpPr>
            <p:spPr>
              <a:xfrm>
                <a:off x="8360379" y="4710404"/>
                <a:ext cx="1667761" cy="1644914"/>
              </a:xfrm>
              <a:custGeom>
                <a:avLst/>
                <a:gdLst>
                  <a:gd name="connsiteX0" fmla="*/ 190880 w 1667761"/>
                  <a:gd name="connsiteY0" fmla="*/ 1471893 h 1644914"/>
                  <a:gd name="connsiteX1" fmla="*/ 1499928 w 1667761"/>
                  <a:gd name="connsiteY1" fmla="*/ 1471893 h 1644914"/>
                  <a:gd name="connsiteX2" fmla="*/ 190880 w 1667761"/>
                  <a:gd name="connsiteY2" fmla="*/ 1295661 h 1644914"/>
                  <a:gd name="connsiteX3" fmla="*/ 1499928 w 1667761"/>
                  <a:gd name="connsiteY3" fmla="*/ 1295661 h 1644914"/>
                  <a:gd name="connsiteX4" fmla="*/ 190880 w 1667761"/>
                  <a:gd name="connsiteY4" fmla="*/ 1119697 h 1644914"/>
                  <a:gd name="connsiteX5" fmla="*/ 1499928 w 1667761"/>
                  <a:gd name="connsiteY5" fmla="*/ 1119697 h 1644914"/>
                  <a:gd name="connsiteX6" fmla="*/ 649643 w 1667761"/>
                  <a:gd name="connsiteY6" fmla="*/ 943733 h 1644914"/>
                  <a:gd name="connsiteX7" fmla="*/ 1499928 w 1667761"/>
                  <a:gd name="connsiteY7" fmla="*/ 943733 h 1644914"/>
                  <a:gd name="connsiteX8" fmla="*/ 653439 w 1667761"/>
                  <a:gd name="connsiteY8" fmla="*/ 767770 h 1644914"/>
                  <a:gd name="connsiteX9" fmla="*/ 1499928 w 1667761"/>
                  <a:gd name="connsiteY9" fmla="*/ 767770 h 1644914"/>
                  <a:gd name="connsiteX10" fmla="*/ 925118 w 1667761"/>
                  <a:gd name="connsiteY10" fmla="*/ 591806 h 1644914"/>
                  <a:gd name="connsiteX11" fmla="*/ 1499928 w 1667761"/>
                  <a:gd name="connsiteY11" fmla="*/ 591806 h 1644914"/>
                  <a:gd name="connsiteX12" fmla="*/ 925118 w 1667761"/>
                  <a:gd name="connsiteY12" fmla="*/ 415842 h 1644914"/>
                  <a:gd name="connsiteX13" fmla="*/ 1499928 w 1667761"/>
                  <a:gd name="connsiteY13" fmla="*/ 415842 h 1644914"/>
                  <a:gd name="connsiteX14" fmla="*/ 925118 w 1667761"/>
                  <a:gd name="connsiteY14" fmla="*/ 239610 h 1644914"/>
                  <a:gd name="connsiteX15" fmla="*/ 1499928 w 1667761"/>
                  <a:gd name="connsiteY15" fmla="*/ 239610 h 1644914"/>
                  <a:gd name="connsiteX16" fmla="*/ 685433 w 1667761"/>
                  <a:gd name="connsiteY16" fmla="*/ 0 h 1644914"/>
                  <a:gd name="connsiteX17" fmla="*/ 1569881 w 1667761"/>
                  <a:gd name="connsiteY17" fmla="*/ 0 h 1644914"/>
                  <a:gd name="connsiteX18" fmla="*/ 1667761 w 1667761"/>
                  <a:gd name="connsiteY18" fmla="*/ 96539 h 1644914"/>
                  <a:gd name="connsiteX19" fmla="*/ 1667761 w 1667761"/>
                  <a:gd name="connsiteY19" fmla="*/ 1548375 h 1644914"/>
                  <a:gd name="connsiteX20" fmla="*/ 1569881 w 1667761"/>
                  <a:gd name="connsiteY20" fmla="*/ 1644915 h 1644914"/>
                  <a:gd name="connsiteX21" fmla="*/ 97880 w 1667761"/>
                  <a:gd name="connsiteY21" fmla="*/ 1644915 h 1644914"/>
                  <a:gd name="connsiteX22" fmla="*/ 0 w 1667761"/>
                  <a:gd name="connsiteY22" fmla="*/ 1548375 h 1644914"/>
                  <a:gd name="connsiteX23" fmla="*/ 0 w 1667761"/>
                  <a:gd name="connsiteY23" fmla="*/ 673637 h 16449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667761" h="1644914">
                    <a:moveTo>
                      <a:pt x="190880" y="1471893"/>
                    </a:moveTo>
                    <a:lnTo>
                      <a:pt x="1499928" y="1471893"/>
                    </a:lnTo>
                    <a:moveTo>
                      <a:pt x="190880" y="1295661"/>
                    </a:moveTo>
                    <a:lnTo>
                      <a:pt x="1499928" y="1295661"/>
                    </a:lnTo>
                    <a:moveTo>
                      <a:pt x="190880" y="1119697"/>
                    </a:moveTo>
                    <a:lnTo>
                      <a:pt x="1499928" y="1119697"/>
                    </a:lnTo>
                    <a:moveTo>
                      <a:pt x="649643" y="943733"/>
                    </a:moveTo>
                    <a:lnTo>
                      <a:pt x="1499928" y="943733"/>
                    </a:lnTo>
                    <a:moveTo>
                      <a:pt x="653439" y="767770"/>
                    </a:moveTo>
                    <a:lnTo>
                      <a:pt x="1499928" y="767770"/>
                    </a:lnTo>
                    <a:moveTo>
                      <a:pt x="925118" y="591806"/>
                    </a:moveTo>
                    <a:lnTo>
                      <a:pt x="1499928" y="591806"/>
                    </a:lnTo>
                    <a:moveTo>
                      <a:pt x="925118" y="415842"/>
                    </a:moveTo>
                    <a:lnTo>
                      <a:pt x="1499928" y="415842"/>
                    </a:lnTo>
                    <a:moveTo>
                      <a:pt x="925118" y="239610"/>
                    </a:moveTo>
                    <a:lnTo>
                      <a:pt x="1499928" y="239610"/>
                    </a:lnTo>
                    <a:moveTo>
                      <a:pt x="685433" y="0"/>
                    </a:moveTo>
                    <a:lnTo>
                      <a:pt x="1569881" y="0"/>
                    </a:lnTo>
                    <a:cubicBezTo>
                      <a:pt x="1623837" y="0"/>
                      <a:pt x="1667761" y="43590"/>
                      <a:pt x="1667761" y="96539"/>
                    </a:cubicBezTo>
                    <a:lnTo>
                      <a:pt x="1667761" y="1548375"/>
                    </a:lnTo>
                    <a:cubicBezTo>
                      <a:pt x="1667761" y="1601592"/>
                      <a:pt x="1623566" y="1644915"/>
                      <a:pt x="1569881" y="1644915"/>
                    </a:cubicBezTo>
                    <a:lnTo>
                      <a:pt x="97880" y="1644915"/>
                    </a:lnTo>
                    <a:cubicBezTo>
                      <a:pt x="43924" y="1644915"/>
                      <a:pt x="0" y="1601325"/>
                      <a:pt x="0" y="1548375"/>
                    </a:cubicBezTo>
                    <a:lnTo>
                      <a:pt x="0" y="673637"/>
                    </a:lnTo>
                  </a:path>
                </a:pathLst>
              </a:custGeom>
              <a:noFill/>
              <a:ln w="15875"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sp>
          <p:nvSpPr>
            <p:cNvPr id="5" name="Freeform 4">
              <a:extLst>
                <a:ext uri="{FF2B5EF4-FFF2-40B4-BE49-F238E27FC236}">
                  <a16:creationId xmlns:a16="http://schemas.microsoft.com/office/drawing/2014/main" id="{ACA4490E-351E-D328-0C04-A12249DBEF5C}"/>
                </a:ext>
              </a:extLst>
            </p:cNvPr>
            <p:cNvSpPr/>
            <p:nvPr/>
          </p:nvSpPr>
          <p:spPr>
            <a:xfrm rot="10800000">
              <a:off x="1500339" y="0"/>
              <a:ext cx="4180114" cy="7630886"/>
            </a:xfrm>
            <a:custGeom>
              <a:avLst/>
              <a:gdLst>
                <a:gd name="connsiteX0" fmla="*/ 2090058 w 4180114"/>
                <a:gd name="connsiteY0" fmla="*/ 3858986 h 7630886"/>
                <a:gd name="connsiteX1" fmla="*/ 3715658 w 4180114"/>
                <a:gd name="connsiteY1" fmla="*/ 2233386 h 7630886"/>
                <a:gd name="connsiteX2" fmla="*/ 2090058 w 4180114"/>
                <a:gd name="connsiteY2" fmla="*/ 607786 h 7630886"/>
                <a:gd name="connsiteX3" fmla="*/ 464458 w 4180114"/>
                <a:gd name="connsiteY3" fmla="*/ 2233386 h 7630886"/>
                <a:gd name="connsiteX4" fmla="*/ 2090058 w 4180114"/>
                <a:gd name="connsiteY4" fmla="*/ 3858986 h 7630886"/>
                <a:gd name="connsiteX5" fmla="*/ 4180114 w 4180114"/>
                <a:gd name="connsiteY5" fmla="*/ 7630886 h 7630886"/>
                <a:gd name="connsiteX6" fmla="*/ 0 w 4180114"/>
                <a:gd name="connsiteY6" fmla="*/ 7630886 h 7630886"/>
                <a:gd name="connsiteX7" fmla="*/ 0 w 4180114"/>
                <a:gd name="connsiteY7" fmla="*/ 2090057 h 7630886"/>
                <a:gd name="connsiteX8" fmla="*/ 2090057 w 4180114"/>
                <a:gd name="connsiteY8" fmla="*/ 0 h 7630886"/>
                <a:gd name="connsiteX9" fmla="*/ 4180114 w 4180114"/>
                <a:gd name="connsiteY9" fmla="*/ 2090057 h 763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0114" h="7630886">
                  <a:moveTo>
                    <a:pt x="2090058" y="3858986"/>
                  </a:moveTo>
                  <a:cubicBezTo>
                    <a:pt x="2987852" y="3858986"/>
                    <a:pt x="3715658" y="3131180"/>
                    <a:pt x="3715658" y="2233386"/>
                  </a:cubicBezTo>
                  <a:cubicBezTo>
                    <a:pt x="3715658" y="1335592"/>
                    <a:pt x="2987852" y="607786"/>
                    <a:pt x="2090058" y="607786"/>
                  </a:cubicBezTo>
                  <a:cubicBezTo>
                    <a:pt x="1192264" y="607786"/>
                    <a:pt x="464458" y="1335592"/>
                    <a:pt x="464458" y="2233386"/>
                  </a:cubicBezTo>
                  <a:cubicBezTo>
                    <a:pt x="464458" y="3131180"/>
                    <a:pt x="1192264" y="3858986"/>
                    <a:pt x="2090058" y="3858986"/>
                  </a:cubicBezTo>
                  <a:close/>
                  <a:moveTo>
                    <a:pt x="4180114" y="7630886"/>
                  </a:moveTo>
                  <a:lnTo>
                    <a:pt x="0" y="7630886"/>
                  </a:lnTo>
                  <a:lnTo>
                    <a:pt x="0" y="2090057"/>
                  </a:lnTo>
                  <a:cubicBezTo>
                    <a:pt x="0" y="935750"/>
                    <a:pt x="935750" y="0"/>
                    <a:pt x="2090057" y="0"/>
                  </a:cubicBezTo>
                  <a:cubicBezTo>
                    <a:pt x="3244364" y="0"/>
                    <a:pt x="4180114" y="935750"/>
                    <a:pt x="4180114" y="2090057"/>
                  </a:cubicBezTo>
                  <a:close/>
                </a:path>
              </a:pathLst>
            </a:cu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 name="!!_Builds AI">
              <a:extLst>
                <a:ext uri="{FF2B5EF4-FFF2-40B4-BE49-F238E27FC236}">
                  <a16:creationId xmlns:a16="http://schemas.microsoft.com/office/drawing/2014/main" id="{0912269D-5E2E-1999-CD5C-AA2BAB840A7B}"/>
                </a:ext>
              </a:extLst>
            </p:cNvPr>
            <p:cNvSpPr txBox="1"/>
            <p:nvPr/>
          </p:nvSpPr>
          <p:spPr>
            <a:xfrm>
              <a:off x="2018041" y="2322244"/>
              <a:ext cx="3142206" cy="110799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nova Bold"/>
                  <a:ea typeface="+mn-ea"/>
                  <a:cs typeface="+mn-cs"/>
                </a:rPr>
                <a:t>Summarize</a:t>
              </a:r>
              <a:r>
                <a:rPr kumimoji="0" lang="en-US" sz="3600" b="0" i="0" u="none" strike="noStrike" kern="1200" cap="none" spc="0" normalizeH="0" baseline="0" noProof="0">
                  <a:ln>
                    <a:noFill/>
                  </a:ln>
                  <a:solidFill>
                    <a:srgbClr val="FFFFFF"/>
                  </a:solidFill>
                  <a:effectLst/>
                  <a:uLnTx/>
                  <a:uFillTx/>
                  <a:latin typeface="Anova Light"/>
                  <a:ea typeface="+mn-ea"/>
                  <a:cs typeface="+mn-cs"/>
                </a:rPr>
                <a:t> Conversations</a:t>
              </a:r>
              <a:endParaRPr kumimoji="0" lang="en-US" sz="3600" b="0" i="0" u="none" strike="noStrike" kern="1200" cap="none" spc="0" normalizeH="0" baseline="0" noProof="0">
                <a:ln>
                  <a:noFill/>
                </a:ln>
                <a:solidFill>
                  <a:srgbClr val="FFFFFF"/>
                </a:solidFill>
                <a:effectLst/>
                <a:uLnTx/>
                <a:uFillTx/>
                <a:latin typeface="Anova Bold"/>
                <a:ea typeface="+mn-ea"/>
                <a:cs typeface="+mn-cs"/>
              </a:endParaRPr>
            </a:p>
          </p:txBody>
        </p:sp>
      </p:grpSp>
      <p:grpSp>
        <p:nvGrpSpPr>
          <p:cNvPr id="18" name="Group 17">
            <a:extLst>
              <a:ext uri="{FF2B5EF4-FFF2-40B4-BE49-F238E27FC236}">
                <a16:creationId xmlns:a16="http://schemas.microsoft.com/office/drawing/2014/main" id="{C45E3C67-D0BC-D2E8-5242-C7D0F4525B03}"/>
              </a:ext>
            </a:extLst>
          </p:cNvPr>
          <p:cNvGrpSpPr/>
          <p:nvPr/>
        </p:nvGrpSpPr>
        <p:grpSpPr>
          <a:xfrm>
            <a:off x="7053944" y="0"/>
            <a:ext cx="4180114" cy="7630886"/>
            <a:chOff x="7053944" y="0"/>
            <a:chExt cx="4180114" cy="7630886"/>
          </a:xfrm>
        </p:grpSpPr>
        <p:sp>
          <p:nvSpPr>
            <p:cNvPr id="19" name="!!_Buyers_Oval">
              <a:extLst>
                <a:ext uri="{FF2B5EF4-FFF2-40B4-BE49-F238E27FC236}">
                  <a16:creationId xmlns:a16="http://schemas.microsoft.com/office/drawing/2014/main" id="{11FD3B2A-9499-6242-4352-1ED0DF825E24}"/>
                </a:ext>
              </a:extLst>
            </p:cNvPr>
            <p:cNvSpPr/>
            <p:nvPr/>
          </p:nvSpPr>
          <p:spPr>
            <a:xfrm>
              <a:off x="7518400" y="3766464"/>
              <a:ext cx="3251200" cy="3251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nvGrpSpPr>
            <p:cNvPr id="20" name="Group 19">
              <a:extLst>
                <a:ext uri="{FF2B5EF4-FFF2-40B4-BE49-F238E27FC236}">
                  <a16:creationId xmlns:a16="http://schemas.microsoft.com/office/drawing/2014/main" id="{29B6EA61-27FD-91AF-F00F-49FC3A9E683D}"/>
                </a:ext>
              </a:extLst>
            </p:cNvPr>
            <p:cNvGrpSpPr/>
            <p:nvPr/>
          </p:nvGrpSpPr>
          <p:grpSpPr>
            <a:xfrm>
              <a:off x="7881184" y="4578864"/>
              <a:ext cx="2530299" cy="2495047"/>
              <a:chOff x="13690464" y="4348637"/>
              <a:chExt cx="2091165" cy="2062028"/>
            </a:xfrm>
          </p:grpSpPr>
          <p:sp>
            <p:nvSpPr>
              <p:cNvPr id="23" name="Freeform 22">
                <a:extLst>
                  <a:ext uri="{FF2B5EF4-FFF2-40B4-BE49-F238E27FC236}">
                    <a16:creationId xmlns:a16="http://schemas.microsoft.com/office/drawing/2014/main" id="{D273C8C2-CF43-BF37-CC07-13307A6C1315}"/>
                  </a:ext>
                </a:extLst>
              </p:cNvPr>
              <p:cNvSpPr/>
              <p:nvPr/>
            </p:nvSpPr>
            <p:spPr>
              <a:xfrm>
                <a:off x="14425001" y="4621709"/>
                <a:ext cx="85288" cy="113188"/>
              </a:xfrm>
              <a:custGeom>
                <a:avLst/>
                <a:gdLst>
                  <a:gd name="connsiteX0" fmla="*/ 12610 w 227085"/>
                  <a:gd name="connsiteY0" fmla="*/ 299451 h 301370"/>
                  <a:gd name="connsiteX1" fmla="*/ 41440 w 227085"/>
                  <a:gd name="connsiteY1" fmla="*/ 288829 h 301370"/>
                  <a:gd name="connsiteX2" fmla="*/ 74065 w 227085"/>
                  <a:gd name="connsiteY2" fmla="*/ 225857 h 301370"/>
                  <a:gd name="connsiteX3" fmla="*/ 112000 w 227085"/>
                  <a:gd name="connsiteY3" fmla="*/ 165540 h 301370"/>
                  <a:gd name="connsiteX4" fmla="*/ 163212 w 227085"/>
                  <a:gd name="connsiteY4" fmla="*/ 98395 h 301370"/>
                  <a:gd name="connsiteX5" fmla="*/ 220494 w 227085"/>
                  <a:gd name="connsiteY5" fmla="*/ 37319 h 301370"/>
                  <a:gd name="connsiteX6" fmla="*/ 220873 w 227085"/>
                  <a:gd name="connsiteY6" fmla="*/ 6592 h 301370"/>
                  <a:gd name="connsiteX7" fmla="*/ 190146 w 227085"/>
                  <a:gd name="connsiteY7" fmla="*/ 6213 h 301370"/>
                  <a:gd name="connsiteX8" fmla="*/ 129829 w 227085"/>
                  <a:gd name="connsiteY8" fmla="*/ 70702 h 301370"/>
                  <a:gd name="connsiteX9" fmla="*/ 75961 w 227085"/>
                  <a:gd name="connsiteY9" fmla="*/ 140882 h 301370"/>
                  <a:gd name="connsiteX10" fmla="*/ 36130 w 227085"/>
                  <a:gd name="connsiteY10" fmla="*/ 204234 h 301370"/>
                  <a:gd name="connsiteX11" fmla="*/ 1988 w 227085"/>
                  <a:gd name="connsiteY11" fmla="*/ 270620 h 301370"/>
                  <a:gd name="connsiteX12" fmla="*/ 12230 w 227085"/>
                  <a:gd name="connsiteY12" fmla="*/ 299451 h 3013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27085" h="301370">
                    <a:moveTo>
                      <a:pt x="12610" y="299451"/>
                    </a:moveTo>
                    <a:cubicBezTo>
                      <a:pt x="23611" y="304382"/>
                      <a:pt x="36509" y="299451"/>
                      <a:pt x="41440" y="288829"/>
                    </a:cubicBezTo>
                    <a:cubicBezTo>
                      <a:pt x="51304" y="267585"/>
                      <a:pt x="61925" y="246721"/>
                      <a:pt x="74065" y="225857"/>
                    </a:cubicBezTo>
                    <a:cubicBezTo>
                      <a:pt x="85824" y="205372"/>
                      <a:pt x="98343" y="185266"/>
                      <a:pt x="112000" y="165540"/>
                    </a:cubicBezTo>
                    <a:cubicBezTo>
                      <a:pt x="128312" y="141641"/>
                      <a:pt x="145383" y="119259"/>
                      <a:pt x="163212" y="98395"/>
                    </a:cubicBezTo>
                    <a:cubicBezTo>
                      <a:pt x="181421" y="76772"/>
                      <a:pt x="200768" y="56287"/>
                      <a:pt x="220494" y="37319"/>
                    </a:cubicBezTo>
                    <a:cubicBezTo>
                      <a:pt x="229219" y="28974"/>
                      <a:pt x="229219" y="15317"/>
                      <a:pt x="220873" y="6592"/>
                    </a:cubicBezTo>
                    <a:cubicBezTo>
                      <a:pt x="212528" y="-2133"/>
                      <a:pt x="198871" y="-2133"/>
                      <a:pt x="190146" y="6213"/>
                    </a:cubicBezTo>
                    <a:cubicBezTo>
                      <a:pt x="169282" y="26698"/>
                      <a:pt x="149176" y="47941"/>
                      <a:pt x="129829" y="70702"/>
                    </a:cubicBezTo>
                    <a:cubicBezTo>
                      <a:pt x="110482" y="93463"/>
                      <a:pt x="92653" y="116604"/>
                      <a:pt x="75961" y="140882"/>
                    </a:cubicBezTo>
                    <a:cubicBezTo>
                      <a:pt x="61925" y="161746"/>
                      <a:pt x="48648" y="182611"/>
                      <a:pt x="36130" y="204234"/>
                    </a:cubicBezTo>
                    <a:cubicBezTo>
                      <a:pt x="23990" y="225857"/>
                      <a:pt x="12610" y="247859"/>
                      <a:pt x="1988" y="270620"/>
                    </a:cubicBezTo>
                    <a:cubicBezTo>
                      <a:pt x="-2944" y="281621"/>
                      <a:pt x="1609" y="294519"/>
                      <a:pt x="12230" y="299451"/>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4" name="Freeform 23">
                <a:extLst>
                  <a:ext uri="{FF2B5EF4-FFF2-40B4-BE49-F238E27FC236}">
                    <a16:creationId xmlns:a16="http://schemas.microsoft.com/office/drawing/2014/main" id="{08B13CE9-BE3E-023C-820A-C758645E727A}"/>
                  </a:ext>
                </a:extLst>
              </p:cNvPr>
              <p:cNvSpPr/>
              <p:nvPr/>
            </p:nvSpPr>
            <p:spPr>
              <a:xfrm>
                <a:off x="14636484" y="4531174"/>
                <a:ext cx="420983" cy="567810"/>
              </a:xfrm>
              <a:custGeom>
                <a:avLst/>
                <a:gdLst>
                  <a:gd name="connsiteX0" fmla="*/ 738177 w 1120896"/>
                  <a:gd name="connsiteY0" fmla="*/ 155085 h 1511832"/>
                  <a:gd name="connsiteX1" fmla="*/ 391450 w 1120896"/>
                  <a:gd name="connsiteY1" fmla="*/ 13208 h 1511832"/>
                  <a:gd name="connsiteX2" fmla="*/ 16273 w 1120896"/>
                  <a:gd name="connsiteY2" fmla="*/ 28761 h 1511832"/>
                  <a:gd name="connsiteX3" fmla="*/ 719 w 1120896"/>
                  <a:gd name="connsiteY3" fmla="*/ 55316 h 1511832"/>
                  <a:gd name="connsiteX4" fmla="*/ 27274 w 1120896"/>
                  <a:gd name="connsiteY4" fmla="*/ 70869 h 1511832"/>
                  <a:gd name="connsiteX5" fmla="*/ 384243 w 1120896"/>
                  <a:gd name="connsiteY5" fmla="*/ 56074 h 1511832"/>
                  <a:gd name="connsiteX6" fmla="*/ 713898 w 1120896"/>
                  <a:gd name="connsiteY6" fmla="*/ 191123 h 1511832"/>
                  <a:gd name="connsiteX7" fmla="*/ 1062901 w 1120896"/>
                  <a:gd name="connsiteY7" fmla="*/ 729042 h 1511832"/>
                  <a:gd name="connsiteX8" fmla="*/ 929749 w 1120896"/>
                  <a:gd name="connsiteY8" fmla="*/ 1356109 h 1511832"/>
                  <a:gd name="connsiteX9" fmla="*/ 883089 w 1120896"/>
                  <a:gd name="connsiteY9" fmla="*/ 1417943 h 1511832"/>
                  <a:gd name="connsiteX10" fmla="*/ 831118 w 1120896"/>
                  <a:gd name="connsiteY10" fmla="*/ 1474845 h 1511832"/>
                  <a:gd name="connsiteX11" fmla="*/ 831118 w 1120896"/>
                  <a:gd name="connsiteY11" fmla="*/ 1505573 h 1511832"/>
                  <a:gd name="connsiteX12" fmla="*/ 861845 w 1120896"/>
                  <a:gd name="connsiteY12" fmla="*/ 1505573 h 1511832"/>
                  <a:gd name="connsiteX13" fmla="*/ 916472 w 1120896"/>
                  <a:gd name="connsiteY13" fmla="*/ 1445635 h 1511832"/>
                  <a:gd name="connsiteX14" fmla="*/ 965787 w 1120896"/>
                  <a:gd name="connsiteY14" fmla="*/ 1380766 h 1511832"/>
                  <a:gd name="connsiteX15" fmla="*/ 1106147 w 1120896"/>
                  <a:gd name="connsiteY15" fmla="*/ 721076 h 1511832"/>
                  <a:gd name="connsiteX16" fmla="*/ 738936 w 1120896"/>
                  <a:gd name="connsiteY16" fmla="*/ 155464 h 1511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20896" h="1511832">
                    <a:moveTo>
                      <a:pt x="738177" y="155085"/>
                    </a:moveTo>
                    <a:cubicBezTo>
                      <a:pt x="630821" y="81111"/>
                      <a:pt x="512463" y="34451"/>
                      <a:pt x="391450" y="13208"/>
                    </a:cubicBezTo>
                    <a:cubicBezTo>
                      <a:pt x="265886" y="-8795"/>
                      <a:pt x="138044" y="-3104"/>
                      <a:pt x="16273" y="28761"/>
                    </a:cubicBezTo>
                    <a:cubicBezTo>
                      <a:pt x="4513" y="31796"/>
                      <a:pt x="-2315" y="43556"/>
                      <a:pt x="719" y="55316"/>
                    </a:cubicBezTo>
                    <a:cubicBezTo>
                      <a:pt x="3754" y="67075"/>
                      <a:pt x="15514" y="73904"/>
                      <a:pt x="27274" y="70869"/>
                    </a:cubicBezTo>
                    <a:cubicBezTo>
                      <a:pt x="142976" y="40521"/>
                      <a:pt x="264747" y="35210"/>
                      <a:pt x="384243" y="56074"/>
                    </a:cubicBezTo>
                    <a:cubicBezTo>
                      <a:pt x="498807" y="76180"/>
                      <a:pt x="611474" y="120564"/>
                      <a:pt x="713898" y="191123"/>
                    </a:cubicBezTo>
                    <a:cubicBezTo>
                      <a:pt x="904332" y="321999"/>
                      <a:pt x="1023828" y="518123"/>
                      <a:pt x="1062901" y="729042"/>
                    </a:cubicBezTo>
                    <a:cubicBezTo>
                      <a:pt x="1101974" y="939961"/>
                      <a:pt x="1060625" y="1165675"/>
                      <a:pt x="929749" y="1356109"/>
                    </a:cubicBezTo>
                    <a:cubicBezTo>
                      <a:pt x="914575" y="1378111"/>
                      <a:pt x="899022" y="1398596"/>
                      <a:pt x="883089" y="1417943"/>
                    </a:cubicBezTo>
                    <a:cubicBezTo>
                      <a:pt x="866397" y="1437669"/>
                      <a:pt x="849327" y="1457016"/>
                      <a:pt x="831118" y="1474845"/>
                    </a:cubicBezTo>
                    <a:cubicBezTo>
                      <a:pt x="822772" y="1483191"/>
                      <a:pt x="822772" y="1496848"/>
                      <a:pt x="831118" y="1505573"/>
                    </a:cubicBezTo>
                    <a:cubicBezTo>
                      <a:pt x="839464" y="1513919"/>
                      <a:pt x="853499" y="1513919"/>
                      <a:pt x="861845" y="1505573"/>
                    </a:cubicBezTo>
                    <a:cubicBezTo>
                      <a:pt x="880813" y="1486605"/>
                      <a:pt x="899022" y="1466500"/>
                      <a:pt x="916472" y="1445635"/>
                    </a:cubicBezTo>
                    <a:cubicBezTo>
                      <a:pt x="933922" y="1424392"/>
                      <a:pt x="950613" y="1402769"/>
                      <a:pt x="965787" y="1380766"/>
                    </a:cubicBezTo>
                    <a:cubicBezTo>
                      <a:pt x="1103492" y="1180090"/>
                      <a:pt x="1147117" y="942996"/>
                      <a:pt x="1106147" y="721076"/>
                    </a:cubicBezTo>
                    <a:cubicBezTo>
                      <a:pt x="1065177" y="499156"/>
                      <a:pt x="939233" y="293168"/>
                      <a:pt x="738936" y="15546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5" name="Freeform 24">
                <a:extLst>
                  <a:ext uri="{FF2B5EF4-FFF2-40B4-BE49-F238E27FC236}">
                    <a16:creationId xmlns:a16="http://schemas.microsoft.com/office/drawing/2014/main" id="{AD3540C2-6008-96B2-2F8A-56BDF84CCDC1}"/>
                  </a:ext>
                </a:extLst>
              </p:cNvPr>
              <p:cNvSpPr/>
              <p:nvPr/>
            </p:nvSpPr>
            <p:spPr>
              <a:xfrm>
                <a:off x="14753662" y="5162826"/>
                <a:ext cx="73925" cy="28047"/>
              </a:xfrm>
              <a:custGeom>
                <a:avLst/>
                <a:gdLst>
                  <a:gd name="connsiteX0" fmla="*/ 168983 w 196830"/>
                  <a:gd name="connsiteY0" fmla="*/ 1293 h 74679"/>
                  <a:gd name="connsiteX1" fmla="*/ 94630 w 196830"/>
                  <a:gd name="connsiteY1" fmla="*/ 19881 h 74679"/>
                  <a:gd name="connsiteX2" fmla="*/ 19139 w 196830"/>
                  <a:gd name="connsiteY2" fmla="*/ 31641 h 74679"/>
                  <a:gd name="connsiteX3" fmla="*/ 172 w 196830"/>
                  <a:gd name="connsiteY3" fmla="*/ 55540 h 74679"/>
                  <a:gd name="connsiteX4" fmla="*/ 24071 w 196830"/>
                  <a:gd name="connsiteY4" fmla="*/ 74508 h 74679"/>
                  <a:gd name="connsiteX5" fmla="*/ 103734 w 196830"/>
                  <a:gd name="connsiteY5" fmla="*/ 61989 h 74679"/>
                  <a:gd name="connsiteX6" fmla="*/ 181501 w 196830"/>
                  <a:gd name="connsiteY6" fmla="*/ 42263 h 74679"/>
                  <a:gd name="connsiteX7" fmla="*/ 195917 w 196830"/>
                  <a:gd name="connsiteY7" fmla="*/ 15329 h 74679"/>
                  <a:gd name="connsiteX8" fmla="*/ 168983 w 196830"/>
                  <a:gd name="connsiteY8" fmla="*/ 914 h 746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6830" h="74679">
                    <a:moveTo>
                      <a:pt x="168983" y="1293"/>
                    </a:moveTo>
                    <a:cubicBezTo>
                      <a:pt x="144325" y="8501"/>
                      <a:pt x="119667" y="14950"/>
                      <a:pt x="94630" y="19881"/>
                    </a:cubicBezTo>
                    <a:cubicBezTo>
                      <a:pt x="69593" y="25192"/>
                      <a:pt x="44556" y="28986"/>
                      <a:pt x="19139" y="31641"/>
                    </a:cubicBezTo>
                    <a:cubicBezTo>
                      <a:pt x="7379" y="33159"/>
                      <a:pt x="-1346" y="43780"/>
                      <a:pt x="172" y="55540"/>
                    </a:cubicBezTo>
                    <a:cubicBezTo>
                      <a:pt x="1310" y="67300"/>
                      <a:pt x="12311" y="76025"/>
                      <a:pt x="24071" y="74508"/>
                    </a:cubicBezTo>
                    <a:cubicBezTo>
                      <a:pt x="50625" y="71473"/>
                      <a:pt x="77180" y="67300"/>
                      <a:pt x="103734" y="61989"/>
                    </a:cubicBezTo>
                    <a:cubicBezTo>
                      <a:pt x="129910" y="56678"/>
                      <a:pt x="156085" y="50229"/>
                      <a:pt x="181501" y="42263"/>
                    </a:cubicBezTo>
                    <a:cubicBezTo>
                      <a:pt x="192882" y="38849"/>
                      <a:pt x="199331" y="26710"/>
                      <a:pt x="195917" y="15329"/>
                    </a:cubicBezTo>
                    <a:cubicBezTo>
                      <a:pt x="192502" y="3949"/>
                      <a:pt x="180363" y="-2500"/>
                      <a:pt x="168983" y="91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6" name="Freeform 25">
                <a:extLst>
                  <a:ext uri="{FF2B5EF4-FFF2-40B4-BE49-F238E27FC236}">
                    <a16:creationId xmlns:a16="http://schemas.microsoft.com/office/drawing/2014/main" id="{2A3ABCF0-AFEB-B370-23E6-52DEB975BFC6}"/>
                  </a:ext>
                </a:extLst>
              </p:cNvPr>
              <p:cNvSpPr/>
              <p:nvPr/>
            </p:nvSpPr>
            <p:spPr>
              <a:xfrm>
                <a:off x="14395259" y="4861549"/>
                <a:ext cx="22093" cy="70249"/>
              </a:xfrm>
              <a:custGeom>
                <a:avLst/>
                <a:gdLst>
                  <a:gd name="connsiteX0" fmla="*/ 43625 w 58823"/>
                  <a:gd name="connsiteY0" fmla="*/ 21244 h 187043"/>
                  <a:gd name="connsiteX1" fmla="*/ 21244 w 58823"/>
                  <a:gd name="connsiteY1" fmla="*/ 0 h 187043"/>
                  <a:gd name="connsiteX2" fmla="*/ 0 w 58823"/>
                  <a:gd name="connsiteY2" fmla="*/ 22382 h 187043"/>
                  <a:gd name="connsiteX3" fmla="*/ 4932 w 58823"/>
                  <a:gd name="connsiteY3" fmla="*/ 96355 h 187043"/>
                  <a:gd name="connsiteX4" fmla="*/ 15933 w 58823"/>
                  <a:gd name="connsiteY4" fmla="*/ 169570 h 187043"/>
                  <a:gd name="connsiteX5" fmla="*/ 41349 w 58823"/>
                  <a:gd name="connsiteY5" fmla="*/ 186640 h 187043"/>
                  <a:gd name="connsiteX6" fmla="*/ 58420 w 58823"/>
                  <a:gd name="connsiteY6" fmla="*/ 161224 h 187043"/>
                  <a:gd name="connsiteX7" fmla="*/ 47798 w 58823"/>
                  <a:gd name="connsiteY7" fmla="*/ 91423 h 187043"/>
                  <a:gd name="connsiteX8" fmla="*/ 43246 w 58823"/>
                  <a:gd name="connsiteY8" fmla="*/ 20864 h 1870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8823" h="187043">
                    <a:moveTo>
                      <a:pt x="43625" y="21244"/>
                    </a:moveTo>
                    <a:cubicBezTo>
                      <a:pt x="43625" y="9104"/>
                      <a:pt x="33383" y="0"/>
                      <a:pt x="21244" y="0"/>
                    </a:cubicBezTo>
                    <a:cubicBezTo>
                      <a:pt x="9104" y="0"/>
                      <a:pt x="0" y="10242"/>
                      <a:pt x="0" y="22382"/>
                    </a:cubicBezTo>
                    <a:cubicBezTo>
                      <a:pt x="759" y="47419"/>
                      <a:pt x="2276" y="72077"/>
                      <a:pt x="4932" y="96355"/>
                    </a:cubicBezTo>
                    <a:cubicBezTo>
                      <a:pt x="7587" y="120633"/>
                      <a:pt x="11381" y="144912"/>
                      <a:pt x="15933" y="169570"/>
                    </a:cubicBezTo>
                    <a:cubicBezTo>
                      <a:pt x="18209" y="181330"/>
                      <a:pt x="29589" y="188917"/>
                      <a:pt x="41349" y="186640"/>
                    </a:cubicBezTo>
                    <a:cubicBezTo>
                      <a:pt x="53109" y="184364"/>
                      <a:pt x="60696" y="172984"/>
                      <a:pt x="58420" y="161224"/>
                    </a:cubicBezTo>
                    <a:cubicBezTo>
                      <a:pt x="53868" y="138463"/>
                      <a:pt x="50454" y="115323"/>
                      <a:pt x="47798" y="91423"/>
                    </a:cubicBezTo>
                    <a:cubicBezTo>
                      <a:pt x="45143" y="67904"/>
                      <a:pt x="43625" y="44384"/>
                      <a:pt x="43246" y="2086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7" name="Freeform 26">
                <a:extLst>
                  <a:ext uri="{FF2B5EF4-FFF2-40B4-BE49-F238E27FC236}">
                    <a16:creationId xmlns:a16="http://schemas.microsoft.com/office/drawing/2014/main" id="{3C50DCEF-A165-928E-A6D9-AC876991C828}"/>
                  </a:ext>
                </a:extLst>
              </p:cNvPr>
              <p:cNvSpPr/>
              <p:nvPr/>
            </p:nvSpPr>
            <p:spPr>
              <a:xfrm>
                <a:off x="14507969" y="4513779"/>
                <a:ext cx="397767" cy="489379"/>
              </a:xfrm>
              <a:custGeom>
                <a:avLst/>
                <a:gdLst>
                  <a:gd name="connsiteX0" fmla="*/ 64836 w 1059081"/>
                  <a:gd name="connsiteY0" fmla="*/ 271203 h 1303003"/>
                  <a:gd name="connsiteX1" fmla="*/ 175986 w 1059081"/>
                  <a:gd name="connsiteY1" fmla="*/ 294723 h 1303003"/>
                  <a:gd name="connsiteX2" fmla="*/ 257926 w 1059081"/>
                  <a:gd name="connsiteY2" fmla="*/ 249580 h 1303003"/>
                  <a:gd name="connsiteX3" fmla="*/ 487053 w 1059081"/>
                  <a:gd name="connsiteY3" fmla="*/ 399803 h 1303003"/>
                  <a:gd name="connsiteX4" fmla="*/ 537886 w 1059081"/>
                  <a:gd name="connsiteY4" fmla="*/ 457464 h 1303003"/>
                  <a:gd name="connsiteX5" fmla="*/ 550405 w 1059081"/>
                  <a:gd name="connsiteY5" fmla="*/ 533334 h 1303003"/>
                  <a:gd name="connsiteX6" fmla="*/ 537507 w 1059081"/>
                  <a:gd name="connsiteY6" fmla="*/ 830366 h 1303003"/>
                  <a:gd name="connsiteX7" fmla="*/ 553819 w 1059081"/>
                  <a:gd name="connsiteY7" fmla="*/ 913443 h 1303003"/>
                  <a:gd name="connsiteX8" fmla="*/ 603514 w 1059081"/>
                  <a:gd name="connsiteY8" fmla="*/ 968070 h 1303003"/>
                  <a:gd name="connsiteX9" fmla="*/ 777636 w 1059081"/>
                  <a:gd name="connsiteY9" fmla="*/ 1089083 h 1303003"/>
                  <a:gd name="connsiteX10" fmla="*/ 764738 w 1059081"/>
                  <a:gd name="connsiteY10" fmla="*/ 1181644 h 1303003"/>
                  <a:gd name="connsiteX11" fmla="*/ 826572 w 1059081"/>
                  <a:gd name="connsiteY11" fmla="*/ 1276861 h 1303003"/>
                  <a:gd name="connsiteX12" fmla="*/ 937722 w 1059081"/>
                  <a:gd name="connsiteY12" fmla="*/ 1300381 h 1303003"/>
                  <a:gd name="connsiteX13" fmla="*/ 1032939 w 1059081"/>
                  <a:gd name="connsiteY13" fmla="*/ 1238547 h 1303003"/>
                  <a:gd name="connsiteX14" fmla="*/ 1056459 w 1059081"/>
                  <a:gd name="connsiteY14" fmla="*/ 1127397 h 1303003"/>
                  <a:gd name="connsiteX15" fmla="*/ 994624 w 1059081"/>
                  <a:gd name="connsiteY15" fmla="*/ 1032180 h 1303003"/>
                  <a:gd name="connsiteX16" fmla="*/ 883475 w 1059081"/>
                  <a:gd name="connsiteY16" fmla="*/ 1008660 h 1303003"/>
                  <a:gd name="connsiteX17" fmla="*/ 801914 w 1059081"/>
                  <a:gd name="connsiteY17" fmla="*/ 1053424 h 1303003"/>
                  <a:gd name="connsiteX18" fmla="*/ 628172 w 1059081"/>
                  <a:gd name="connsiteY18" fmla="*/ 932411 h 1303003"/>
                  <a:gd name="connsiteX19" fmla="*/ 592133 w 1059081"/>
                  <a:gd name="connsiteY19" fmla="*/ 893338 h 1303003"/>
                  <a:gd name="connsiteX20" fmla="*/ 580374 w 1059081"/>
                  <a:gd name="connsiteY20" fmla="*/ 832262 h 1303003"/>
                  <a:gd name="connsiteX21" fmla="*/ 593272 w 1059081"/>
                  <a:gd name="connsiteY21" fmla="*/ 535231 h 1303003"/>
                  <a:gd name="connsiteX22" fmla="*/ 576960 w 1059081"/>
                  <a:gd name="connsiteY22" fmla="*/ 439255 h 1303003"/>
                  <a:gd name="connsiteX23" fmla="*/ 510573 w 1059081"/>
                  <a:gd name="connsiteY23" fmla="*/ 363385 h 1303003"/>
                  <a:gd name="connsiteX24" fmla="*/ 281825 w 1059081"/>
                  <a:gd name="connsiteY24" fmla="*/ 213542 h 1303003"/>
                  <a:gd name="connsiteX25" fmla="*/ 294343 w 1059081"/>
                  <a:gd name="connsiteY25" fmla="*/ 121359 h 1303003"/>
                  <a:gd name="connsiteX26" fmla="*/ 232509 w 1059081"/>
                  <a:gd name="connsiteY26" fmla="*/ 26142 h 1303003"/>
                  <a:gd name="connsiteX27" fmla="*/ 121359 w 1059081"/>
                  <a:gd name="connsiteY27" fmla="*/ 2623 h 1303003"/>
                  <a:gd name="connsiteX28" fmla="*/ 26142 w 1059081"/>
                  <a:gd name="connsiteY28" fmla="*/ 64457 h 1303003"/>
                  <a:gd name="connsiteX29" fmla="*/ 2623 w 1059081"/>
                  <a:gd name="connsiteY29" fmla="*/ 175607 h 1303003"/>
                  <a:gd name="connsiteX30" fmla="*/ 64457 w 1059081"/>
                  <a:gd name="connsiteY30" fmla="*/ 270824 h 1303003"/>
                  <a:gd name="connsiteX31" fmla="*/ 824675 w 1059081"/>
                  <a:gd name="connsiteY31" fmla="*/ 1095152 h 1303003"/>
                  <a:gd name="connsiteX32" fmla="*/ 892200 w 1059081"/>
                  <a:gd name="connsiteY32" fmla="*/ 1051527 h 1303003"/>
                  <a:gd name="connsiteX33" fmla="*/ 970725 w 1059081"/>
                  <a:gd name="connsiteY33" fmla="*/ 1068218 h 1303003"/>
                  <a:gd name="connsiteX34" fmla="*/ 1014351 w 1059081"/>
                  <a:gd name="connsiteY34" fmla="*/ 1135743 h 1303003"/>
                  <a:gd name="connsiteX35" fmla="*/ 997659 w 1059081"/>
                  <a:gd name="connsiteY35" fmla="*/ 1214268 h 1303003"/>
                  <a:gd name="connsiteX36" fmla="*/ 930135 w 1059081"/>
                  <a:gd name="connsiteY36" fmla="*/ 1257894 h 1303003"/>
                  <a:gd name="connsiteX37" fmla="*/ 851609 w 1059081"/>
                  <a:gd name="connsiteY37" fmla="*/ 1241202 h 1303003"/>
                  <a:gd name="connsiteX38" fmla="*/ 807984 w 1059081"/>
                  <a:gd name="connsiteY38" fmla="*/ 1173678 h 1303003"/>
                  <a:gd name="connsiteX39" fmla="*/ 824675 w 1059081"/>
                  <a:gd name="connsiteY39" fmla="*/ 1095152 h 1303003"/>
                  <a:gd name="connsiteX40" fmla="*/ 62181 w 1059081"/>
                  <a:gd name="connsiteY40" fmla="*/ 89494 h 1303003"/>
                  <a:gd name="connsiteX41" fmla="*/ 129705 w 1059081"/>
                  <a:gd name="connsiteY41" fmla="*/ 45869 h 1303003"/>
                  <a:gd name="connsiteX42" fmla="*/ 208231 w 1059081"/>
                  <a:gd name="connsiteY42" fmla="*/ 62560 h 1303003"/>
                  <a:gd name="connsiteX43" fmla="*/ 251856 w 1059081"/>
                  <a:gd name="connsiteY43" fmla="*/ 130085 h 1303003"/>
                  <a:gd name="connsiteX44" fmla="*/ 235165 w 1059081"/>
                  <a:gd name="connsiteY44" fmla="*/ 208610 h 1303003"/>
                  <a:gd name="connsiteX45" fmla="*/ 167640 w 1059081"/>
                  <a:gd name="connsiteY45" fmla="*/ 252235 h 1303003"/>
                  <a:gd name="connsiteX46" fmla="*/ 89115 w 1059081"/>
                  <a:gd name="connsiteY46" fmla="*/ 235544 h 1303003"/>
                  <a:gd name="connsiteX47" fmla="*/ 45489 w 1059081"/>
                  <a:gd name="connsiteY47" fmla="*/ 168020 h 1303003"/>
                  <a:gd name="connsiteX48" fmla="*/ 62181 w 1059081"/>
                  <a:gd name="connsiteY48" fmla="*/ 89494 h 1303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059081" h="1303003">
                    <a:moveTo>
                      <a:pt x="64836" y="271203"/>
                    </a:moveTo>
                    <a:cubicBezTo>
                      <a:pt x="98598" y="294343"/>
                      <a:pt x="138430" y="301930"/>
                      <a:pt x="175986" y="294723"/>
                    </a:cubicBezTo>
                    <a:cubicBezTo>
                      <a:pt x="206713" y="289032"/>
                      <a:pt x="235923" y="273479"/>
                      <a:pt x="257926" y="249580"/>
                    </a:cubicBezTo>
                    <a:lnTo>
                      <a:pt x="487053" y="399803"/>
                    </a:lnTo>
                    <a:cubicBezTo>
                      <a:pt x="511332" y="415735"/>
                      <a:pt x="528023" y="435082"/>
                      <a:pt x="537886" y="457464"/>
                    </a:cubicBezTo>
                    <a:cubicBezTo>
                      <a:pt x="548129" y="479846"/>
                      <a:pt x="551922" y="505642"/>
                      <a:pt x="550405" y="533334"/>
                    </a:cubicBezTo>
                    <a:lnTo>
                      <a:pt x="537507" y="830366"/>
                    </a:lnTo>
                    <a:cubicBezTo>
                      <a:pt x="535990" y="863749"/>
                      <a:pt x="542059" y="890682"/>
                      <a:pt x="553819" y="913443"/>
                    </a:cubicBezTo>
                    <a:cubicBezTo>
                      <a:pt x="565579" y="936204"/>
                      <a:pt x="583029" y="953655"/>
                      <a:pt x="603514" y="968070"/>
                    </a:cubicBezTo>
                    <a:lnTo>
                      <a:pt x="777636" y="1089083"/>
                    </a:lnTo>
                    <a:cubicBezTo>
                      <a:pt x="763221" y="1118293"/>
                      <a:pt x="759048" y="1150917"/>
                      <a:pt x="764738" y="1181644"/>
                    </a:cubicBezTo>
                    <a:cubicBezTo>
                      <a:pt x="771566" y="1218821"/>
                      <a:pt x="792810" y="1253721"/>
                      <a:pt x="826572" y="1276861"/>
                    </a:cubicBezTo>
                    <a:cubicBezTo>
                      <a:pt x="860334" y="1300002"/>
                      <a:pt x="900546" y="1307589"/>
                      <a:pt x="937722" y="1300381"/>
                    </a:cubicBezTo>
                    <a:cubicBezTo>
                      <a:pt x="975278" y="1293553"/>
                      <a:pt x="1009799" y="1272309"/>
                      <a:pt x="1032939" y="1238547"/>
                    </a:cubicBezTo>
                    <a:cubicBezTo>
                      <a:pt x="1056079" y="1204785"/>
                      <a:pt x="1063666" y="1164953"/>
                      <a:pt x="1056459" y="1127397"/>
                    </a:cubicBezTo>
                    <a:cubicBezTo>
                      <a:pt x="1049630" y="1089841"/>
                      <a:pt x="1028387" y="1055321"/>
                      <a:pt x="994624" y="1032180"/>
                    </a:cubicBezTo>
                    <a:cubicBezTo>
                      <a:pt x="960862" y="1009040"/>
                      <a:pt x="920651" y="1001453"/>
                      <a:pt x="883475" y="1008660"/>
                    </a:cubicBezTo>
                    <a:cubicBezTo>
                      <a:pt x="852747" y="1014351"/>
                      <a:pt x="823917" y="1029525"/>
                      <a:pt x="801914" y="1053424"/>
                    </a:cubicBezTo>
                    <a:lnTo>
                      <a:pt x="628172" y="932411"/>
                    </a:lnTo>
                    <a:cubicBezTo>
                      <a:pt x="612998" y="921789"/>
                      <a:pt x="600479" y="909271"/>
                      <a:pt x="592133" y="893338"/>
                    </a:cubicBezTo>
                    <a:cubicBezTo>
                      <a:pt x="583788" y="877405"/>
                      <a:pt x="579236" y="857299"/>
                      <a:pt x="580374" y="832262"/>
                    </a:cubicBezTo>
                    <a:lnTo>
                      <a:pt x="593272" y="535231"/>
                    </a:lnTo>
                    <a:cubicBezTo>
                      <a:pt x="594789" y="500710"/>
                      <a:pt x="589857" y="468465"/>
                      <a:pt x="576960" y="439255"/>
                    </a:cubicBezTo>
                    <a:cubicBezTo>
                      <a:pt x="563682" y="410045"/>
                      <a:pt x="542059" y="384249"/>
                      <a:pt x="510573" y="363385"/>
                    </a:cubicBezTo>
                    <a:lnTo>
                      <a:pt x="281825" y="213542"/>
                    </a:lnTo>
                    <a:cubicBezTo>
                      <a:pt x="296240" y="184332"/>
                      <a:pt x="300034" y="152087"/>
                      <a:pt x="294343" y="121359"/>
                    </a:cubicBezTo>
                    <a:cubicBezTo>
                      <a:pt x="287515" y="83804"/>
                      <a:pt x="266271" y="49283"/>
                      <a:pt x="232509" y="26142"/>
                    </a:cubicBezTo>
                    <a:cubicBezTo>
                      <a:pt x="198747" y="3002"/>
                      <a:pt x="158536" y="-4585"/>
                      <a:pt x="121359" y="2623"/>
                    </a:cubicBezTo>
                    <a:cubicBezTo>
                      <a:pt x="84183" y="9451"/>
                      <a:pt x="49283" y="30695"/>
                      <a:pt x="26142" y="64457"/>
                    </a:cubicBezTo>
                    <a:cubicBezTo>
                      <a:pt x="3002" y="98219"/>
                      <a:pt x="-4585" y="138430"/>
                      <a:pt x="2623" y="175607"/>
                    </a:cubicBezTo>
                    <a:cubicBezTo>
                      <a:pt x="9451" y="212783"/>
                      <a:pt x="30695" y="247683"/>
                      <a:pt x="64457" y="270824"/>
                    </a:cubicBezTo>
                    <a:close/>
                    <a:moveTo>
                      <a:pt x="824675" y="1095152"/>
                    </a:moveTo>
                    <a:cubicBezTo>
                      <a:pt x="840987" y="1071253"/>
                      <a:pt x="865645" y="1056459"/>
                      <a:pt x="892200" y="1051527"/>
                    </a:cubicBezTo>
                    <a:cubicBezTo>
                      <a:pt x="918754" y="1046595"/>
                      <a:pt x="946826" y="1051527"/>
                      <a:pt x="970725" y="1068218"/>
                    </a:cubicBezTo>
                    <a:cubicBezTo>
                      <a:pt x="994624" y="1084531"/>
                      <a:pt x="1009419" y="1109188"/>
                      <a:pt x="1014351" y="1135743"/>
                    </a:cubicBezTo>
                    <a:cubicBezTo>
                      <a:pt x="1019282" y="1162297"/>
                      <a:pt x="1014351" y="1190369"/>
                      <a:pt x="997659" y="1214268"/>
                    </a:cubicBezTo>
                    <a:cubicBezTo>
                      <a:pt x="981347" y="1238168"/>
                      <a:pt x="956689" y="1252962"/>
                      <a:pt x="930135" y="1257894"/>
                    </a:cubicBezTo>
                    <a:cubicBezTo>
                      <a:pt x="903580" y="1262825"/>
                      <a:pt x="875508" y="1257894"/>
                      <a:pt x="851609" y="1241202"/>
                    </a:cubicBezTo>
                    <a:cubicBezTo>
                      <a:pt x="827710" y="1224890"/>
                      <a:pt x="812915" y="1200232"/>
                      <a:pt x="807984" y="1173678"/>
                    </a:cubicBezTo>
                    <a:cubicBezTo>
                      <a:pt x="803052" y="1147123"/>
                      <a:pt x="807984" y="1119051"/>
                      <a:pt x="824675" y="1095152"/>
                    </a:cubicBezTo>
                    <a:close/>
                    <a:moveTo>
                      <a:pt x="62181" y="89494"/>
                    </a:moveTo>
                    <a:cubicBezTo>
                      <a:pt x="78493" y="65595"/>
                      <a:pt x="103151" y="50800"/>
                      <a:pt x="129705" y="45869"/>
                    </a:cubicBezTo>
                    <a:cubicBezTo>
                      <a:pt x="156260" y="40937"/>
                      <a:pt x="184332" y="45869"/>
                      <a:pt x="208231" y="62560"/>
                    </a:cubicBezTo>
                    <a:cubicBezTo>
                      <a:pt x="232130" y="78872"/>
                      <a:pt x="246924" y="103530"/>
                      <a:pt x="251856" y="130085"/>
                    </a:cubicBezTo>
                    <a:cubicBezTo>
                      <a:pt x="256788" y="156639"/>
                      <a:pt x="251856" y="184711"/>
                      <a:pt x="235165" y="208610"/>
                    </a:cubicBezTo>
                    <a:cubicBezTo>
                      <a:pt x="218853" y="232509"/>
                      <a:pt x="194195" y="247304"/>
                      <a:pt x="167640" y="252235"/>
                    </a:cubicBezTo>
                    <a:cubicBezTo>
                      <a:pt x="141086" y="257167"/>
                      <a:pt x="113014" y="252235"/>
                      <a:pt x="89115" y="235544"/>
                    </a:cubicBezTo>
                    <a:cubicBezTo>
                      <a:pt x="65216" y="219232"/>
                      <a:pt x="50042" y="194574"/>
                      <a:pt x="45489" y="168020"/>
                    </a:cubicBezTo>
                    <a:cubicBezTo>
                      <a:pt x="40558" y="141465"/>
                      <a:pt x="45489" y="113393"/>
                      <a:pt x="62181" y="89494"/>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8" name="Freeform 27">
                <a:extLst>
                  <a:ext uri="{FF2B5EF4-FFF2-40B4-BE49-F238E27FC236}">
                    <a16:creationId xmlns:a16="http://schemas.microsoft.com/office/drawing/2014/main" id="{8A71DB8F-27E4-1249-D224-149C974C04D9}"/>
                  </a:ext>
                </a:extLst>
              </p:cNvPr>
              <p:cNvSpPr/>
              <p:nvPr/>
            </p:nvSpPr>
            <p:spPr>
              <a:xfrm>
                <a:off x="14553561" y="4710679"/>
                <a:ext cx="111533" cy="111533"/>
              </a:xfrm>
              <a:custGeom>
                <a:avLst/>
                <a:gdLst>
                  <a:gd name="connsiteX0" fmla="*/ 175607 w 296965"/>
                  <a:gd name="connsiteY0" fmla="*/ 294343 h 296965"/>
                  <a:gd name="connsiteX1" fmla="*/ 270824 w 296965"/>
                  <a:gd name="connsiteY1" fmla="*/ 232509 h 296965"/>
                  <a:gd name="connsiteX2" fmla="*/ 294343 w 296965"/>
                  <a:gd name="connsiteY2" fmla="*/ 121359 h 296965"/>
                  <a:gd name="connsiteX3" fmla="*/ 232509 w 296965"/>
                  <a:gd name="connsiteY3" fmla="*/ 26142 h 296965"/>
                  <a:gd name="connsiteX4" fmla="*/ 121359 w 296965"/>
                  <a:gd name="connsiteY4" fmla="*/ 2623 h 296965"/>
                  <a:gd name="connsiteX5" fmla="*/ 26142 w 296965"/>
                  <a:gd name="connsiteY5" fmla="*/ 64457 h 296965"/>
                  <a:gd name="connsiteX6" fmla="*/ 2623 w 296965"/>
                  <a:gd name="connsiteY6" fmla="*/ 175607 h 296965"/>
                  <a:gd name="connsiteX7" fmla="*/ 64457 w 296965"/>
                  <a:gd name="connsiteY7" fmla="*/ 270824 h 296965"/>
                  <a:gd name="connsiteX8" fmla="*/ 175607 w 296965"/>
                  <a:gd name="connsiteY8" fmla="*/ 294343 h 296965"/>
                  <a:gd name="connsiteX9" fmla="*/ 45110 w 296965"/>
                  <a:gd name="connsiteY9" fmla="*/ 167261 h 296965"/>
                  <a:gd name="connsiteX10" fmla="*/ 61801 w 296965"/>
                  <a:gd name="connsiteY10" fmla="*/ 88735 h 296965"/>
                  <a:gd name="connsiteX11" fmla="*/ 129326 w 296965"/>
                  <a:gd name="connsiteY11" fmla="*/ 45110 h 296965"/>
                  <a:gd name="connsiteX12" fmla="*/ 207851 w 296965"/>
                  <a:gd name="connsiteY12" fmla="*/ 61801 h 296965"/>
                  <a:gd name="connsiteX13" fmla="*/ 251477 w 296965"/>
                  <a:gd name="connsiteY13" fmla="*/ 129326 h 296965"/>
                  <a:gd name="connsiteX14" fmla="*/ 234785 w 296965"/>
                  <a:gd name="connsiteY14" fmla="*/ 207851 h 296965"/>
                  <a:gd name="connsiteX15" fmla="*/ 167261 w 296965"/>
                  <a:gd name="connsiteY15" fmla="*/ 251477 h 296965"/>
                  <a:gd name="connsiteX16" fmla="*/ 88735 w 296965"/>
                  <a:gd name="connsiteY16" fmla="*/ 234785 h 296965"/>
                  <a:gd name="connsiteX17" fmla="*/ 45110 w 296965"/>
                  <a:gd name="connsiteY17" fmla="*/ 167261 h 296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6965" h="296965">
                    <a:moveTo>
                      <a:pt x="175607" y="294343"/>
                    </a:moveTo>
                    <a:cubicBezTo>
                      <a:pt x="213162" y="287515"/>
                      <a:pt x="247683" y="266271"/>
                      <a:pt x="270824" y="232509"/>
                    </a:cubicBezTo>
                    <a:cubicBezTo>
                      <a:pt x="293964" y="198747"/>
                      <a:pt x="301551" y="158915"/>
                      <a:pt x="294343" y="121359"/>
                    </a:cubicBezTo>
                    <a:cubicBezTo>
                      <a:pt x="287515" y="83804"/>
                      <a:pt x="266271" y="49283"/>
                      <a:pt x="232509" y="26142"/>
                    </a:cubicBezTo>
                    <a:cubicBezTo>
                      <a:pt x="198747" y="3002"/>
                      <a:pt x="158536" y="-4585"/>
                      <a:pt x="121359" y="2623"/>
                    </a:cubicBezTo>
                    <a:cubicBezTo>
                      <a:pt x="83804" y="9451"/>
                      <a:pt x="49283" y="30695"/>
                      <a:pt x="26142" y="64457"/>
                    </a:cubicBezTo>
                    <a:cubicBezTo>
                      <a:pt x="3002" y="98219"/>
                      <a:pt x="-4585" y="138430"/>
                      <a:pt x="2623" y="175607"/>
                    </a:cubicBezTo>
                    <a:cubicBezTo>
                      <a:pt x="9451" y="212783"/>
                      <a:pt x="30695" y="247683"/>
                      <a:pt x="64457" y="270824"/>
                    </a:cubicBezTo>
                    <a:cubicBezTo>
                      <a:pt x="98219" y="293964"/>
                      <a:pt x="138430" y="301551"/>
                      <a:pt x="175607" y="294343"/>
                    </a:cubicBezTo>
                    <a:close/>
                    <a:moveTo>
                      <a:pt x="45110" y="167261"/>
                    </a:moveTo>
                    <a:cubicBezTo>
                      <a:pt x="40178" y="140706"/>
                      <a:pt x="45110" y="112634"/>
                      <a:pt x="61801" y="88735"/>
                    </a:cubicBezTo>
                    <a:cubicBezTo>
                      <a:pt x="78113" y="64836"/>
                      <a:pt x="102771" y="50042"/>
                      <a:pt x="129326" y="45110"/>
                    </a:cubicBezTo>
                    <a:cubicBezTo>
                      <a:pt x="155880" y="40178"/>
                      <a:pt x="183952" y="45110"/>
                      <a:pt x="207851" y="61801"/>
                    </a:cubicBezTo>
                    <a:cubicBezTo>
                      <a:pt x="231750" y="78113"/>
                      <a:pt x="246924" y="102771"/>
                      <a:pt x="251477" y="129326"/>
                    </a:cubicBezTo>
                    <a:cubicBezTo>
                      <a:pt x="256408" y="155880"/>
                      <a:pt x="251477" y="183952"/>
                      <a:pt x="234785" y="207851"/>
                    </a:cubicBezTo>
                    <a:cubicBezTo>
                      <a:pt x="218473" y="231750"/>
                      <a:pt x="193815" y="246545"/>
                      <a:pt x="167261" y="251477"/>
                    </a:cubicBezTo>
                    <a:cubicBezTo>
                      <a:pt x="140706" y="256408"/>
                      <a:pt x="112634" y="251477"/>
                      <a:pt x="88735" y="234785"/>
                    </a:cubicBezTo>
                    <a:cubicBezTo>
                      <a:pt x="64836" y="218473"/>
                      <a:pt x="50042" y="193815"/>
                      <a:pt x="45110" y="167261"/>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29" name="Freeform 28">
                <a:extLst>
                  <a:ext uri="{FF2B5EF4-FFF2-40B4-BE49-F238E27FC236}">
                    <a16:creationId xmlns:a16="http://schemas.microsoft.com/office/drawing/2014/main" id="{C44DD34E-EADA-7CD5-8DBE-F05688348DAE}"/>
                  </a:ext>
                </a:extLst>
              </p:cNvPr>
              <p:cNvSpPr/>
              <p:nvPr/>
            </p:nvSpPr>
            <p:spPr>
              <a:xfrm>
                <a:off x="14379598" y="4943199"/>
                <a:ext cx="560272" cy="252383"/>
              </a:xfrm>
              <a:custGeom>
                <a:avLst/>
                <a:gdLst>
                  <a:gd name="connsiteX0" fmla="*/ 1427463 w 1491762"/>
                  <a:gd name="connsiteY0" fmla="*/ 400941 h 671985"/>
                  <a:gd name="connsiteX1" fmla="*/ 1316314 w 1491762"/>
                  <a:gd name="connsiteY1" fmla="*/ 377421 h 671985"/>
                  <a:gd name="connsiteX2" fmla="*/ 1237409 w 1491762"/>
                  <a:gd name="connsiteY2" fmla="*/ 419529 h 671985"/>
                  <a:gd name="connsiteX3" fmla="*/ 981347 w 1491762"/>
                  <a:gd name="connsiteY3" fmla="*/ 241993 h 671985"/>
                  <a:gd name="connsiteX4" fmla="*/ 922927 w 1491762"/>
                  <a:gd name="connsiteY4" fmla="*/ 224163 h 671985"/>
                  <a:gd name="connsiteX5" fmla="*/ 855782 w 1491762"/>
                  <a:gd name="connsiteY5" fmla="*/ 238579 h 671985"/>
                  <a:gd name="connsiteX6" fmla="*/ 575442 w 1491762"/>
                  <a:gd name="connsiteY6" fmla="*/ 352384 h 671985"/>
                  <a:gd name="connsiteX7" fmla="*/ 518539 w 1491762"/>
                  <a:gd name="connsiteY7" fmla="*/ 359971 h 671985"/>
                  <a:gd name="connsiteX8" fmla="*/ 466568 w 1491762"/>
                  <a:gd name="connsiteY8" fmla="*/ 338348 h 671985"/>
                  <a:gd name="connsiteX9" fmla="*/ 281825 w 1491762"/>
                  <a:gd name="connsiteY9" fmla="*/ 213542 h 671985"/>
                  <a:gd name="connsiteX10" fmla="*/ 294343 w 1491762"/>
                  <a:gd name="connsiteY10" fmla="*/ 121359 h 671985"/>
                  <a:gd name="connsiteX11" fmla="*/ 232509 w 1491762"/>
                  <a:gd name="connsiteY11" fmla="*/ 26142 h 671985"/>
                  <a:gd name="connsiteX12" fmla="*/ 121359 w 1491762"/>
                  <a:gd name="connsiteY12" fmla="*/ 2623 h 671985"/>
                  <a:gd name="connsiteX13" fmla="*/ 26142 w 1491762"/>
                  <a:gd name="connsiteY13" fmla="*/ 64457 h 671985"/>
                  <a:gd name="connsiteX14" fmla="*/ 2623 w 1491762"/>
                  <a:gd name="connsiteY14" fmla="*/ 175607 h 671985"/>
                  <a:gd name="connsiteX15" fmla="*/ 64457 w 1491762"/>
                  <a:gd name="connsiteY15" fmla="*/ 270824 h 671985"/>
                  <a:gd name="connsiteX16" fmla="*/ 175607 w 1491762"/>
                  <a:gd name="connsiteY16" fmla="*/ 294343 h 671985"/>
                  <a:gd name="connsiteX17" fmla="*/ 257546 w 1491762"/>
                  <a:gd name="connsiteY17" fmla="*/ 249201 h 671985"/>
                  <a:gd name="connsiteX18" fmla="*/ 442669 w 1491762"/>
                  <a:gd name="connsiteY18" fmla="*/ 374386 h 671985"/>
                  <a:gd name="connsiteX19" fmla="*/ 512091 w 1491762"/>
                  <a:gd name="connsiteY19" fmla="*/ 402837 h 671985"/>
                  <a:gd name="connsiteX20" fmla="*/ 592134 w 1491762"/>
                  <a:gd name="connsiteY20" fmla="*/ 392595 h 671985"/>
                  <a:gd name="connsiteX21" fmla="*/ 872474 w 1491762"/>
                  <a:gd name="connsiteY21" fmla="*/ 278790 h 671985"/>
                  <a:gd name="connsiteX22" fmla="*/ 922548 w 1491762"/>
                  <a:gd name="connsiteY22" fmla="*/ 267789 h 671985"/>
                  <a:gd name="connsiteX23" fmla="*/ 956689 w 1491762"/>
                  <a:gd name="connsiteY23" fmla="*/ 278031 h 671985"/>
                  <a:gd name="connsiteX24" fmla="*/ 1211992 w 1491762"/>
                  <a:gd name="connsiteY24" fmla="*/ 454809 h 671985"/>
                  <a:gd name="connsiteX25" fmla="*/ 1197577 w 1491762"/>
                  <a:gd name="connsiteY25" fmla="*/ 550784 h 671985"/>
                  <a:gd name="connsiteX26" fmla="*/ 1259411 w 1491762"/>
                  <a:gd name="connsiteY26" fmla="*/ 646001 h 671985"/>
                  <a:gd name="connsiteX27" fmla="*/ 1370561 w 1491762"/>
                  <a:gd name="connsiteY27" fmla="*/ 669521 h 671985"/>
                  <a:gd name="connsiteX28" fmla="*/ 1465778 w 1491762"/>
                  <a:gd name="connsiteY28" fmla="*/ 607687 h 671985"/>
                  <a:gd name="connsiteX29" fmla="*/ 1489298 w 1491762"/>
                  <a:gd name="connsiteY29" fmla="*/ 496537 h 671985"/>
                  <a:gd name="connsiteX30" fmla="*/ 1427463 w 1491762"/>
                  <a:gd name="connsiteY30" fmla="*/ 401320 h 671985"/>
                  <a:gd name="connsiteX31" fmla="*/ 234785 w 1491762"/>
                  <a:gd name="connsiteY31" fmla="*/ 207472 h 671985"/>
                  <a:gd name="connsiteX32" fmla="*/ 167261 w 1491762"/>
                  <a:gd name="connsiteY32" fmla="*/ 251097 h 671985"/>
                  <a:gd name="connsiteX33" fmla="*/ 88735 w 1491762"/>
                  <a:gd name="connsiteY33" fmla="*/ 234406 h 671985"/>
                  <a:gd name="connsiteX34" fmla="*/ 45110 w 1491762"/>
                  <a:gd name="connsiteY34" fmla="*/ 166882 h 671985"/>
                  <a:gd name="connsiteX35" fmla="*/ 61801 w 1491762"/>
                  <a:gd name="connsiteY35" fmla="*/ 88356 h 671985"/>
                  <a:gd name="connsiteX36" fmla="*/ 129326 w 1491762"/>
                  <a:gd name="connsiteY36" fmla="*/ 44731 h 671985"/>
                  <a:gd name="connsiteX37" fmla="*/ 207851 w 1491762"/>
                  <a:gd name="connsiteY37" fmla="*/ 61422 h 671985"/>
                  <a:gd name="connsiteX38" fmla="*/ 251477 w 1491762"/>
                  <a:gd name="connsiteY38" fmla="*/ 128946 h 671985"/>
                  <a:gd name="connsiteX39" fmla="*/ 234785 w 1491762"/>
                  <a:gd name="connsiteY39" fmla="*/ 207472 h 671985"/>
                  <a:gd name="connsiteX40" fmla="*/ 1429740 w 1491762"/>
                  <a:gd name="connsiteY40" fmla="*/ 582650 h 671985"/>
                  <a:gd name="connsiteX41" fmla="*/ 1362215 w 1491762"/>
                  <a:gd name="connsiteY41" fmla="*/ 626275 h 671985"/>
                  <a:gd name="connsiteX42" fmla="*/ 1283690 w 1491762"/>
                  <a:gd name="connsiteY42" fmla="*/ 609584 h 671985"/>
                  <a:gd name="connsiteX43" fmla="*/ 1240064 w 1491762"/>
                  <a:gd name="connsiteY43" fmla="*/ 542059 h 671985"/>
                  <a:gd name="connsiteX44" fmla="*/ 1256756 w 1491762"/>
                  <a:gd name="connsiteY44" fmla="*/ 463534 h 671985"/>
                  <a:gd name="connsiteX45" fmla="*/ 1324280 w 1491762"/>
                  <a:gd name="connsiteY45" fmla="*/ 419908 h 671985"/>
                  <a:gd name="connsiteX46" fmla="*/ 1402806 w 1491762"/>
                  <a:gd name="connsiteY46" fmla="*/ 436600 h 671985"/>
                  <a:gd name="connsiteX47" fmla="*/ 1446431 w 1491762"/>
                  <a:gd name="connsiteY47" fmla="*/ 504124 h 671985"/>
                  <a:gd name="connsiteX48" fmla="*/ 1429740 w 1491762"/>
                  <a:gd name="connsiteY48" fmla="*/ 582650 h 671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491762" h="671985">
                    <a:moveTo>
                      <a:pt x="1427463" y="400941"/>
                    </a:moveTo>
                    <a:cubicBezTo>
                      <a:pt x="1393701" y="377800"/>
                      <a:pt x="1353869" y="370213"/>
                      <a:pt x="1316314" y="377421"/>
                    </a:cubicBezTo>
                    <a:cubicBezTo>
                      <a:pt x="1287104" y="382732"/>
                      <a:pt x="1259032" y="397147"/>
                      <a:pt x="1237409" y="419529"/>
                    </a:cubicBezTo>
                    <a:lnTo>
                      <a:pt x="981347" y="241993"/>
                    </a:lnTo>
                    <a:cubicBezTo>
                      <a:pt x="963897" y="229854"/>
                      <a:pt x="943792" y="224163"/>
                      <a:pt x="922927" y="224163"/>
                    </a:cubicBezTo>
                    <a:cubicBezTo>
                      <a:pt x="901304" y="224163"/>
                      <a:pt x="878543" y="229095"/>
                      <a:pt x="855782" y="238579"/>
                    </a:cubicBezTo>
                    <a:lnTo>
                      <a:pt x="575442" y="352384"/>
                    </a:lnTo>
                    <a:cubicBezTo>
                      <a:pt x="555336" y="360730"/>
                      <a:pt x="536369" y="362626"/>
                      <a:pt x="518539" y="359971"/>
                    </a:cubicBezTo>
                    <a:cubicBezTo>
                      <a:pt x="500331" y="357316"/>
                      <a:pt x="482881" y="349729"/>
                      <a:pt x="466568" y="338348"/>
                    </a:cubicBezTo>
                    <a:lnTo>
                      <a:pt x="281825" y="213542"/>
                    </a:lnTo>
                    <a:cubicBezTo>
                      <a:pt x="296240" y="184332"/>
                      <a:pt x="300034" y="151707"/>
                      <a:pt x="294343" y="121359"/>
                    </a:cubicBezTo>
                    <a:cubicBezTo>
                      <a:pt x="287515" y="83804"/>
                      <a:pt x="266271" y="49283"/>
                      <a:pt x="232509" y="26142"/>
                    </a:cubicBezTo>
                    <a:cubicBezTo>
                      <a:pt x="198747" y="3002"/>
                      <a:pt x="158536" y="-4585"/>
                      <a:pt x="121359" y="2623"/>
                    </a:cubicBezTo>
                    <a:cubicBezTo>
                      <a:pt x="83804" y="9451"/>
                      <a:pt x="49283" y="30695"/>
                      <a:pt x="26142" y="64457"/>
                    </a:cubicBezTo>
                    <a:cubicBezTo>
                      <a:pt x="3002" y="98219"/>
                      <a:pt x="-4585" y="138430"/>
                      <a:pt x="2623" y="175607"/>
                    </a:cubicBezTo>
                    <a:cubicBezTo>
                      <a:pt x="9451" y="212783"/>
                      <a:pt x="30695" y="247683"/>
                      <a:pt x="64457" y="270824"/>
                    </a:cubicBezTo>
                    <a:cubicBezTo>
                      <a:pt x="98219" y="293964"/>
                      <a:pt x="138430" y="301551"/>
                      <a:pt x="175607" y="294343"/>
                    </a:cubicBezTo>
                    <a:cubicBezTo>
                      <a:pt x="206334" y="288653"/>
                      <a:pt x="235165" y="273479"/>
                      <a:pt x="257546" y="249201"/>
                    </a:cubicBezTo>
                    <a:lnTo>
                      <a:pt x="442669" y="374386"/>
                    </a:lnTo>
                    <a:cubicBezTo>
                      <a:pt x="464292" y="388802"/>
                      <a:pt x="487433" y="399044"/>
                      <a:pt x="512091" y="402837"/>
                    </a:cubicBezTo>
                    <a:cubicBezTo>
                      <a:pt x="537507" y="406631"/>
                      <a:pt x="564062" y="403976"/>
                      <a:pt x="592134" y="392595"/>
                    </a:cubicBezTo>
                    <a:lnTo>
                      <a:pt x="872474" y="278790"/>
                    </a:lnTo>
                    <a:cubicBezTo>
                      <a:pt x="889924" y="271582"/>
                      <a:pt x="906994" y="267409"/>
                      <a:pt x="922548" y="267789"/>
                    </a:cubicBezTo>
                    <a:cubicBezTo>
                      <a:pt x="935066" y="267789"/>
                      <a:pt x="946826" y="271203"/>
                      <a:pt x="956689" y="278031"/>
                    </a:cubicBezTo>
                    <a:lnTo>
                      <a:pt x="1211992" y="454809"/>
                    </a:lnTo>
                    <a:cubicBezTo>
                      <a:pt x="1196060" y="485157"/>
                      <a:pt x="1191507" y="518919"/>
                      <a:pt x="1197577" y="550784"/>
                    </a:cubicBezTo>
                    <a:cubicBezTo>
                      <a:pt x="1204405" y="588340"/>
                      <a:pt x="1225649" y="622861"/>
                      <a:pt x="1259411" y="646001"/>
                    </a:cubicBezTo>
                    <a:cubicBezTo>
                      <a:pt x="1293173" y="669142"/>
                      <a:pt x="1333385" y="676349"/>
                      <a:pt x="1370561" y="669521"/>
                    </a:cubicBezTo>
                    <a:cubicBezTo>
                      <a:pt x="1408117" y="662693"/>
                      <a:pt x="1442637" y="641449"/>
                      <a:pt x="1465778" y="607687"/>
                    </a:cubicBezTo>
                    <a:cubicBezTo>
                      <a:pt x="1488918" y="573925"/>
                      <a:pt x="1496126" y="533713"/>
                      <a:pt x="1489298" y="496537"/>
                    </a:cubicBezTo>
                    <a:cubicBezTo>
                      <a:pt x="1482469" y="459361"/>
                      <a:pt x="1461226" y="424460"/>
                      <a:pt x="1427463" y="401320"/>
                    </a:cubicBezTo>
                    <a:close/>
                    <a:moveTo>
                      <a:pt x="234785" y="207472"/>
                    </a:moveTo>
                    <a:cubicBezTo>
                      <a:pt x="218473" y="231371"/>
                      <a:pt x="193815" y="246545"/>
                      <a:pt x="167261" y="251097"/>
                    </a:cubicBezTo>
                    <a:cubicBezTo>
                      <a:pt x="140706" y="256029"/>
                      <a:pt x="112634" y="251097"/>
                      <a:pt x="88735" y="234406"/>
                    </a:cubicBezTo>
                    <a:cubicBezTo>
                      <a:pt x="64836" y="218094"/>
                      <a:pt x="50042" y="193436"/>
                      <a:pt x="45110" y="166882"/>
                    </a:cubicBezTo>
                    <a:cubicBezTo>
                      <a:pt x="40178" y="140327"/>
                      <a:pt x="45110" y="112255"/>
                      <a:pt x="61801" y="88356"/>
                    </a:cubicBezTo>
                    <a:cubicBezTo>
                      <a:pt x="78113" y="64457"/>
                      <a:pt x="102771" y="49662"/>
                      <a:pt x="129326" y="44731"/>
                    </a:cubicBezTo>
                    <a:cubicBezTo>
                      <a:pt x="155880" y="39799"/>
                      <a:pt x="183952" y="44731"/>
                      <a:pt x="207851" y="61422"/>
                    </a:cubicBezTo>
                    <a:cubicBezTo>
                      <a:pt x="231750" y="77734"/>
                      <a:pt x="246545" y="102392"/>
                      <a:pt x="251477" y="128946"/>
                    </a:cubicBezTo>
                    <a:cubicBezTo>
                      <a:pt x="256408" y="155501"/>
                      <a:pt x="251477" y="183573"/>
                      <a:pt x="234785" y="207472"/>
                    </a:cubicBezTo>
                    <a:close/>
                    <a:moveTo>
                      <a:pt x="1429740" y="582650"/>
                    </a:moveTo>
                    <a:cubicBezTo>
                      <a:pt x="1413427" y="606549"/>
                      <a:pt x="1388770" y="621344"/>
                      <a:pt x="1362215" y="626275"/>
                    </a:cubicBezTo>
                    <a:cubicBezTo>
                      <a:pt x="1335661" y="631207"/>
                      <a:pt x="1307589" y="626275"/>
                      <a:pt x="1283690" y="609584"/>
                    </a:cubicBezTo>
                    <a:cubicBezTo>
                      <a:pt x="1259790" y="593272"/>
                      <a:pt x="1244996" y="568614"/>
                      <a:pt x="1240064" y="542059"/>
                    </a:cubicBezTo>
                    <a:cubicBezTo>
                      <a:pt x="1235133" y="515505"/>
                      <a:pt x="1240064" y="487433"/>
                      <a:pt x="1256756" y="463534"/>
                    </a:cubicBezTo>
                    <a:cubicBezTo>
                      <a:pt x="1273068" y="439635"/>
                      <a:pt x="1297726" y="424460"/>
                      <a:pt x="1324280" y="419908"/>
                    </a:cubicBezTo>
                    <a:cubicBezTo>
                      <a:pt x="1350835" y="414977"/>
                      <a:pt x="1378907" y="419908"/>
                      <a:pt x="1402806" y="436600"/>
                    </a:cubicBezTo>
                    <a:cubicBezTo>
                      <a:pt x="1426705" y="453291"/>
                      <a:pt x="1441879" y="477570"/>
                      <a:pt x="1446431" y="504124"/>
                    </a:cubicBezTo>
                    <a:cubicBezTo>
                      <a:pt x="1451362" y="530679"/>
                      <a:pt x="1446431" y="558751"/>
                      <a:pt x="1429740" y="582650"/>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0" name="Freeform 29">
                <a:extLst>
                  <a:ext uri="{FF2B5EF4-FFF2-40B4-BE49-F238E27FC236}">
                    <a16:creationId xmlns:a16="http://schemas.microsoft.com/office/drawing/2014/main" id="{3444B119-22E7-0DE7-1EE5-80C805FD9EF3}"/>
                  </a:ext>
                </a:extLst>
              </p:cNvPr>
              <p:cNvSpPr/>
              <p:nvPr/>
            </p:nvSpPr>
            <p:spPr>
              <a:xfrm>
                <a:off x="14351388" y="4740314"/>
                <a:ext cx="330376" cy="262130"/>
              </a:xfrm>
              <a:custGeom>
                <a:avLst/>
                <a:gdLst>
                  <a:gd name="connsiteX0" fmla="*/ 175607 w 879648"/>
                  <a:gd name="connsiteY0" fmla="*/ 294723 h 697939"/>
                  <a:gd name="connsiteX1" fmla="*/ 257167 w 879648"/>
                  <a:gd name="connsiteY1" fmla="*/ 249959 h 697939"/>
                  <a:gd name="connsiteX2" fmla="*/ 597824 w 879648"/>
                  <a:gd name="connsiteY2" fmla="*/ 484398 h 697939"/>
                  <a:gd name="connsiteX3" fmla="*/ 585305 w 879648"/>
                  <a:gd name="connsiteY3" fmla="*/ 576580 h 697939"/>
                  <a:gd name="connsiteX4" fmla="*/ 647139 w 879648"/>
                  <a:gd name="connsiteY4" fmla="*/ 671797 h 697939"/>
                  <a:gd name="connsiteX5" fmla="*/ 758289 w 879648"/>
                  <a:gd name="connsiteY5" fmla="*/ 695317 h 697939"/>
                  <a:gd name="connsiteX6" fmla="*/ 853506 w 879648"/>
                  <a:gd name="connsiteY6" fmla="*/ 633483 h 697939"/>
                  <a:gd name="connsiteX7" fmla="*/ 877026 w 879648"/>
                  <a:gd name="connsiteY7" fmla="*/ 522333 h 697939"/>
                  <a:gd name="connsiteX8" fmla="*/ 815192 w 879648"/>
                  <a:gd name="connsiteY8" fmla="*/ 427116 h 697939"/>
                  <a:gd name="connsiteX9" fmla="*/ 704042 w 879648"/>
                  <a:gd name="connsiteY9" fmla="*/ 403596 h 697939"/>
                  <a:gd name="connsiteX10" fmla="*/ 622482 w 879648"/>
                  <a:gd name="connsiteY10" fmla="*/ 448360 h 697939"/>
                  <a:gd name="connsiteX11" fmla="*/ 281825 w 879648"/>
                  <a:gd name="connsiteY11" fmla="*/ 213921 h 697939"/>
                  <a:gd name="connsiteX12" fmla="*/ 294343 w 879648"/>
                  <a:gd name="connsiteY12" fmla="*/ 121359 h 697939"/>
                  <a:gd name="connsiteX13" fmla="*/ 232509 w 879648"/>
                  <a:gd name="connsiteY13" fmla="*/ 26142 h 697939"/>
                  <a:gd name="connsiteX14" fmla="*/ 121359 w 879648"/>
                  <a:gd name="connsiteY14" fmla="*/ 2623 h 697939"/>
                  <a:gd name="connsiteX15" fmla="*/ 26142 w 879648"/>
                  <a:gd name="connsiteY15" fmla="*/ 64457 h 697939"/>
                  <a:gd name="connsiteX16" fmla="*/ 2623 w 879648"/>
                  <a:gd name="connsiteY16" fmla="*/ 175607 h 697939"/>
                  <a:gd name="connsiteX17" fmla="*/ 64457 w 879648"/>
                  <a:gd name="connsiteY17" fmla="*/ 270824 h 697939"/>
                  <a:gd name="connsiteX18" fmla="*/ 175607 w 879648"/>
                  <a:gd name="connsiteY18" fmla="*/ 294343 h 697939"/>
                  <a:gd name="connsiteX19" fmla="*/ 644863 w 879648"/>
                  <a:gd name="connsiteY19" fmla="*/ 490088 h 697939"/>
                  <a:gd name="connsiteX20" fmla="*/ 712388 w 879648"/>
                  <a:gd name="connsiteY20" fmla="*/ 446463 h 697939"/>
                  <a:gd name="connsiteX21" fmla="*/ 790913 w 879648"/>
                  <a:gd name="connsiteY21" fmla="*/ 463154 h 697939"/>
                  <a:gd name="connsiteX22" fmla="*/ 834539 w 879648"/>
                  <a:gd name="connsiteY22" fmla="*/ 530679 h 697939"/>
                  <a:gd name="connsiteX23" fmla="*/ 817847 w 879648"/>
                  <a:gd name="connsiteY23" fmla="*/ 609204 h 697939"/>
                  <a:gd name="connsiteX24" fmla="*/ 750323 w 879648"/>
                  <a:gd name="connsiteY24" fmla="*/ 652830 h 697939"/>
                  <a:gd name="connsiteX25" fmla="*/ 671797 w 879648"/>
                  <a:gd name="connsiteY25" fmla="*/ 636138 h 697939"/>
                  <a:gd name="connsiteX26" fmla="*/ 628172 w 879648"/>
                  <a:gd name="connsiteY26" fmla="*/ 568614 h 697939"/>
                  <a:gd name="connsiteX27" fmla="*/ 644863 w 879648"/>
                  <a:gd name="connsiteY27" fmla="*/ 490088 h 697939"/>
                  <a:gd name="connsiteX28" fmla="*/ 45489 w 879648"/>
                  <a:gd name="connsiteY28" fmla="*/ 168020 h 697939"/>
                  <a:gd name="connsiteX29" fmla="*/ 62181 w 879648"/>
                  <a:gd name="connsiteY29" fmla="*/ 89494 h 697939"/>
                  <a:gd name="connsiteX30" fmla="*/ 129705 w 879648"/>
                  <a:gd name="connsiteY30" fmla="*/ 45869 h 697939"/>
                  <a:gd name="connsiteX31" fmla="*/ 208231 w 879648"/>
                  <a:gd name="connsiteY31" fmla="*/ 62560 h 697939"/>
                  <a:gd name="connsiteX32" fmla="*/ 251856 w 879648"/>
                  <a:gd name="connsiteY32" fmla="*/ 130084 h 697939"/>
                  <a:gd name="connsiteX33" fmla="*/ 235165 w 879648"/>
                  <a:gd name="connsiteY33" fmla="*/ 208610 h 697939"/>
                  <a:gd name="connsiteX34" fmla="*/ 167640 w 879648"/>
                  <a:gd name="connsiteY34" fmla="*/ 252235 h 697939"/>
                  <a:gd name="connsiteX35" fmla="*/ 89115 w 879648"/>
                  <a:gd name="connsiteY35" fmla="*/ 235544 h 697939"/>
                  <a:gd name="connsiteX36" fmla="*/ 45489 w 879648"/>
                  <a:gd name="connsiteY36" fmla="*/ 168020 h 6979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879648" h="697939">
                    <a:moveTo>
                      <a:pt x="175607" y="294723"/>
                    </a:moveTo>
                    <a:cubicBezTo>
                      <a:pt x="206334" y="289032"/>
                      <a:pt x="235165" y="273858"/>
                      <a:pt x="257167" y="249959"/>
                    </a:cubicBezTo>
                    <a:lnTo>
                      <a:pt x="597824" y="484398"/>
                    </a:lnTo>
                    <a:cubicBezTo>
                      <a:pt x="583408" y="513608"/>
                      <a:pt x="579615" y="546232"/>
                      <a:pt x="585305" y="576580"/>
                    </a:cubicBezTo>
                    <a:cubicBezTo>
                      <a:pt x="592133" y="613756"/>
                      <a:pt x="613377" y="648657"/>
                      <a:pt x="647139" y="671797"/>
                    </a:cubicBezTo>
                    <a:cubicBezTo>
                      <a:pt x="680902" y="694938"/>
                      <a:pt x="721113" y="702524"/>
                      <a:pt x="758289" y="695317"/>
                    </a:cubicBezTo>
                    <a:cubicBezTo>
                      <a:pt x="795845" y="688489"/>
                      <a:pt x="830366" y="667245"/>
                      <a:pt x="853506" y="633483"/>
                    </a:cubicBezTo>
                    <a:cubicBezTo>
                      <a:pt x="876646" y="599720"/>
                      <a:pt x="884233" y="559889"/>
                      <a:pt x="877026" y="522333"/>
                    </a:cubicBezTo>
                    <a:cubicBezTo>
                      <a:pt x="870197" y="484777"/>
                      <a:pt x="848954" y="450256"/>
                      <a:pt x="815192" y="427116"/>
                    </a:cubicBezTo>
                    <a:cubicBezTo>
                      <a:pt x="781429" y="403976"/>
                      <a:pt x="741218" y="396389"/>
                      <a:pt x="704042" y="403596"/>
                    </a:cubicBezTo>
                    <a:cubicBezTo>
                      <a:pt x="673315" y="409286"/>
                      <a:pt x="644484" y="424461"/>
                      <a:pt x="622482" y="448360"/>
                    </a:cubicBezTo>
                    <a:lnTo>
                      <a:pt x="281825" y="213921"/>
                    </a:lnTo>
                    <a:cubicBezTo>
                      <a:pt x="296240" y="184711"/>
                      <a:pt x="300034" y="152087"/>
                      <a:pt x="294343" y="121359"/>
                    </a:cubicBezTo>
                    <a:cubicBezTo>
                      <a:pt x="287515" y="84183"/>
                      <a:pt x="266271" y="49283"/>
                      <a:pt x="232509" y="26142"/>
                    </a:cubicBezTo>
                    <a:cubicBezTo>
                      <a:pt x="198747" y="3002"/>
                      <a:pt x="158536" y="-4585"/>
                      <a:pt x="121359" y="2623"/>
                    </a:cubicBezTo>
                    <a:cubicBezTo>
                      <a:pt x="83804" y="9451"/>
                      <a:pt x="49283" y="30695"/>
                      <a:pt x="26142" y="64457"/>
                    </a:cubicBezTo>
                    <a:cubicBezTo>
                      <a:pt x="3002" y="98219"/>
                      <a:pt x="-4585" y="138051"/>
                      <a:pt x="2623" y="175607"/>
                    </a:cubicBezTo>
                    <a:cubicBezTo>
                      <a:pt x="9451" y="213162"/>
                      <a:pt x="30695" y="247683"/>
                      <a:pt x="64457" y="270824"/>
                    </a:cubicBezTo>
                    <a:cubicBezTo>
                      <a:pt x="98219" y="293964"/>
                      <a:pt x="138430" y="301551"/>
                      <a:pt x="175607" y="294343"/>
                    </a:cubicBezTo>
                    <a:close/>
                    <a:moveTo>
                      <a:pt x="644863" y="490088"/>
                    </a:moveTo>
                    <a:cubicBezTo>
                      <a:pt x="661175" y="466189"/>
                      <a:pt x="685833" y="451015"/>
                      <a:pt x="712388" y="446463"/>
                    </a:cubicBezTo>
                    <a:cubicBezTo>
                      <a:pt x="738942" y="441531"/>
                      <a:pt x="767014" y="446463"/>
                      <a:pt x="790913" y="463154"/>
                    </a:cubicBezTo>
                    <a:cubicBezTo>
                      <a:pt x="814812" y="479466"/>
                      <a:pt x="829986" y="504124"/>
                      <a:pt x="834539" y="530679"/>
                    </a:cubicBezTo>
                    <a:cubicBezTo>
                      <a:pt x="839470" y="557233"/>
                      <a:pt x="834539" y="585305"/>
                      <a:pt x="817847" y="609204"/>
                    </a:cubicBezTo>
                    <a:cubicBezTo>
                      <a:pt x="801535" y="633103"/>
                      <a:pt x="776877" y="647898"/>
                      <a:pt x="750323" y="652830"/>
                    </a:cubicBezTo>
                    <a:cubicBezTo>
                      <a:pt x="723768" y="657761"/>
                      <a:pt x="695696" y="652830"/>
                      <a:pt x="671797" y="636138"/>
                    </a:cubicBezTo>
                    <a:cubicBezTo>
                      <a:pt x="647898" y="619826"/>
                      <a:pt x="633103" y="595168"/>
                      <a:pt x="628172" y="568614"/>
                    </a:cubicBezTo>
                    <a:cubicBezTo>
                      <a:pt x="623240" y="542059"/>
                      <a:pt x="628172" y="513987"/>
                      <a:pt x="644863" y="490088"/>
                    </a:cubicBezTo>
                    <a:close/>
                    <a:moveTo>
                      <a:pt x="45489" y="168020"/>
                    </a:moveTo>
                    <a:cubicBezTo>
                      <a:pt x="40558" y="141465"/>
                      <a:pt x="45489" y="113393"/>
                      <a:pt x="62181" y="89494"/>
                    </a:cubicBezTo>
                    <a:cubicBezTo>
                      <a:pt x="78493" y="65595"/>
                      <a:pt x="103151" y="50421"/>
                      <a:pt x="129705" y="45869"/>
                    </a:cubicBezTo>
                    <a:cubicBezTo>
                      <a:pt x="156260" y="40937"/>
                      <a:pt x="184332" y="45869"/>
                      <a:pt x="208231" y="62560"/>
                    </a:cubicBezTo>
                    <a:cubicBezTo>
                      <a:pt x="232130" y="78872"/>
                      <a:pt x="246925" y="103530"/>
                      <a:pt x="251856" y="130084"/>
                    </a:cubicBezTo>
                    <a:cubicBezTo>
                      <a:pt x="256788" y="156639"/>
                      <a:pt x="251856" y="184711"/>
                      <a:pt x="235165" y="208610"/>
                    </a:cubicBezTo>
                    <a:cubicBezTo>
                      <a:pt x="218852" y="232509"/>
                      <a:pt x="194195" y="247683"/>
                      <a:pt x="167640" y="252235"/>
                    </a:cubicBezTo>
                    <a:cubicBezTo>
                      <a:pt x="141086" y="257167"/>
                      <a:pt x="113014" y="252235"/>
                      <a:pt x="89115" y="235544"/>
                    </a:cubicBezTo>
                    <a:cubicBezTo>
                      <a:pt x="65216" y="219232"/>
                      <a:pt x="50421" y="194574"/>
                      <a:pt x="45489" y="168020"/>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1" name="Freeform 30">
                <a:extLst>
                  <a:ext uri="{FF2B5EF4-FFF2-40B4-BE49-F238E27FC236}">
                    <a16:creationId xmlns:a16="http://schemas.microsoft.com/office/drawing/2014/main" id="{F87F99C8-E73C-EDEE-8724-1270402CA1CD}"/>
                  </a:ext>
                </a:extLst>
              </p:cNvPr>
              <p:cNvSpPr/>
              <p:nvPr/>
            </p:nvSpPr>
            <p:spPr>
              <a:xfrm>
                <a:off x="14760863" y="4714099"/>
                <a:ext cx="159999" cy="130363"/>
              </a:xfrm>
              <a:custGeom>
                <a:avLst/>
                <a:gdLst>
                  <a:gd name="connsiteX0" fmla="*/ 294343 w 426006"/>
                  <a:gd name="connsiteY0" fmla="*/ 121359 h 347101"/>
                  <a:gd name="connsiteX1" fmla="*/ 232509 w 426006"/>
                  <a:gd name="connsiteY1" fmla="*/ 26142 h 347101"/>
                  <a:gd name="connsiteX2" fmla="*/ 121359 w 426006"/>
                  <a:gd name="connsiteY2" fmla="*/ 2623 h 347101"/>
                  <a:gd name="connsiteX3" fmla="*/ 26143 w 426006"/>
                  <a:gd name="connsiteY3" fmla="*/ 64457 h 347101"/>
                  <a:gd name="connsiteX4" fmla="*/ 2623 w 426006"/>
                  <a:gd name="connsiteY4" fmla="*/ 175607 h 347101"/>
                  <a:gd name="connsiteX5" fmla="*/ 64457 w 426006"/>
                  <a:gd name="connsiteY5" fmla="*/ 270824 h 347101"/>
                  <a:gd name="connsiteX6" fmla="*/ 175607 w 426006"/>
                  <a:gd name="connsiteY6" fmla="*/ 294343 h 347101"/>
                  <a:gd name="connsiteX7" fmla="*/ 257167 w 426006"/>
                  <a:gd name="connsiteY7" fmla="*/ 249580 h 347101"/>
                  <a:gd name="connsiteX8" fmla="*/ 392216 w 426006"/>
                  <a:gd name="connsiteY8" fmla="*/ 343280 h 347101"/>
                  <a:gd name="connsiteX9" fmla="*/ 422184 w 426006"/>
                  <a:gd name="connsiteY9" fmla="*/ 337969 h 347101"/>
                  <a:gd name="connsiteX10" fmla="*/ 416874 w 426006"/>
                  <a:gd name="connsiteY10" fmla="*/ 308000 h 347101"/>
                  <a:gd name="connsiteX11" fmla="*/ 281825 w 426006"/>
                  <a:gd name="connsiteY11" fmla="*/ 213921 h 347101"/>
                  <a:gd name="connsiteX12" fmla="*/ 294723 w 426006"/>
                  <a:gd name="connsiteY12" fmla="*/ 121359 h 347101"/>
                  <a:gd name="connsiteX13" fmla="*/ 235165 w 426006"/>
                  <a:gd name="connsiteY13" fmla="*/ 208231 h 347101"/>
                  <a:gd name="connsiteX14" fmla="*/ 167640 w 426006"/>
                  <a:gd name="connsiteY14" fmla="*/ 251856 h 347101"/>
                  <a:gd name="connsiteX15" fmla="*/ 89115 w 426006"/>
                  <a:gd name="connsiteY15" fmla="*/ 235165 h 347101"/>
                  <a:gd name="connsiteX16" fmla="*/ 45489 w 426006"/>
                  <a:gd name="connsiteY16" fmla="*/ 167640 h 347101"/>
                  <a:gd name="connsiteX17" fmla="*/ 62181 w 426006"/>
                  <a:gd name="connsiteY17" fmla="*/ 89115 h 347101"/>
                  <a:gd name="connsiteX18" fmla="*/ 129705 w 426006"/>
                  <a:gd name="connsiteY18" fmla="*/ 45489 h 347101"/>
                  <a:gd name="connsiteX19" fmla="*/ 208231 w 426006"/>
                  <a:gd name="connsiteY19" fmla="*/ 62181 h 347101"/>
                  <a:gd name="connsiteX20" fmla="*/ 251856 w 426006"/>
                  <a:gd name="connsiteY20" fmla="*/ 129705 h 347101"/>
                  <a:gd name="connsiteX21" fmla="*/ 235165 w 426006"/>
                  <a:gd name="connsiteY21" fmla="*/ 208231 h 3471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6006" h="347101">
                    <a:moveTo>
                      <a:pt x="294343" y="121359"/>
                    </a:moveTo>
                    <a:cubicBezTo>
                      <a:pt x="287515" y="83804"/>
                      <a:pt x="266271" y="49283"/>
                      <a:pt x="232509" y="26142"/>
                    </a:cubicBezTo>
                    <a:cubicBezTo>
                      <a:pt x="198747" y="3002"/>
                      <a:pt x="158536" y="-4585"/>
                      <a:pt x="121359" y="2623"/>
                    </a:cubicBezTo>
                    <a:cubicBezTo>
                      <a:pt x="83804" y="9451"/>
                      <a:pt x="49283" y="30695"/>
                      <a:pt x="26143" y="64457"/>
                    </a:cubicBezTo>
                    <a:cubicBezTo>
                      <a:pt x="3002" y="98219"/>
                      <a:pt x="-4585" y="138430"/>
                      <a:pt x="2623" y="175607"/>
                    </a:cubicBezTo>
                    <a:cubicBezTo>
                      <a:pt x="9451" y="212783"/>
                      <a:pt x="30695" y="247683"/>
                      <a:pt x="64457" y="270824"/>
                    </a:cubicBezTo>
                    <a:cubicBezTo>
                      <a:pt x="98219" y="293964"/>
                      <a:pt x="138430" y="301551"/>
                      <a:pt x="175607" y="294343"/>
                    </a:cubicBezTo>
                    <a:cubicBezTo>
                      <a:pt x="206334" y="288653"/>
                      <a:pt x="235165" y="273479"/>
                      <a:pt x="257167" y="249580"/>
                    </a:cubicBezTo>
                    <a:lnTo>
                      <a:pt x="392216" y="343280"/>
                    </a:lnTo>
                    <a:cubicBezTo>
                      <a:pt x="402079" y="350108"/>
                      <a:pt x="415356" y="347452"/>
                      <a:pt x="422184" y="337969"/>
                    </a:cubicBezTo>
                    <a:cubicBezTo>
                      <a:pt x="429013" y="328105"/>
                      <a:pt x="426357" y="314828"/>
                      <a:pt x="416874" y="308000"/>
                    </a:cubicBezTo>
                    <a:lnTo>
                      <a:pt x="281825" y="213921"/>
                    </a:lnTo>
                    <a:cubicBezTo>
                      <a:pt x="296240" y="184711"/>
                      <a:pt x="300413" y="152087"/>
                      <a:pt x="294723" y="121359"/>
                    </a:cubicBezTo>
                    <a:close/>
                    <a:moveTo>
                      <a:pt x="235165" y="208231"/>
                    </a:moveTo>
                    <a:cubicBezTo>
                      <a:pt x="218853" y="232130"/>
                      <a:pt x="194195" y="247304"/>
                      <a:pt x="167640" y="251856"/>
                    </a:cubicBezTo>
                    <a:cubicBezTo>
                      <a:pt x="141086" y="256788"/>
                      <a:pt x="113014" y="251856"/>
                      <a:pt x="89115" y="235165"/>
                    </a:cubicBezTo>
                    <a:cubicBezTo>
                      <a:pt x="65216" y="218853"/>
                      <a:pt x="50421" y="194195"/>
                      <a:pt x="45489" y="167640"/>
                    </a:cubicBezTo>
                    <a:cubicBezTo>
                      <a:pt x="40558" y="141086"/>
                      <a:pt x="45489" y="113014"/>
                      <a:pt x="62181" y="89115"/>
                    </a:cubicBezTo>
                    <a:cubicBezTo>
                      <a:pt x="78493" y="65216"/>
                      <a:pt x="103151" y="50421"/>
                      <a:pt x="129705" y="45489"/>
                    </a:cubicBezTo>
                    <a:cubicBezTo>
                      <a:pt x="156260" y="40558"/>
                      <a:pt x="184332" y="45489"/>
                      <a:pt x="208231" y="62181"/>
                    </a:cubicBezTo>
                    <a:cubicBezTo>
                      <a:pt x="232130" y="78493"/>
                      <a:pt x="247304" y="103151"/>
                      <a:pt x="251856" y="129705"/>
                    </a:cubicBezTo>
                    <a:cubicBezTo>
                      <a:pt x="256788" y="156260"/>
                      <a:pt x="251856" y="184332"/>
                      <a:pt x="235165" y="208231"/>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2" name="Freeform 31">
                <a:extLst>
                  <a:ext uri="{FF2B5EF4-FFF2-40B4-BE49-F238E27FC236}">
                    <a16:creationId xmlns:a16="http://schemas.microsoft.com/office/drawing/2014/main" id="{2922166D-CED8-9593-5282-47F29446FDE2}"/>
                  </a:ext>
                </a:extLst>
              </p:cNvPr>
              <p:cNvSpPr/>
              <p:nvPr/>
            </p:nvSpPr>
            <p:spPr>
              <a:xfrm>
                <a:off x="14625796" y="5111605"/>
                <a:ext cx="111533" cy="111533"/>
              </a:xfrm>
              <a:custGeom>
                <a:avLst/>
                <a:gdLst>
                  <a:gd name="connsiteX0" fmla="*/ 232509 w 296965"/>
                  <a:gd name="connsiteY0" fmla="*/ 26143 h 296966"/>
                  <a:gd name="connsiteX1" fmla="*/ 121359 w 296965"/>
                  <a:gd name="connsiteY1" fmla="*/ 2623 h 296966"/>
                  <a:gd name="connsiteX2" fmla="*/ 26142 w 296965"/>
                  <a:gd name="connsiteY2" fmla="*/ 64457 h 296966"/>
                  <a:gd name="connsiteX3" fmla="*/ 2623 w 296965"/>
                  <a:gd name="connsiteY3" fmla="*/ 175607 h 296966"/>
                  <a:gd name="connsiteX4" fmla="*/ 64457 w 296965"/>
                  <a:gd name="connsiteY4" fmla="*/ 270824 h 296966"/>
                  <a:gd name="connsiteX5" fmla="*/ 175607 w 296965"/>
                  <a:gd name="connsiteY5" fmla="*/ 294343 h 296966"/>
                  <a:gd name="connsiteX6" fmla="*/ 270823 w 296965"/>
                  <a:gd name="connsiteY6" fmla="*/ 232509 h 296966"/>
                  <a:gd name="connsiteX7" fmla="*/ 294343 w 296965"/>
                  <a:gd name="connsiteY7" fmla="*/ 121359 h 296966"/>
                  <a:gd name="connsiteX8" fmla="*/ 232509 w 296965"/>
                  <a:gd name="connsiteY8" fmla="*/ 26143 h 296966"/>
                  <a:gd name="connsiteX9" fmla="*/ 234785 w 296965"/>
                  <a:gd name="connsiteY9" fmla="*/ 207851 h 296966"/>
                  <a:gd name="connsiteX10" fmla="*/ 167261 w 296965"/>
                  <a:gd name="connsiteY10" fmla="*/ 251477 h 296966"/>
                  <a:gd name="connsiteX11" fmla="*/ 88735 w 296965"/>
                  <a:gd name="connsiteY11" fmla="*/ 234785 h 296966"/>
                  <a:gd name="connsiteX12" fmla="*/ 45110 w 296965"/>
                  <a:gd name="connsiteY12" fmla="*/ 167261 h 296966"/>
                  <a:gd name="connsiteX13" fmla="*/ 61801 w 296965"/>
                  <a:gd name="connsiteY13" fmla="*/ 88735 h 296966"/>
                  <a:gd name="connsiteX14" fmla="*/ 129326 w 296965"/>
                  <a:gd name="connsiteY14" fmla="*/ 45110 h 296966"/>
                  <a:gd name="connsiteX15" fmla="*/ 207851 w 296965"/>
                  <a:gd name="connsiteY15" fmla="*/ 61801 h 296966"/>
                  <a:gd name="connsiteX16" fmla="*/ 251477 w 296965"/>
                  <a:gd name="connsiteY16" fmla="*/ 129326 h 296966"/>
                  <a:gd name="connsiteX17" fmla="*/ 234785 w 296965"/>
                  <a:gd name="connsiteY17" fmla="*/ 207851 h 296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96965" h="296966">
                    <a:moveTo>
                      <a:pt x="232509" y="26143"/>
                    </a:moveTo>
                    <a:cubicBezTo>
                      <a:pt x="198747" y="3002"/>
                      <a:pt x="158536" y="-4585"/>
                      <a:pt x="121359" y="2623"/>
                    </a:cubicBezTo>
                    <a:cubicBezTo>
                      <a:pt x="83804" y="9451"/>
                      <a:pt x="49283" y="30695"/>
                      <a:pt x="26142" y="64457"/>
                    </a:cubicBezTo>
                    <a:cubicBezTo>
                      <a:pt x="3002" y="98219"/>
                      <a:pt x="-4585" y="138430"/>
                      <a:pt x="2623" y="175607"/>
                    </a:cubicBezTo>
                    <a:cubicBezTo>
                      <a:pt x="9451" y="212783"/>
                      <a:pt x="30695" y="247683"/>
                      <a:pt x="64457" y="270824"/>
                    </a:cubicBezTo>
                    <a:cubicBezTo>
                      <a:pt x="98219" y="293964"/>
                      <a:pt x="138430" y="301551"/>
                      <a:pt x="175607" y="294343"/>
                    </a:cubicBezTo>
                    <a:cubicBezTo>
                      <a:pt x="213162" y="287515"/>
                      <a:pt x="247683" y="266271"/>
                      <a:pt x="270823" y="232509"/>
                    </a:cubicBezTo>
                    <a:cubicBezTo>
                      <a:pt x="293964" y="198747"/>
                      <a:pt x="301551" y="158915"/>
                      <a:pt x="294343" y="121359"/>
                    </a:cubicBezTo>
                    <a:cubicBezTo>
                      <a:pt x="287515" y="83804"/>
                      <a:pt x="266271" y="49283"/>
                      <a:pt x="232509" y="26143"/>
                    </a:cubicBezTo>
                    <a:close/>
                    <a:moveTo>
                      <a:pt x="234785" y="207851"/>
                    </a:moveTo>
                    <a:cubicBezTo>
                      <a:pt x="218473" y="231750"/>
                      <a:pt x="193815" y="246545"/>
                      <a:pt x="167261" y="251477"/>
                    </a:cubicBezTo>
                    <a:cubicBezTo>
                      <a:pt x="140706" y="256408"/>
                      <a:pt x="112634" y="251477"/>
                      <a:pt x="88735" y="234785"/>
                    </a:cubicBezTo>
                    <a:cubicBezTo>
                      <a:pt x="64836" y="218473"/>
                      <a:pt x="50042" y="193815"/>
                      <a:pt x="45110" y="167261"/>
                    </a:cubicBezTo>
                    <a:cubicBezTo>
                      <a:pt x="40178" y="140706"/>
                      <a:pt x="45110" y="112634"/>
                      <a:pt x="61801" y="88735"/>
                    </a:cubicBezTo>
                    <a:cubicBezTo>
                      <a:pt x="78113" y="64836"/>
                      <a:pt x="102771" y="50041"/>
                      <a:pt x="129326" y="45110"/>
                    </a:cubicBezTo>
                    <a:cubicBezTo>
                      <a:pt x="155880" y="40178"/>
                      <a:pt x="183952" y="45110"/>
                      <a:pt x="207851" y="61801"/>
                    </a:cubicBezTo>
                    <a:cubicBezTo>
                      <a:pt x="231750" y="78113"/>
                      <a:pt x="246545" y="102771"/>
                      <a:pt x="251477" y="129326"/>
                    </a:cubicBezTo>
                    <a:cubicBezTo>
                      <a:pt x="256408" y="155880"/>
                      <a:pt x="251477" y="183952"/>
                      <a:pt x="234785" y="207851"/>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3" name="Freeform 32">
                <a:extLst>
                  <a:ext uri="{FF2B5EF4-FFF2-40B4-BE49-F238E27FC236}">
                    <a16:creationId xmlns:a16="http://schemas.microsoft.com/office/drawing/2014/main" id="{D65E4A97-8129-A62D-0168-0D30F622C3B1}"/>
                  </a:ext>
                </a:extLst>
              </p:cNvPr>
              <p:cNvSpPr/>
              <p:nvPr/>
            </p:nvSpPr>
            <p:spPr>
              <a:xfrm>
                <a:off x="14673059" y="4584407"/>
                <a:ext cx="24417" cy="24417"/>
              </a:xfrm>
              <a:custGeom>
                <a:avLst/>
                <a:gdLst>
                  <a:gd name="connsiteX0" fmla="*/ 59251 w 65013"/>
                  <a:gd name="connsiteY0" fmla="*/ 50905 h 65013"/>
                  <a:gd name="connsiteX1" fmla="*/ 50905 w 65013"/>
                  <a:gd name="connsiteY1" fmla="*/ 5763 h 65013"/>
                  <a:gd name="connsiteX2" fmla="*/ 5763 w 65013"/>
                  <a:gd name="connsiteY2" fmla="*/ 14108 h 65013"/>
                  <a:gd name="connsiteX3" fmla="*/ 14108 w 65013"/>
                  <a:gd name="connsiteY3" fmla="*/ 59251 h 65013"/>
                  <a:gd name="connsiteX4" fmla="*/ 59251 w 65013"/>
                  <a:gd name="connsiteY4" fmla="*/ 50905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9251" y="50905"/>
                    </a:moveTo>
                    <a:cubicBezTo>
                      <a:pt x="69493" y="36111"/>
                      <a:pt x="65700" y="15626"/>
                      <a:pt x="50905" y="5763"/>
                    </a:cubicBezTo>
                    <a:cubicBezTo>
                      <a:pt x="36111" y="-4480"/>
                      <a:pt x="15626" y="-686"/>
                      <a:pt x="5763" y="14108"/>
                    </a:cubicBezTo>
                    <a:cubicBezTo>
                      <a:pt x="-4480" y="28903"/>
                      <a:pt x="-686" y="49388"/>
                      <a:pt x="14108" y="59251"/>
                    </a:cubicBezTo>
                    <a:cubicBezTo>
                      <a:pt x="28903" y="69493"/>
                      <a:pt x="49009" y="65700"/>
                      <a:pt x="59251" y="50905"/>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4" name="Freeform 33">
                <a:extLst>
                  <a:ext uri="{FF2B5EF4-FFF2-40B4-BE49-F238E27FC236}">
                    <a16:creationId xmlns:a16="http://schemas.microsoft.com/office/drawing/2014/main" id="{009B1034-2E0D-B023-D051-ADA15CBF9284}"/>
                  </a:ext>
                </a:extLst>
              </p:cNvPr>
              <p:cNvSpPr/>
              <p:nvPr/>
            </p:nvSpPr>
            <p:spPr>
              <a:xfrm>
                <a:off x="14709959" y="4609767"/>
                <a:ext cx="24417" cy="24417"/>
              </a:xfrm>
              <a:custGeom>
                <a:avLst/>
                <a:gdLst>
                  <a:gd name="connsiteX0" fmla="*/ 14108 w 65013"/>
                  <a:gd name="connsiteY0" fmla="*/ 59251 h 65013"/>
                  <a:gd name="connsiteX1" fmla="*/ 59251 w 65013"/>
                  <a:gd name="connsiteY1" fmla="*/ 50905 h 65013"/>
                  <a:gd name="connsiteX2" fmla="*/ 50905 w 65013"/>
                  <a:gd name="connsiteY2" fmla="*/ 5763 h 65013"/>
                  <a:gd name="connsiteX3" fmla="*/ 5763 w 65013"/>
                  <a:gd name="connsiteY3" fmla="*/ 14108 h 65013"/>
                  <a:gd name="connsiteX4" fmla="*/ 14108 w 65013"/>
                  <a:gd name="connsiteY4" fmla="*/ 59251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14108" y="59251"/>
                    </a:moveTo>
                    <a:cubicBezTo>
                      <a:pt x="28903" y="69493"/>
                      <a:pt x="49009" y="65700"/>
                      <a:pt x="59251" y="50905"/>
                    </a:cubicBezTo>
                    <a:cubicBezTo>
                      <a:pt x="69493" y="36111"/>
                      <a:pt x="65700" y="15626"/>
                      <a:pt x="50905" y="5763"/>
                    </a:cubicBezTo>
                    <a:cubicBezTo>
                      <a:pt x="36111" y="-4480"/>
                      <a:pt x="15626" y="-686"/>
                      <a:pt x="5763" y="14108"/>
                    </a:cubicBezTo>
                    <a:cubicBezTo>
                      <a:pt x="-4480" y="28903"/>
                      <a:pt x="-686" y="49009"/>
                      <a:pt x="14108" y="59251"/>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5" name="Freeform 34">
                <a:extLst>
                  <a:ext uri="{FF2B5EF4-FFF2-40B4-BE49-F238E27FC236}">
                    <a16:creationId xmlns:a16="http://schemas.microsoft.com/office/drawing/2014/main" id="{8F7E7B1A-8E3F-5431-697D-31995CC79EE1}"/>
                  </a:ext>
                </a:extLst>
              </p:cNvPr>
              <p:cNvSpPr/>
              <p:nvPr/>
            </p:nvSpPr>
            <p:spPr>
              <a:xfrm>
                <a:off x="14747004" y="4635128"/>
                <a:ext cx="24417" cy="24417"/>
              </a:xfrm>
              <a:custGeom>
                <a:avLst/>
                <a:gdLst>
                  <a:gd name="connsiteX0" fmla="*/ 50905 w 65013"/>
                  <a:gd name="connsiteY0" fmla="*/ 5763 h 65013"/>
                  <a:gd name="connsiteX1" fmla="*/ 5763 w 65013"/>
                  <a:gd name="connsiteY1" fmla="*/ 14108 h 65013"/>
                  <a:gd name="connsiteX2" fmla="*/ 14108 w 65013"/>
                  <a:gd name="connsiteY2" fmla="*/ 59251 h 65013"/>
                  <a:gd name="connsiteX3" fmla="*/ 59251 w 65013"/>
                  <a:gd name="connsiteY3" fmla="*/ 50905 h 65013"/>
                  <a:gd name="connsiteX4" fmla="*/ 50905 w 65013"/>
                  <a:gd name="connsiteY4" fmla="*/ 5763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0905" y="5763"/>
                    </a:moveTo>
                    <a:cubicBezTo>
                      <a:pt x="36111" y="-4480"/>
                      <a:pt x="15626" y="-686"/>
                      <a:pt x="5763" y="14108"/>
                    </a:cubicBezTo>
                    <a:cubicBezTo>
                      <a:pt x="-4480" y="28903"/>
                      <a:pt x="-686" y="49009"/>
                      <a:pt x="14108" y="59251"/>
                    </a:cubicBezTo>
                    <a:cubicBezTo>
                      <a:pt x="28903" y="69493"/>
                      <a:pt x="49008" y="65700"/>
                      <a:pt x="59251" y="50905"/>
                    </a:cubicBezTo>
                    <a:cubicBezTo>
                      <a:pt x="69493" y="36111"/>
                      <a:pt x="65700" y="15626"/>
                      <a:pt x="50905" y="5763"/>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6" name="Freeform 35">
                <a:extLst>
                  <a:ext uri="{FF2B5EF4-FFF2-40B4-BE49-F238E27FC236}">
                    <a16:creationId xmlns:a16="http://schemas.microsoft.com/office/drawing/2014/main" id="{7C08FE9F-CE34-691B-4822-1E88EA71B7A9}"/>
                  </a:ext>
                </a:extLst>
              </p:cNvPr>
              <p:cNvSpPr/>
              <p:nvPr/>
            </p:nvSpPr>
            <p:spPr>
              <a:xfrm>
                <a:off x="14474733" y="5077372"/>
                <a:ext cx="24417" cy="24417"/>
              </a:xfrm>
              <a:custGeom>
                <a:avLst/>
                <a:gdLst>
                  <a:gd name="connsiteX0" fmla="*/ 50905 w 65013"/>
                  <a:gd name="connsiteY0" fmla="*/ 5763 h 65013"/>
                  <a:gd name="connsiteX1" fmla="*/ 5763 w 65013"/>
                  <a:gd name="connsiteY1" fmla="*/ 14108 h 65013"/>
                  <a:gd name="connsiteX2" fmla="*/ 14108 w 65013"/>
                  <a:gd name="connsiteY2" fmla="*/ 59251 h 65013"/>
                  <a:gd name="connsiteX3" fmla="*/ 59251 w 65013"/>
                  <a:gd name="connsiteY3" fmla="*/ 50905 h 65013"/>
                  <a:gd name="connsiteX4" fmla="*/ 50905 w 65013"/>
                  <a:gd name="connsiteY4" fmla="*/ 5763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0905" y="5763"/>
                    </a:moveTo>
                    <a:cubicBezTo>
                      <a:pt x="36111" y="-4480"/>
                      <a:pt x="15626" y="-686"/>
                      <a:pt x="5763" y="14108"/>
                    </a:cubicBezTo>
                    <a:cubicBezTo>
                      <a:pt x="-4480" y="28903"/>
                      <a:pt x="-686" y="49008"/>
                      <a:pt x="14108" y="59251"/>
                    </a:cubicBezTo>
                    <a:cubicBezTo>
                      <a:pt x="28903" y="69493"/>
                      <a:pt x="49009" y="65700"/>
                      <a:pt x="59251" y="50905"/>
                    </a:cubicBezTo>
                    <a:cubicBezTo>
                      <a:pt x="69493" y="36111"/>
                      <a:pt x="65700" y="15626"/>
                      <a:pt x="50905" y="5763"/>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7" name="Freeform 36">
                <a:extLst>
                  <a:ext uri="{FF2B5EF4-FFF2-40B4-BE49-F238E27FC236}">
                    <a16:creationId xmlns:a16="http://schemas.microsoft.com/office/drawing/2014/main" id="{5CEC2503-CC33-CF81-689F-5A71D00CB4D7}"/>
                  </a:ext>
                </a:extLst>
              </p:cNvPr>
              <p:cNvSpPr/>
              <p:nvPr/>
            </p:nvSpPr>
            <p:spPr>
              <a:xfrm>
                <a:off x="14511634" y="5102733"/>
                <a:ext cx="24417" cy="24417"/>
              </a:xfrm>
              <a:custGeom>
                <a:avLst/>
                <a:gdLst>
                  <a:gd name="connsiteX0" fmla="*/ 50905 w 65013"/>
                  <a:gd name="connsiteY0" fmla="*/ 5763 h 65013"/>
                  <a:gd name="connsiteX1" fmla="*/ 5763 w 65013"/>
                  <a:gd name="connsiteY1" fmla="*/ 14108 h 65013"/>
                  <a:gd name="connsiteX2" fmla="*/ 14108 w 65013"/>
                  <a:gd name="connsiteY2" fmla="*/ 59251 h 65013"/>
                  <a:gd name="connsiteX3" fmla="*/ 59251 w 65013"/>
                  <a:gd name="connsiteY3" fmla="*/ 50905 h 65013"/>
                  <a:gd name="connsiteX4" fmla="*/ 50905 w 65013"/>
                  <a:gd name="connsiteY4" fmla="*/ 5763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0905" y="5763"/>
                    </a:moveTo>
                    <a:cubicBezTo>
                      <a:pt x="36111" y="-4480"/>
                      <a:pt x="15626" y="-686"/>
                      <a:pt x="5763" y="14108"/>
                    </a:cubicBezTo>
                    <a:cubicBezTo>
                      <a:pt x="-4480" y="28903"/>
                      <a:pt x="-686" y="49009"/>
                      <a:pt x="14108" y="59251"/>
                    </a:cubicBezTo>
                    <a:cubicBezTo>
                      <a:pt x="28903" y="69493"/>
                      <a:pt x="49009" y="65700"/>
                      <a:pt x="59251" y="50905"/>
                    </a:cubicBezTo>
                    <a:cubicBezTo>
                      <a:pt x="69493" y="36111"/>
                      <a:pt x="65700" y="15626"/>
                      <a:pt x="50905" y="5763"/>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8" name="Freeform 37">
                <a:extLst>
                  <a:ext uri="{FF2B5EF4-FFF2-40B4-BE49-F238E27FC236}">
                    <a16:creationId xmlns:a16="http://schemas.microsoft.com/office/drawing/2014/main" id="{53435F07-74A8-E5D1-096D-4E1B55D21C24}"/>
                  </a:ext>
                </a:extLst>
              </p:cNvPr>
              <p:cNvSpPr/>
              <p:nvPr/>
            </p:nvSpPr>
            <p:spPr>
              <a:xfrm>
                <a:off x="14548677" y="5128236"/>
                <a:ext cx="24417" cy="24417"/>
              </a:xfrm>
              <a:custGeom>
                <a:avLst/>
                <a:gdLst>
                  <a:gd name="connsiteX0" fmla="*/ 50905 w 65013"/>
                  <a:gd name="connsiteY0" fmla="*/ 5763 h 65013"/>
                  <a:gd name="connsiteX1" fmla="*/ 5763 w 65013"/>
                  <a:gd name="connsiteY1" fmla="*/ 14108 h 65013"/>
                  <a:gd name="connsiteX2" fmla="*/ 14108 w 65013"/>
                  <a:gd name="connsiteY2" fmla="*/ 59251 h 65013"/>
                  <a:gd name="connsiteX3" fmla="*/ 59251 w 65013"/>
                  <a:gd name="connsiteY3" fmla="*/ 50905 h 65013"/>
                  <a:gd name="connsiteX4" fmla="*/ 50905 w 65013"/>
                  <a:gd name="connsiteY4" fmla="*/ 5763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0905" y="5763"/>
                    </a:moveTo>
                    <a:cubicBezTo>
                      <a:pt x="36111" y="-4480"/>
                      <a:pt x="15626" y="-686"/>
                      <a:pt x="5763" y="14108"/>
                    </a:cubicBezTo>
                    <a:cubicBezTo>
                      <a:pt x="-4480" y="28903"/>
                      <a:pt x="-686" y="49388"/>
                      <a:pt x="14108" y="59251"/>
                    </a:cubicBezTo>
                    <a:cubicBezTo>
                      <a:pt x="28903" y="69493"/>
                      <a:pt x="49009" y="65700"/>
                      <a:pt x="59251" y="50905"/>
                    </a:cubicBezTo>
                    <a:cubicBezTo>
                      <a:pt x="69493" y="36111"/>
                      <a:pt x="65700" y="15626"/>
                      <a:pt x="50905" y="5763"/>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9" name="Freeform 38">
                <a:extLst>
                  <a:ext uri="{FF2B5EF4-FFF2-40B4-BE49-F238E27FC236}">
                    <a16:creationId xmlns:a16="http://schemas.microsoft.com/office/drawing/2014/main" id="{718ABD56-B78E-FE85-969C-9CBD72B08879}"/>
                  </a:ext>
                </a:extLst>
              </p:cNvPr>
              <p:cNvSpPr/>
              <p:nvPr/>
            </p:nvSpPr>
            <p:spPr>
              <a:xfrm>
                <a:off x="14748286" y="4984905"/>
                <a:ext cx="24417" cy="24417"/>
              </a:xfrm>
              <a:custGeom>
                <a:avLst/>
                <a:gdLst>
                  <a:gd name="connsiteX0" fmla="*/ 5763 w 65013"/>
                  <a:gd name="connsiteY0" fmla="*/ 14108 h 65013"/>
                  <a:gd name="connsiteX1" fmla="*/ 14108 w 65013"/>
                  <a:gd name="connsiteY1" fmla="*/ 59251 h 65013"/>
                  <a:gd name="connsiteX2" fmla="*/ 59251 w 65013"/>
                  <a:gd name="connsiteY2" fmla="*/ 50905 h 65013"/>
                  <a:gd name="connsiteX3" fmla="*/ 50905 w 65013"/>
                  <a:gd name="connsiteY3" fmla="*/ 5763 h 65013"/>
                  <a:gd name="connsiteX4" fmla="*/ 5763 w 65013"/>
                  <a:gd name="connsiteY4" fmla="*/ 14108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763" y="14108"/>
                    </a:moveTo>
                    <a:cubicBezTo>
                      <a:pt x="-4480" y="28903"/>
                      <a:pt x="-686" y="49388"/>
                      <a:pt x="14108" y="59251"/>
                    </a:cubicBezTo>
                    <a:cubicBezTo>
                      <a:pt x="28903" y="69494"/>
                      <a:pt x="49008" y="65700"/>
                      <a:pt x="59251" y="50905"/>
                    </a:cubicBezTo>
                    <a:cubicBezTo>
                      <a:pt x="69493" y="36111"/>
                      <a:pt x="65700" y="15626"/>
                      <a:pt x="50905" y="5763"/>
                    </a:cubicBezTo>
                    <a:cubicBezTo>
                      <a:pt x="36111" y="-4480"/>
                      <a:pt x="15626" y="-686"/>
                      <a:pt x="5763" y="1410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0" name="Freeform 39">
                <a:extLst>
                  <a:ext uri="{FF2B5EF4-FFF2-40B4-BE49-F238E27FC236}">
                    <a16:creationId xmlns:a16="http://schemas.microsoft.com/office/drawing/2014/main" id="{753C4D69-DB20-D433-4526-5713D23B69BE}"/>
                  </a:ext>
                </a:extLst>
              </p:cNvPr>
              <p:cNvSpPr/>
              <p:nvPr/>
            </p:nvSpPr>
            <p:spPr>
              <a:xfrm>
                <a:off x="14785187" y="5010266"/>
                <a:ext cx="24417" cy="24417"/>
              </a:xfrm>
              <a:custGeom>
                <a:avLst/>
                <a:gdLst>
                  <a:gd name="connsiteX0" fmla="*/ 5763 w 65013"/>
                  <a:gd name="connsiteY0" fmla="*/ 14108 h 65013"/>
                  <a:gd name="connsiteX1" fmla="*/ 14108 w 65013"/>
                  <a:gd name="connsiteY1" fmla="*/ 59251 h 65013"/>
                  <a:gd name="connsiteX2" fmla="*/ 59251 w 65013"/>
                  <a:gd name="connsiteY2" fmla="*/ 50905 h 65013"/>
                  <a:gd name="connsiteX3" fmla="*/ 50905 w 65013"/>
                  <a:gd name="connsiteY3" fmla="*/ 5763 h 65013"/>
                  <a:gd name="connsiteX4" fmla="*/ 5763 w 65013"/>
                  <a:gd name="connsiteY4" fmla="*/ 14108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763" y="14108"/>
                    </a:moveTo>
                    <a:cubicBezTo>
                      <a:pt x="-4480" y="28903"/>
                      <a:pt x="-686" y="49388"/>
                      <a:pt x="14108" y="59251"/>
                    </a:cubicBezTo>
                    <a:cubicBezTo>
                      <a:pt x="28903" y="69493"/>
                      <a:pt x="49008" y="65700"/>
                      <a:pt x="59251" y="50905"/>
                    </a:cubicBezTo>
                    <a:cubicBezTo>
                      <a:pt x="69493" y="36111"/>
                      <a:pt x="65700" y="15626"/>
                      <a:pt x="50905" y="5763"/>
                    </a:cubicBezTo>
                    <a:cubicBezTo>
                      <a:pt x="36111" y="-4480"/>
                      <a:pt x="15626" y="-686"/>
                      <a:pt x="5763" y="1410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1" name="Freeform 40">
                <a:extLst>
                  <a:ext uri="{FF2B5EF4-FFF2-40B4-BE49-F238E27FC236}">
                    <a16:creationId xmlns:a16="http://schemas.microsoft.com/office/drawing/2014/main" id="{DD83B57E-578C-DAE6-7ECD-2572374B768D}"/>
                  </a:ext>
                </a:extLst>
              </p:cNvPr>
              <p:cNvSpPr/>
              <p:nvPr/>
            </p:nvSpPr>
            <p:spPr>
              <a:xfrm>
                <a:off x="14822230" y="5035626"/>
                <a:ext cx="24417" cy="24417"/>
              </a:xfrm>
              <a:custGeom>
                <a:avLst/>
                <a:gdLst>
                  <a:gd name="connsiteX0" fmla="*/ 5763 w 65013"/>
                  <a:gd name="connsiteY0" fmla="*/ 14108 h 65013"/>
                  <a:gd name="connsiteX1" fmla="*/ 14108 w 65013"/>
                  <a:gd name="connsiteY1" fmla="*/ 59251 h 65013"/>
                  <a:gd name="connsiteX2" fmla="*/ 59251 w 65013"/>
                  <a:gd name="connsiteY2" fmla="*/ 50905 h 65013"/>
                  <a:gd name="connsiteX3" fmla="*/ 50905 w 65013"/>
                  <a:gd name="connsiteY3" fmla="*/ 5763 h 65013"/>
                  <a:gd name="connsiteX4" fmla="*/ 5763 w 65013"/>
                  <a:gd name="connsiteY4" fmla="*/ 14108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763" y="14108"/>
                    </a:moveTo>
                    <a:cubicBezTo>
                      <a:pt x="-4480" y="28903"/>
                      <a:pt x="-686" y="49388"/>
                      <a:pt x="14108" y="59251"/>
                    </a:cubicBezTo>
                    <a:cubicBezTo>
                      <a:pt x="28903" y="69493"/>
                      <a:pt x="49009" y="65700"/>
                      <a:pt x="59251" y="50905"/>
                    </a:cubicBezTo>
                    <a:cubicBezTo>
                      <a:pt x="69494" y="36111"/>
                      <a:pt x="65700" y="15626"/>
                      <a:pt x="50905" y="5763"/>
                    </a:cubicBezTo>
                    <a:cubicBezTo>
                      <a:pt x="36111" y="-4480"/>
                      <a:pt x="15626" y="-686"/>
                      <a:pt x="5763" y="1410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2" name="Freeform 41">
                <a:extLst>
                  <a:ext uri="{FF2B5EF4-FFF2-40B4-BE49-F238E27FC236}">
                    <a16:creationId xmlns:a16="http://schemas.microsoft.com/office/drawing/2014/main" id="{F7E390CC-2B21-4524-4980-356EB1B493E5}"/>
                  </a:ext>
                </a:extLst>
              </p:cNvPr>
              <p:cNvSpPr/>
              <p:nvPr/>
            </p:nvSpPr>
            <p:spPr>
              <a:xfrm>
                <a:off x="14937635" y="4850694"/>
                <a:ext cx="24417" cy="24417"/>
              </a:xfrm>
              <a:custGeom>
                <a:avLst/>
                <a:gdLst>
                  <a:gd name="connsiteX0" fmla="*/ 59251 w 65013"/>
                  <a:gd name="connsiteY0" fmla="*/ 50905 h 65013"/>
                  <a:gd name="connsiteX1" fmla="*/ 50905 w 65013"/>
                  <a:gd name="connsiteY1" fmla="*/ 5763 h 65013"/>
                  <a:gd name="connsiteX2" fmla="*/ 5763 w 65013"/>
                  <a:gd name="connsiteY2" fmla="*/ 14108 h 65013"/>
                  <a:gd name="connsiteX3" fmla="*/ 14108 w 65013"/>
                  <a:gd name="connsiteY3" fmla="*/ 59251 h 65013"/>
                  <a:gd name="connsiteX4" fmla="*/ 59251 w 65013"/>
                  <a:gd name="connsiteY4" fmla="*/ 50905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9251" y="50905"/>
                    </a:moveTo>
                    <a:cubicBezTo>
                      <a:pt x="69493" y="36111"/>
                      <a:pt x="65700" y="15626"/>
                      <a:pt x="50905" y="5763"/>
                    </a:cubicBezTo>
                    <a:cubicBezTo>
                      <a:pt x="36111" y="-4480"/>
                      <a:pt x="15626" y="-686"/>
                      <a:pt x="5763" y="14108"/>
                    </a:cubicBezTo>
                    <a:cubicBezTo>
                      <a:pt x="-4480" y="28903"/>
                      <a:pt x="-686" y="49388"/>
                      <a:pt x="14108" y="59251"/>
                    </a:cubicBezTo>
                    <a:cubicBezTo>
                      <a:pt x="28903" y="69493"/>
                      <a:pt x="49008" y="65700"/>
                      <a:pt x="59251" y="50905"/>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3" name="Freeform 42">
                <a:extLst>
                  <a:ext uri="{FF2B5EF4-FFF2-40B4-BE49-F238E27FC236}">
                    <a16:creationId xmlns:a16="http://schemas.microsoft.com/office/drawing/2014/main" id="{DF7DAC44-10C2-8F91-7A33-D757A4639483}"/>
                  </a:ext>
                </a:extLst>
              </p:cNvPr>
              <p:cNvSpPr/>
              <p:nvPr/>
            </p:nvSpPr>
            <p:spPr>
              <a:xfrm>
                <a:off x="14974680" y="4876054"/>
                <a:ext cx="24417" cy="24417"/>
              </a:xfrm>
              <a:custGeom>
                <a:avLst/>
                <a:gdLst>
                  <a:gd name="connsiteX0" fmla="*/ 59251 w 65013"/>
                  <a:gd name="connsiteY0" fmla="*/ 50905 h 65013"/>
                  <a:gd name="connsiteX1" fmla="*/ 50905 w 65013"/>
                  <a:gd name="connsiteY1" fmla="*/ 5762 h 65013"/>
                  <a:gd name="connsiteX2" fmla="*/ 5762 w 65013"/>
                  <a:gd name="connsiteY2" fmla="*/ 14108 h 65013"/>
                  <a:gd name="connsiteX3" fmla="*/ 14108 w 65013"/>
                  <a:gd name="connsiteY3" fmla="*/ 59251 h 65013"/>
                  <a:gd name="connsiteX4" fmla="*/ 59251 w 65013"/>
                  <a:gd name="connsiteY4" fmla="*/ 50905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9251" y="50905"/>
                    </a:moveTo>
                    <a:cubicBezTo>
                      <a:pt x="69493" y="36111"/>
                      <a:pt x="65700" y="15626"/>
                      <a:pt x="50905" y="5762"/>
                    </a:cubicBezTo>
                    <a:cubicBezTo>
                      <a:pt x="36111" y="-4480"/>
                      <a:pt x="15626" y="-686"/>
                      <a:pt x="5762" y="14108"/>
                    </a:cubicBezTo>
                    <a:cubicBezTo>
                      <a:pt x="-4480" y="28903"/>
                      <a:pt x="-686" y="49388"/>
                      <a:pt x="14108" y="59251"/>
                    </a:cubicBezTo>
                    <a:cubicBezTo>
                      <a:pt x="28903" y="69493"/>
                      <a:pt x="49009" y="65700"/>
                      <a:pt x="59251" y="50905"/>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4" name="Freeform 43">
                <a:extLst>
                  <a:ext uri="{FF2B5EF4-FFF2-40B4-BE49-F238E27FC236}">
                    <a16:creationId xmlns:a16="http://schemas.microsoft.com/office/drawing/2014/main" id="{7C826158-38FA-3D6E-D743-36A73C062C85}"/>
                  </a:ext>
                </a:extLst>
              </p:cNvPr>
              <p:cNvSpPr/>
              <p:nvPr/>
            </p:nvSpPr>
            <p:spPr>
              <a:xfrm>
                <a:off x="14520325" y="4815075"/>
                <a:ext cx="24417" cy="24417"/>
              </a:xfrm>
              <a:custGeom>
                <a:avLst/>
                <a:gdLst>
                  <a:gd name="connsiteX0" fmla="*/ 5763 w 65013"/>
                  <a:gd name="connsiteY0" fmla="*/ 14108 h 65013"/>
                  <a:gd name="connsiteX1" fmla="*/ 14108 w 65013"/>
                  <a:gd name="connsiteY1" fmla="*/ 59251 h 65013"/>
                  <a:gd name="connsiteX2" fmla="*/ 59251 w 65013"/>
                  <a:gd name="connsiteY2" fmla="*/ 50905 h 65013"/>
                  <a:gd name="connsiteX3" fmla="*/ 50905 w 65013"/>
                  <a:gd name="connsiteY3" fmla="*/ 5763 h 65013"/>
                  <a:gd name="connsiteX4" fmla="*/ 5763 w 65013"/>
                  <a:gd name="connsiteY4" fmla="*/ 14108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763" y="14108"/>
                    </a:moveTo>
                    <a:cubicBezTo>
                      <a:pt x="-4480" y="28903"/>
                      <a:pt x="-686" y="49388"/>
                      <a:pt x="14108" y="59251"/>
                    </a:cubicBezTo>
                    <a:cubicBezTo>
                      <a:pt x="28903" y="69493"/>
                      <a:pt x="49009" y="65700"/>
                      <a:pt x="59251" y="50905"/>
                    </a:cubicBezTo>
                    <a:cubicBezTo>
                      <a:pt x="69493" y="36111"/>
                      <a:pt x="65700" y="15626"/>
                      <a:pt x="50905" y="5763"/>
                    </a:cubicBezTo>
                    <a:cubicBezTo>
                      <a:pt x="36111" y="-4480"/>
                      <a:pt x="15626" y="-686"/>
                      <a:pt x="5763" y="1410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5" name="Freeform 44">
                <a:extLst>
                  <a:ext uri="{FF2B5EF4-FFF2-40B4-BE49-F238E27FC236}">
                    <a16:creationId xmlns:a16="http://schemas.microsoft.com/office/drawing/2014/main" id="{339BC2D0-99DA-D85F-FAE2-C3811F8077C3}"/>
                  </a:ext>
                </a:extLst>
              </p:cNvPr>
              <p:cNvSpPr/>
              <p:nvPr/>
            </p:nvSpPr>
            <p:spPr>
              <a:xfrm>
                <a:off x="14557368" y="4840435"/>
                <a:ext cx="24417" cy="24417"/>
              </a:xfrm>
              <a:custGeom>
                <a:avLst/>
                <a:gdLst>
                  <a:gd name="connsiteX0" fmla="*/ 5763 w 65013"/>
                  <a:gd name="connsiteY0" fmla="*/ 14108 h 65013"/>
                  <a:gd name="connsiteX1" fmla="*/ 14108 w 65013"/>
                  <a:gd name="connsiteY1" fmla="*/ 59251 h 65013"/>
                  <a:gd name="connsiteX2" fmla="*/ 59251 w 65013"/>
                  <a:gd name="connsiteY2" fmla="*/ 50905 h 65013"/>
                  <a:gd name="connsiteX3" fmla="*/ 50905 w 65013"/>
                  <a:gd name="connsiteY3" fmla="*/ 5762 h 65013"/>
                  <a:gd name="connsiteX4" fmla="*/ 5763 w 65013"/>
                  <a:gd name="connsiteY4" fmla="*/ 14108 h 65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013" h="65013">
                    <a:moveTo>
                      <a:pt x="5763" y="14108"/>
                    </a:moveTo>
                    <a:cubicBezTo>
                      <a:pt x="-4480" y="28903"/>
                      <a:pt x="-686" y="49388"/>
                      <a:pt x="14108" y="59251"/>
                    </a:cubicBezTo>
                    <a:cubicBezTo>
                      <a:pt x="28903" y="69493"/>
                      <a:pt x="49009" y="65700"/>
                      <a:pt x="59251" y="50905"/>
                    </a:cubicBezTo>
                    <a:cubicBezTo>
                      <a:pt x="69493" y="36111"/>
                      <a:pt x="65700" y="15626"/>
                      <a:pt x="50905" y="5762"/>
                    </a:cubicBezTo>
                    <a:cubicBezTo>
                      <a:pt x="36111" y="-4480"/>
                      <a:pt x="15626" y="-686"/>
                      <a:pt x="5763" y="1410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6" name="Freeform 45">
                <a:extLst>
                  <a:ext uri="{FF2B5EF4-FFF2-40B4-BE49-F238E27FC236}">
                    <a16:creationId xmlns:a16="http://schemas.microsoft.com/office/drawing/2014/main" id="{A9A7BBA6-EC12-D402-89A0-5DC9ECA26937}"/>
                  </a:ext>
                </a:extLst>
              </p:cNvPr>
              <p:cNvSpPr/>
              <p:nvPr/>
            </p:nvSpPr>
            <p:spPr>
              <a:xfrm>
                <a:off x="14200352" y="4348637"/>
                <a:ext cx="1023259" cy="1022974"/>
              </a:xfrm>
              <a:custGeom>
                <a:avLst/>
                <a:gdLst>
                  <a:gd name="connsiteX0" fmla="*/ 2724496 w 2724495"/>
                  <a:gd name="connsiteY0" fmla="*/ 1135396 h 2723737"/>
                  <a:gd name="connsiteX1" fmla="*/ 2722220 w 2724495"/>
                  <a:gd name="connsiteY1" fmla="*/ 1127809 h 2723737"/>
                  <a:gd name="connsiteX2" fmla="*/ 2718426 w 2724495"/>
                  <a:gd name="connsiteY2" fmla="*/ 1120981 h 2723737"/>
                  <a:gd name="connsiteX3" fmla="*/ 2713495 w 2724495"/>
                  <a:gd name="connsiteY3" fmla="*/ 1114911 h 2723737"/>
                  <a:gd name="connsiteX4" fmla="*/ 2707425 w 2724495"/>
                  <a:gd name="connsiteY4" fmla="*/ 1109980 h 2723737"/>
                  <a:gd name="connsiteX5" fmla="*/ 2700597 w 2724495"/>
                  <a:gd name="connsiteY5" fmla="*/ 1106186 h 2723737"/>
                  <a:gd name="connsiteX6" fmla="*/ 2693010 w 2724495"/>
                  <a:gd name="connsiteY6" fmla="*/ 1103910 h 2723737"/>
                  <a:gd name="connsiteX7" fmla="*/ 2685423 w 2724495"/>
                  <a:gd name="connsiteY7" fmla="*/ 1103151 h 2723737"/>
                  <a:gd name="connsiteX8" fmla="*/ 2486643 w 2724495"/>
                  <a:gd name="connsiteY8" fmla="*/ 1103151 h 2723737"/>
                  <a:gd name="connsiteX9" fmla="*/ 2475263 w 2724495"/>
                  <a:gd name="connsiteY9" fmla="*/ 1103151 h 2723737"/>
                  <a:gd name="connsiteX10" fmla="*/ 2452122 w 2724495"/>
                  <a:gd name="connsiteY10" fmla="*/ 1016659 h 2723737"/>
                  <a:gd name="connsiteX11" fmla="*/ 2419877 w 2724495"/>
                  <a:gd name="connsiteY11" fmla="*/ 928271 h 2723737"/>
                  <a:gd name="connsiteX12" fmla="*/ 2376252 w 2724495"/>
                  <a:gd name="connsiteY12" fmla="*/ 834192 h 2723737"/>
                  <a:gd name="connsiteX13" fmla="*/ 2351215 w 2724495"/>
                  <a:gd name="connsiteY13" fmla="*/ 788670 h 2723737"/>
                  <a:gd name="connsiteX14" fmla="*/ 2337938 w 2724495"/>
                  <a:gd name="connsiteY14" fmla="*/ 766288 h 2723737"/>
                  <a:gd name="connsiteX15" fmla="*/ 2340972 w 2724495"/>
                  <a:gd name="connsiteY15" fmla="*/ 751493 h 2723737"/>
                  <a:gd name="connsiteX16" fmla="*/ 2481711 w 2724495"/>
                  <a:gd name="connsiteY16" fmla="*/ 610754 h 2723737"/>
                  <a:gd name="connsiteX17" fmla="*/ 2486643 w 2724495"/>
                  <a:gd name="connsiteY17" fmla="*/ 605064 h 2723737"/>
                  <a:gd name="connsiteX18" fmla="*/ 2490437 w 2724495"/>
                  <a:gd name="connsiteY18" fmla="*/ 598236 h 2723737"/>
                  <a:gd name="connsiteX19" fmla="*/ 2492713 w 2724495"/>
                  <a:gd name="connsiteY19" fmla="*/ 590649 h 2723737"/>
                  <a:gd name="connsiteX20" fmla="*/ 2493471 w 2724495"/>
                  <a:gd name="connsiteY20" fmla="*/ 583062 h 2723737"/>
                  <a:gd name="connsiteX21" fmla="*/ 2492713 w 2724495"/>
                  <a:gd name="connsiteY21" fmla="*/ 575475 h 2723737"/>
                  <a:gd name="connsiteX22" fmla="*/ 2490437 w 2724495"/>
                  <a:gd name="connsiteY22" fmla="*/ 567888 h 2723737"/>
                  <a:gd name="connsiteX23" fmla="*/ 2486643 w 2724495"/>
                  <a:gd name="connsiteY23" fmla="*/ 561060 h 2723737"/>
                  <a:gd name="connsiteX24" fmla="*/ 2481711 w 2724495"/>
                  <a:gd name="connsiteY24" fmla="*/ 554990 h 2723737"/>
                  <a:gd name="connsiteX25" fmla="*/ 2171023 w 2724495"/>
                  <a:gd name="connsiteY25" fmla="*/ 244302 h 2723737"/>
                  <a:gd name="connsiteX26" fmla="*/ 2164954 w 2724495"/>
                  <a:gd name="connsiteY26" fmla="*/ 239370 h 2723737"/>
                  <a:gd name="connsiteX27" fmla="*/ 2158125 w 2724495"/>
                  <a:gd name="connsiteY27" fmla="*/ 235577 h 2723737"/>
                  <a:gd name="connsiteX28" fmla="*/ 2150538 w 2724495"/>
                  <a:gd name="connsiteY28" fmla="*/ 233301 h 2723737"/>
                  <a:gd name="connsiteX29" fmla="*/ 2142951 w 2724495"/>
                  <a:gd name="connsiteY29" fmla="*/ 232542 h 2723737"/>
                  <a:gd name="connsiteX30" fmla="*/ 2135364 w 2724495"/>
                  <a:gd name="connsiteY30" fmla="*/ 233301 h 2723737"/>
                  <a:gd name="connsiteX31" fmla="*/ 2127777 w 2724495"/>
                  <a:gd name="connsiteY31" fmla="*/ 235577 h 2723737"/>
                  <a:gd name="connsiteX32" fmla="*/ 2120949 w 2724495"/>
                  <a:gd name="connsiteY32" fmla="*/ 239370 h 2723737"/>
                  <a:gd name="connsiteX33" fmla="*/ 2115259 w 2724495"/>
                  <a:gd name="connsiteY33" fmla="*/ 244302 h 2723737"/>
                  <a:gd name="connsiteX34" fmla="*/ 1974520 w 2724495"/>
                  <a:gd name="connsiteY34" fmla="*/ 385041 h 2723737"/>
                  <a:gd name="connsiteX35" fmla="*/ 1966174 w 2724495"/>
                  <a:gd name="connsiteY35" fmla="*/ 392628 h 2723737"/>
                  <a:gd name="connsiteX36" fmla="*/ 1886890 w 2724495"/>
                  <a:gd name="connsiteY36" fmla="*/ 347106 h 2723737"/>
                  <a:gd name="connsiteX37" fmla="*/ 1801536 w 2724495"/>
                  <a:gd name="connsiteY37" fmla="*/ 307653 h 2723737"/>
                  <a:gd name="connsiteX38" fmla="*/ 1703663 w 2724495"/>
                  <a:gd name="connsiteY38" fmla="*/ 271994 h 2723737"/>
                  <a:gd name="connsiteX39" fmla="*/ 1652831 w 2724495"/>
                  <a:gd name="connsiteY39" fmla="*/ 257200 h 2723737"/>
                  <a:gd name="connsiteX40" fmla="*/ 1627035 w 2724495"/>
                  <a:gd name="connsiteY40" fmla="*/ 250751 h 2723737"/>
                  <a:gd name="connsiteX41" fmla="*/ 1622862 w 2724495"/>
                  <a:gd name="connsiteY41" fmla="*/ 238991 h 2723737"/>
                  <a:gd name="connsiteX42" fmla="*/ 1622862 w 2724495"/>
                  <a:gd name="connsiteY42" fmla="*/ 39832 h 2723737"/>
                  <a:gd name="connsiteX43" fmla="*/ 1622103 w 2724495"/>
                  <a:gd name="connsiteY43" fmla="*/ 32245 h 2723737"/>
                  <a:gd name="connsiteX44" fmla="*/ 1619827 w 2724495"/>
                  <a:gd name="connsiteY44" fmla="*/ 24658 h 2723737"/>
                  <a:gd name="connsiteX45" fmla="*/ 1616033 w 2724495"/>
                  <a:gd name="connsiteY45" fmla="*/ 17829 h 2723737"/>
                  <a:gd name="connsiteX46" fmla="*/ 1611102 w 2724495"/>
                  <a:gd name="connsiteY46" fmla="*/ 11760 h 2723737"/>
                  <a:gd name="connsiteX47" fmla="*/ 1605032 w 2724495"/>
                  <a:gd name="connsiteY47" fmla="*/ 6828 h 2723737"/>
                  <a:gd name="connsiteX48" fmla="*/ 1598204 w 2724495"/>
                  <a:gd name="connsiteY48" fmla="*/ 3035 h 2723737"/>
                  <a:gd name="connsiteX49" fmla="*/ 1590617 w 2724495"/>
                  <a:gd name="connsiteY49" fmla="*/ 759 h 2723737"/>
                  <a:gd name="connsiteX50" fmla="*/ 1583030 w 2724495"/>
                  <a:gd name="connsiteY50" fmla="*/ 0 h 2723737"/>
                  <a:gd name="connsiteX51" fmla="*/ 1143363 w 2724495"/>
                  <a:gd name="connsiteY51" fmla="*/ 0 h 2723737"/>
                  <a:gd name="connsiteX52" fmla="*/ 1128189 w 2724495"/>
                  <a:gd name="connsiteY52" fmla="*/ 3035 h 2723737"/>
                  <a:gd name="connsiteX53" fmla="*/ 1115291 w 2724495"/>
                  <a:gd name="connsiteY53" fmla="*/ 11760 h 2723737"/>
                  <a:gd name="connsiteX54" fmla="*/ 1110359 w 2724495"/>
                  <a:gd name="connsiteY54" fmla="*/ 17829 h 2723737"/>
                  <a:gd name="connsiteX55" fmla="*/ 1106566 w 2724495"/>
                  <a:gd name="connsiteY55" fmla="*/ 24658 h 2723737"/>
                  <a:gd name="connsiteX56" fmla="*/ 1104290 w 2724495"/>
                  <a:gd name="connsiteY56" fmla="*/ 32245 h 2723737"/>
                  <a:gd name="connsiteX57" fmla="*/ 1103531 w 2724495"/>
                  <a:gd name="connsiteY57" fmla="*/ 39832 h 2723737"/>
                  <a:gd name="connsiteX58" fmla="*/ 1103531 w 2724495"/>
                  <a:gd name="connsiteY58" fmla="*/ 238612 h 2723737"/>
                  <a:gd name="connsiteX59" fmla="*/ 1078494 w 2724495"/>
                  <a:gd name="connsiteY59" fmla="*/ 255303 h 2723737"/>
                  <a:gd name="connsiteX60" fmla="*/ 1030316 w 2724495"/>
                  <a:gd name="connsiteY60" fmla="*/ 268960 h 2723737"/>
                  <a:gd name="connsiteX61" fmla="*/ 935858 w 2724495"/>
                  <a:gd name="connsiteY61" fmla="*/ 302342 h 2723737"/>
                  <a:gd name="connsiteX62" fmla="*/ 759081 w 2724495"/>
                  <a:gd name="connsiteY62" fmla="*/ 392248 h 2723737"/>
                  <a:gd name="connsiteX63" fmla="*/ 617962 w 2724495"/>
                  <a:gd name="connsiteY63" fmla="*/ 251130 h 2723737"/>
                  <a:gd name="connsiteX64" fmla="*/ 610754 w 2724495"/>
                  <a:gd name="connsiteY64" fmla="*/ 243922 h 2723737"/>
                  <a:gd name="connsiteX65" fmla="*/ 605064 w 2724495"/>
                  <a:gd name="connsiteY65" fmla="*/ 238991 h 2723737"/>
                  <a:gd name="connsiteX66" fmla="*/ 598236 w 2724495"/>
                  <a:gd name="connsiteY66" fmla="*/ 235197 h 2723737"/>
                  <a:gd name="connsiteX67" fmla="*/ 590649 w 2724495"/>
                  <a:gd name="connsiteY67" fmla="*/ 232921 h 2723737"/>
                  <a:gd name="connsiteX68" fmla="*/ 583062 w 2724495"/>
                  <a:gd name="connsiteY68" fmla="*/ 232163 h 2723737"/>
                  <a:gd name="connsiteX69" fmla="*/ 575475 w 2724495"/>
                  <a:gd name="connsiteY69" fmla="*/ 232921 h 2723737"/>
                  <a:gd name="connsiteX70" fmla="*/ 567888 w 2724495"/>
                  <a:gd name="connsiteY70" fmla="*/ 235197 h 2723737"/>
                  <a:gd name="connsiteX71" fmla="*/ 561060 w 2724495"/>
                  <a:gd name="connsiteY71" fmla="*/ 238991 h 2723737"/>
                  <a:gd name="connsiteX72" fmla="*/ 554990 w 2724495"/>
                  <a:gd name="connsiteY72" fmla="*/ 243922 h 2723737"/>
                  <a:gd name="connsiteX73" fmla="*/ 243543 w 2724495"/>
                  <a:gd name="connsiteY73" fmla="*/ 554611 h 2723737"/>
                  <a:gd name="connsiteX74" fmla="*/ 238612 w 2724495"/>
                  <a:gd name="connsiteY74" fmla="*/ 560301 h 2723737"/>
                  <a:gd name="connsiteX75" fmla="*/ 234818 w 2724495"/>
                  <a:gd name="connsiteY75" fmla="*/ 567129 h 2723737"/>
                  <a:gd name="connsiteX76" fmla="*/ 232542 w 2724495"/>
                  <a:gd name="connsiteY76" fmla="*/ 574716 h 2723737"/>
                  <a:gd name="connsiteX77" fmla="*/ 231783 w 2724495"/>
                  <a:gd name="connsiteY77" fmla="*/ 582303 h 2723737"/>
                  <a:gd name="connsiteX78" fmla="*/ 232542 w 2724495"/>
                  <a:gd name="connsiteY78" fmla="*/ 589890 h 2723737"/>
                  <a:gd name="connsiteX79" fmla="*/ 234818 w 2724495"/>
                  <a:gd name="connsiteY79" fmla="*/ 597477 h 2723737"/>
                  <a:gd name="connsiteX80" fmla="*/ 238612 w 2724495"/>
                  <a:gd name="connsiteY80" fmla="*/ 604305 h 2723737"/>
                  <a:gd name="connsiteX81" fmla="*/ 243543 w 2724495"/>
                  <a:gd name="connsiteY81" fmla="*/ 609996 h 2723737"/>
                  <a:gd name="connsiteX82" fmla="*/ 384282 w 2724495"/>
                  <a:gd name="connsiteY82" fmla="*/ 750735 h 2723737"/>
                  <a:gd name="connsiteX83" fmla="*/ 390731 w 2724495"/>
                  <a:gd name="connsiteY83" fmla="*/ 760598 h 2723737"/>
                  <a:gd name="connsiteX84" fmla="*/ 377833 w 2724495"/>
                  <a:gd name="connsiteY84" fmla="*/ 781842 h 2723737"/>
                  <a:gd name="connsiteX85" fmla="*/ 353175 w 2724495"/>
                  <a:gd name="connsiteY85" fmla="*/ 825467 h 2723737"/>
                  <a:gd name="connsiteX86" fmla="*/ 310688 w 2724495"/>
                  <a:gd name="connsiteY86" fmla="*/ 913856 h 2723737"/>
                  <a:gd name="connsiteX87" fmla="*/ 249233 w 2724495"/>
                  <a:gd name="connsiteY87" fmla="*/ 1102013 h 2723737"/>
                  <a:gd name="connsiteX88" fmla="*/ 40211 w 2724495"/>
                  <a:gd name="connsiteY88" fmla="*/ 1102013 h 2723737"/>
                  <a:gd name="connsiteX89" fmla="*/ 39832 w 2724495"/>
                  <a:gd name="connsiteY89" fmla="*/ 1102013 h 2723737"/>
                  <a:gd name="connsiteX90" fmla="*/ 32245 w 2724495"/>
                  <a:gd name="connsiteY90" fmla="*/ 1102772 h 2723737"/>
                  <a:gd name="connsiteX91" fmla="*/ 24658 w 2724495"/>
                  <a:gd name="connsiteY91" fmla="*/ 1105048 h 2723737"/>
                  <a:gd name="connsiteX92" fmla="*/ 17829 w 2724495"/>
                  <a:gd name="connsiteY92" fmla="*/ 1108842 h 2723737"/>
                  <a:gd name="connsiteX93" fmla="*/ 11760 w 2724495"/>
                  <a:gd name="connsiteY93" fmla="*/ 1113773 h 2723737"/>
                  <a:gd name="connsiteX94" fmla="*/ 3035 w 2724495"/>
                  <a:gd name="connsiteY94" fmla="*/ 1126671 h 2723737"/>
                  <a:gd name="connsiteX95" fmla="*/ 759 w 2724495"/>
                  <a:gd name="connsiteY95" fmla="*/ 1134258 h 2723737"/>
                  <a:gd name="connsiteX96" fmla="*/ 0 w 2724495"/>
                  <a:gd name="connsiteY96" fmla="*/ 1141845 h 2723737"/>
                  <a:gd name="connsiteX97" fmla="*/ 0 w 2724495"/>
                  <a:gd name="connsiteY97" fmla="*/ 1141845 h 2723737"/>
                  <a:gd name="connsiteX98" fmla="*/ 0 w 2724495"/>
                  <a:gd name="connsiteY98" fmla="*/ 1581512 h 2723737"/>
                  <a:gd name="connsiteX99" fmla="*/ 0 w 2724495"/>
                  <a:gd name="connsiteY99" fmla="*/ 1581512 h 2723737"/>
                  <a:gd name="connsiteX100" fmla="*/ 759 w 2724495"/>
                  <a:gd name="connsiteY100" fmla="*/ 1589479 h 2723737"/>
                  <a:gd name="connsiteX101" fmla="*/ 3035 w 2724495"/>
                  <a:gd name="connsiteY101" fmla="*/ 1597066 h 2723737"/>
                  <a:gd name="connsiteX102" fmla="*/ 6828 w 2724495"/>
                  <a:gd name="connsiteY102" fmla="*/ 1603894 h 2723737"/>
                  <a:gd name="connsiteX103" fmla="*/ 11760 w 2724495"/>
                  <a:gd name="connsiteY103" fmla="*/ 1609964 h 2723737"/>
                  <a:gd name="connsiteX104" fmla="*/ 24658 w 2724495"/>
                  <a:gd name="connsiteY104" fmla="*/ 1618689 h 2723737"/>
                  <a:gd name="connsiteX105" fmla="*/ 32245 w 2724495"/>
                  <a:gd name="connsiteY105" fmla="*/ 1620965 h 2723737"/>
                  <a:gd name="connsiteX106" fmla="*/ 39832 w 2724495"/>
                  <a:gd name="connsiteY106" fmla="*/ 1621724 h 2723737"/>
                  <a:gd name="connsiteX107" fmla="*/ 212436 w 2724495"/>
                  <a:gd name="connsiteY107" fmla="*/ 1621724 h 2723737"/>
                  <a:gd name="connsiteX108" fmla="*/ 234439 w 2724495"/>
                  <a:gd name="connsiteY108" fmla="*/ 1621724 h 2723737"/>
                  <a:gd name="connsiteX109" fmla="*/ 252268 w 2724495"/>
                  <a:gd name="connsiteY109" fmla="*/ 1631966 h 2723737"/>
                  <a:gd name="connsiteX110" fmla="*/ 392249 w 2724495"/>
                  <a:gd name="connsiteY110" fmla="*/ 1965795 h 2723737"/>
                  <a:gd name="connsiteX111" fmla="*/ 384661 w 2724495"/>
                  <a:gd name="connsiteY111" fmla="*/ 1973382 h 2723737"/>
                  <a:gd name="connsiteX112" fmla="*/ 243922 w 2724495"/>
                  <a:gd name="connsiteY112" fmla="*/ 2114121 h 2723737"/>
                  <a:gd name="connsiteX113" fmla="*/ 238991 w 2724495"/>
                  <a:gd name="connsiteY113" fmla="*/ 2119811 h 2723737"/>
                  <a:gd name="connsiteX114" fmla="*/ 235197 w 2724495"/>
                  <a:gd name="connsiteY114" fmla="*/ 2126639 h 2723737"/>
                  <a:gd name="connsiteX115" fmla="*/ 232921 w 2724495"/>
                  <a:gd name="connsiteY115" fmla="*/ 2134226 h 2723737"/>
                  <a:gd name="connsiteX116" fmla="*/ 232163 w 2724495"/>
                  <a:gd name="connsiteY116" fmla="*/ 2141813 h 2723737"/>
                  <a:gd name="connsiteX117" fmla="*/ 232921 w 2724495"/>
                  <a:gd name="connsiteY117" fmla="*/ 2149400 h 2723737"/>
                  <a:gd name="connsiteX118" fmla="*/ 235197 w 2724495"/>
                  <a:gd name="connsiteY118" fmla="*/ 2156987 h 2723737"/>
                  <a:gd name="connsiteX119" fmla="*/ 238991 w 2724495"/>
                  <a:gd name="connsiteY119" fmla="*/ 2163816 h 2723737"/>
                  <a:gd name="connsiteX120" fmla="*/ 243922 w 2724495"/>
                  <a:gd name="connsiteY120" fmla="*/ 2169506 h 2723737"/>
                  <a:gd name="connsiteX121" fmla="*/ 554611 w 2724495"/>
                  <a:gd name="connsiteY121" fmla="*/ 2480194 h 2723737"/>
                  <a:gd name="connsiteX122" fmla="*/ 560301 w 2724495"/>
                  <a:gd name="connsiteY122" fmla="*/ 2485126 h 2723737"/>
                  <a:gd name="connsiteX123" fmla="*/ 567129 w 2724495"/>
                  <a:gd name="connsiteY123" fmla="*/ 2488919 h 2723737"/>
                  <a:gd name="connsiteX124" fmla="*/ 574716 w 2724495"/>
                  <a:gd name="connsiteY124" fmla="*/ 2491195 h 2723737"/>
                  <a:gd name="connsiteX125" fmla="*/ 582303 w 2724495"/>
                  <a:gd name="connsiteY125" fmla="*/ 2491954 h 2723737"/>
                  <a:gd name="connsiteX126" fmla="*/ 589890 w 2724495"/>
                  <a:gd name="connsiteY126" fmla="*/ 2491195 h 2723737"/>
                  <a:gd name="connsiteX127" fmla="*/ 597477 w 2724495"/>
                  <a:gd name="connsiteY127" fmla="*/ 2488919 h 2723737"/>
                  <a:gd name="connsiteX128" fmla="*/ 604305 w 2724495"/>
                  <a:gd name="connsiteY128" fmla="*/ 2485126 h 2723737"/>
                  <a:gd name="connsiteX129" fmla="*/ 609996 w 2724495"/>
                  <a:gd name="connsiteY129" fmla="*/ 2480194 h 2723737"/>
                  <a:gd name="connsiteX130" fmla="*/ 750735 w 2724495"/>
                  <a:gd name="connsiteY130" fmla="*/ 2339455 h 2723737"/>
                  <a:gd name="connsiteX131" fmla="*/ 758322 w 2724495"/>
                  <a:gd name="connsiteY131" fmla="*/ 2331868 h 2723737"/>
                  <a:gd name="connsiteX132" fmla="*/ 1102393 w 2724495"/>
                  <a:gd name="connsiteY132" fmla="*/ 2474504 h 2723737"/>
                  <a:gd name="connsiteX133" fmla="*/ 1102393 w 2724495"/>
                  <a:gd name="connsiteY133" fmla="*/ 2485126 h 2723737"/>
                  <a:gd name="connsiteX134" fmla="*/ 1102393 w 2724495"/>
                  <a:gd name="connsiteY134" fmla="*/ 2683905 h 2723737"/>
                  <a:gd name="connsiteX135" fmla="*/ 1103151 w 2724495"/>
                  <a:gd name="connsiteY135" fmla="*/ 2691492 h 2723737"/>
                  <a:gd name="connsiteX136" fmla="*/ 1105428 w 2724495"/>
                  <a:gd name="connsiteY136" fmla="*/ 2699079 h 2723737"/>
                  <a:gd name="connsiteX137" fmla="*/ 1109221 w 2724495"/>
                  <a:gd name="connsiteY137" fmla="*/ 2705908 h 2723737"/>
                  <a:gd name="connsiteX138" fmla="*/ 1114153 w 2724495"/>
                  <a:gd name="connsiteY138" fmla="*/ 2711977 h 2723737"/>
                  <a:gd name="connsiteX139" fmla="*/ 1120222 w 2724495"/>
                  <a:gd name="connsiteY139" fmla="*/ 2716909 h 2723737"/>
                  <a:gd name="connsiteX140" fmla="*/ 1127051 w 2724495"/>
                  <a:gd name="connsiteY140" fmla="*/ 2720702 h 2723737"/>
                  <a:gd name="connsiteX141" fmla="*/ 1134638 w 2724495"/>
                  <a:gd name="connsiteY141" fmla="*/ 2722978 h 2723737"/>
                  <a:gd name="connsiteX142" fmla="*/ 1142225 w 2724495"/>
                  <a:gd name="connsiteY142" fmla="*/ 2723737 h 2723737"/>
                  <a:gd name="connsiteX143" fmla="*/ 1581892 w 2724495"/>
                  <a:gd name="connsiteY143" fmla="*/ 2723737 h 2723737"/>
                  <a:gd name="connsiteX144" fmla="*/ 1589479 w 2724495"/>
                  <a:gd name="connsiteY144" fmla="*/ 2722978 h 2723737"/>
                  <a:gd name="connsiteX145" fmla="*/ 1597066 w 2724495"/>
                  <a:gd name="connsiteY145" fmla="*/ 2720702 h 2723737"/>
                  <a:gd name="connsiteX146" fmla="*/ 1603894 w 2724495"/>
                  <a:gd name="connsiteY146" fmla="*/ 2716909 h 2723737"/>
                  <a:gd name="connsiteX147" fmla="*/ 1609964 w 2724495"/>
                  <a:gd name="connsiteY147" fmla="*/ 2711977 h 2723737"/>
                  <a:gd name="connsiteX148" fmla="*/ 1614895 w 2724495"/>
                  <a:gd name="connsiteY148" fmla="*/ 2705908 h 2723737"/>
                  <a:gd name="connsiteX149" fmla="*/ 1618689 w 2724495"/>
                  <a:gd name="connsiteY149" fmla="*/ 2699079 h 2723737"/>
                  <a:gd name="connsiteX150" fmla="*/ 1620965 w 2724495"/>
                  <a:gd name="connsiteY150" fmla="*/ 2691492 h 2723737"/>
                  <a:gd name="connsiteX151" fmla="*/ 1621724 w 2724495"/>
                  <a:gd name="connsiteY151" fmla="*/ 2683905 h 2723737"/>
                  <a:gd name="connsiteX152" fmla="*/ 1621724 w 2724495"/>
                  <a:gd name="connsiteY152" fmla="*/ 2474124 h 2723737"/>
                  <a:gd name="connsiteX153" fmla="*/ 1809502 w 2724495"/>
                  <a:gd name="connsiteY153" fmla="*/ 2412670 h 2723737"/>
                  <a:gd name="connsiteX154" fmla="*/ 1899408 w 2724495"/>
                  <a:gd name="connsiteY154" fmla="*/ 2369803 h 2723737"/>
                  <a:gd name="connsiteX155" fmla="*/ 1943034 w 2724495"/>
                  <a:gd name="connsiteY155" fmla="*/ 2345525 h 2723737"/>
                  <a:gd name="connsiteX156" fmla="*/ 1963898 w 2724495"/>
                  <a:gd name="connsiteY156" fmla="*/ 2332627 h 2723737"/>
                  <a:gd name="connsiteX157" fmla="*/ 1973382 w 2724495"/>
                  <a:gd name="connsiteY157" fmla="*/ 2339076 h 2723737"/>
                  <a:gd name="connsiteX158" fmla="*/ 2114121 w 2724495"/>
                  <a:gd name="connsiteY158" fmla="*/ 2479815 h 2723737"/>
                  <a:gd name="connsiteX159" fmla="*/ 2119811 w 2724495"/>
                  <a:gd name="connsiteY159" fmla="*/ 2484746 h 2723737"/>
                  <a:gd name="connsiteX160" fmla="*/ 2126639 w 2724495"/>
                  <a:gd name="connsiteY160" fmla="*/ 2488540 h 2723737"/>
                  <a:gd name="connsiteX161" fmla="*/ 2134226 w 2724495"/>
                  <a:gd name="connsiteY161" fmla="*/ 2490816 h 2723737"/>
                  <a:gd name="connsiteX162" fmla="*/ 2141813 w 2724495"/>
                  <a:gd name="connsiteY162" fmla="*/ 2491575 h 2723737"/>
                  <a:gd name="connsiteX163" fmla="*/ 2149400 w 2724495"/>
                  <a:gd name="connsiteY163" fmla="*/ 2490816 h 2723737"/>
                  <a:gd name="connsiteX164" fmla="*/ 2156987 w 2724495"/>
                  <a:gd name="connsiteY164" fmla="*/ 2488540 h 2723737"/>
                  <a:gd name="connsiteX165" fmla="*/ 2164195 w 2724495"/>
                  <a:gd name="connsiteY165" fmla="*/ 2484746 h 2723737"/>
                  <a:gd name="connsiteX166" fmla="*/ 2169885 w 2724495"/>
                  <a:gd name="connsiteY166" fmla="*/ 2479815 h 2723737"/>
                  <a:gd name="connsiteX167" fmla="*/ 2480573 w 2724495"/>
                  <a:gd name="connsiteY167" fmla="*/ 2169127 h 2723737"/>
                  <a:gd name="connsiteX168" fmla="*/ 2485505 w 2724495"/>
                  <a:gd name="connsiteY168" fmla="*/ 2163436 h 2723737"/>
                  <a:gd name="connsiteX169" fmla="*/ 2489298 w 2724495"/>
                  <a:gd name="connsiteY169" fmla="*/ 2156608 h 2723737"/>
                  <a:gd name="connsiteX170" fmla="*/ 2491575 w 2724495"/>
                  <a:gd name="connsiteY170" fmla="*/ 2149021 h 2723737"/>
                  <a:gd name="connsiteX171" fmla="*/ 2492333 w 2724495"/>
                  <a:gd name="connsiteY171" fmla="*/ 2141434 h 2723737"/>
                  <a:gd name="connsiteX172" fmla="*/ 2491575 w 2724495"/>
                  <a:gd name="connsiteY172" fmla="*/ 2133847 h 2723737"/>
                  <a:gd name="connsiteX173" fmla="*/ 2489298 w 2724495"/>
                  <a:gd name="connsiteY173" fmla="*/ 2126260 h 2723737"/>
                  <a:gd name="connsiteX174" fmla="*/ 2485505 w 2724495"/>
                  <a:gd name="connsiteY174" fmla="*/ 2119432 h 2723737"/>
                  <a:gd name="connsiteX175" fmla="*/ 2480573 w 2724495"/>
                  <a:gd name="connsiteY175" fmla="*/ 2113741 h 2723737"/>
                  <a:gd name="connsiteX176" fmla="*/ 2339834 w 2724495"/>
                  <a:gd name="connsiteY176" fmla="*/ 1973002 h 2723737"/>
                  <a:gd name="connsiteX177" fmla="*/ 2332247 w 2724495"/>
                  <a:gd name="connsiteY177" fmla="*/ 1965415 h 2723737"/>
                  <a:gd name="connsiteX178" fmla="*/ 2337938 w 2724495"/>
                  <a:gd name="connsiteY178" fmla="*/ 1956311 h 2723737"/>
                  <a:gd name="connsiteX179" fmla="*/ 2424809 w 2724495"/>
                  <a:gd name="connsiteY179" fmla="*/ 1782568 h 2723737"/>
                  <a:gd name="connsiteX180" fmla="*/ 2456295 w 2724495"/>
                  <a:gd name="connsiteY180" fmla="*/ 1691524 h 2723737"/>
                  <a:gd name="connsiteX181" fmla="*/ 2469193 w 2724495"/>
                  <a:gd name="connsiteY181" fmla="*/ 1645243 h 2723737"/>
                  <a:gd name="connsiteX182" fmla="*/ 2474504 w 2724495"/>
                  <a:gd name="connsiteY182" fmla="*/ 1622482 h 2723737"/>
                  <a:gd name="connsiteX183" fmla="*/ 2485884 w 2724495"/>
                  <a:gd name="connsiteY183" fmla="*/ 1621344 h 2723737"/>
                  <a:gd name="connsiteX184" fmla="*/ 2684664 w 2724495"/>
                  <a:gd name="connsiteY184" fmla="*/ 1621344 h 2723737"/>
                  <a:gd name="connsiteX185" fmla="*/ 2692251 w 2724495"/>
                  <a:gd name="connsiteY185" fmla="*/ 1620586 h 2723737"/>
                  <a:gd name="connsiteX186" fmla="*/ 2699838 w 2724495"/>
                  <a:gd name="connsiteY186" fmla="*/ 1618310 h 2723737"/>
                  <a:gd name="connsiteX187" fmla="*/ 2706666 w 2724495"/>
                  <a:gd name="connsiteY187" fmla="*/ 1614516 h 2723737"/>
                  <a:gd name="connsiteX188" fmla="*/ 2712736 w 2724495"/>
                  <a:gd name="connsiteY188" fmla="*/ 1609584 h 2723737"/>
                  <a:gd name="connsiteX189" fmla="*/ 2717668 w 2724495"/>
                  <a:gd name="connsiteY189" fmla="*/ 1603515 h 2723737"/>
                  <a:gd name="connsiteX190" fmla="*/ 2721461 w 2724495"/>
                  <a:gd name="connsiteY190" fmla="*/ 1596687 h 2723737"/>
                  <a:gd name="connsiteX191" fmla="*/ 2723737 w 2724495"/>
                  <a:gd name="connsiteY191" fmla="*/ 1589100 h 2723737"/>
                  <a:gd name="connsiteX192" fmla="*/ 2724496 w 2724495"/>
                  <a:gd name="connsiteY192" fmla="*/ 1581512 h 2723737"/>
                  <a:gd name="connsiteX193" fmla="*/ 2724496 w 2724495"/>
                  <a:gd name="connsiteY193" fmla="*/ 1581512 h 2723737"/>
                  <a:gd name="connsiteX194" fmla="*/ 2724496 w 2724495"/>
                  <a:gd name="connsiteY194" fmla="*/ 1141845 h 2723737"/>
                  <a:gd name="connsiteX195" fmla="*/ 2724496 w 2724495"/>
                  <a:gd name="connsiteY195" fmla="*/ 1141845 h 2723737"/>
                  <a:gd name="connsiteX196" fmla="*/ 2723737 w 2724495"/>
                  <a:gd name="connsiteY196" fmla="*/ 1133879 h 2723737"/>
                  <a:gd name="connsiteX197" fmla="*/ 1583030 w 2724495"/>
                  <a:gd name="connsiteY197" fmla="*/ 37935 h 2723737"/>
                  <a:gd name="connsiteX198" fmla="*/ 1583030 w 2724495"/>
                  <a:gd name="connsiteY198" fmla="*/ 37935 h 2723737"/>
                  <a:gd name="connsiteX199" fmla="*/ 1583030 w 2724495"/>
                  <a:gd name="connsiteY199" fmla="*/ 38314 h 2723737"/>
                  <a:gd name="connsiteX200" fmla="*/ 1583030 w 2724495"/>
                  <a:gd name="connsiteY200" fmla="*/ 38314 h 2723737"/>
                  <a:gd name="connsiteX201" fmla="*/ 1583030 w 2724495"/>
                  <a:gd name="connsiteY201" fmla="*/ 38694 h 2723737"/>
                  <a:gd name="connsiteX202" fmla="*/ 1583789 w 2724495"/>
                  <a:gd name="connsiteY202" fmla="*/ 37935 h 2723737"/>
                  <a:gd name="connsiteX203" fmla="*/ 1141845 w 2724495"/>
                  <a:gd name="connsiteY203" fmla="*/ 2688458 h 2723737"/>
                  <a:gd name="connsiteX204" fmla="*/ 1141845 w 2724495"/>
                  <a:gd name="connsiteY204" fmla="*/ 2688458 h 2723737"/>
                  <a:gd name="connsiteX205" fmla="*/ 1141845 w 2724495"/>
                  <a:gd name="connsiteY205" fmla="*/ 2688078 h 2723737"/>
                  <a:gd name="connsiteX206" fmla="*/ 1141845 w 2724495"/>
                  <a:gd name="connsiteY206" fmla="*/ 2688078 h 2723737"/>
                  <a:gd name="connsiteX207" fmla="*/ 1141845 w 2724495"/>
                  <a:gd name="connsiteY207" fmla="*/ 2688078 h 2723737"/>
                  <a:gd name="connsiteX208" fmla="*/ 1141087 w 2724495"/>
                  <a:gd name="connsiteY208" fmla="*/ 2688837 h 2723737"/>
                  <a:gd name="connsiteX209" fmla="*/ 2686561 w 2724495"/>
                  <a:gd name="connsiteY209" fmla="*/ 1142983 h 2723737"/>
                  <a:gd name="connsiteX210" fmla="*/ 2686561 w 2724495"/>
                  <a:gd name="connsiteY210" fmla="*/ 1142983 h 2723737"/>
                  <a:gd name="connsiteX211" fmla="*/ 2686561 w 2724495"/>
                  <a:gd name="connsiteY211" fmla="*/ 1582651 h 2723737"/>
                  <a:gd name="connsiteX212" fmla="*/ 2686561 w 2724495"/>
                  <a:gd name="connsiteY212" fmla="*/ 1582651 h 2723737"/>
                  <a:gd name="connsiteX213" fmla="*/ 2686561 w 2724495"/>
                  <a:gd name="connsiteY213" fmla="*/ 1583409 h 2723737"/>
                  <a:gd name="connsiteX214" fmla="*/ 2686561 w 2724495"/>
                  <a:gd name="connsiteY214" fmla="*/ 1583409 h 2723737"/>
                  <a:gd name="connsiteX215" fmla="*/ 2686561 w 2724495"/>
                  <a:gd name="connsiteY215" fmla="*/ 1583409 h 2723737"/>
                  <a:gd name="connsiteX216" fmla="*/ 2446052 w 2724495"/>
                  <a:gd name="connsiteY216" fmla="*/ 1583409 h 2723737"/>
                  <a:gd name="connsiteX217" fmla="*/ 2423291 w 2724495"/>
                  <a:gd name="connsiteY217" fmla="*/ 1672557 h 2723737"/>
                  <a:gd name="connsiteX218" fmla="*/ 2389909 w 2724495"/>
                  <a:gd name="connsiteY218" fmla="*/ 1768912 h 2723737"/>
                  <a:gd name="connsiteX219" fmla="*/ 2292415 w 2724495"/>
                  <a:gd name="connsiteY219" fmla="*/ 1959346 h 2723737"/>
                  <a:gd name="connsiteX220" fmla="*/ 2284449 w 2724495"/>
                  <a:gd name="connsiteY220" fmla="*/ 1972244 h 2723737"/>
                  <a:gd name="connsiteX221" fmla="*/ 2295071 w 2724495"/>
                  <a:gd name="connsiteY221" fmla="*/ 1982865 h 2723737"/>
                  <a:gd name="connsiteX222" fmla="*/ 2313280 w 2724495"/>
                  <a:gd name="connsiteY222" fmla="*/ 2001074 h 2723737"/>
                  <a:gd name="connsiteX223" fmla="*/ 2454019 w 2724495"/>
                  <a:gd name="connsiteY223" fmla="*/ 2141813 h 2723737"/>
                  <a:gd name="connsiteX224" fmla="*/ 2454019 w 2724495"/>
                  <a:gd name="connsiteY224" fmla="*/ 2141813 h 2723737"/>
                  <a:gd name="connsiteX225" fmla="*/ 2454019 w 2724495"/>
                  <a:gd name="connsiteY225" fmla="*/ 2141813 h 2723737"/>
                  <a:gd name="connsiteX226" fmla="*/ 2454019 w 2724495"/>
                  <a:gd name="connsiteY226" fmla="*/ 2142572 h 2723737"/>
                  <a:gd name="connsiteX227" fmla="*/ 2454019 w 2724495"/>
                  <a:gd name="connsiteY227" fmla="*/ 2142572 h 2723737"/>
                  <a:gd name="connsiteX228" fmla="*/ 2143331 w 2724495"/>
                  <a:gd name="connsiteY228" fmla="*/ 2453260 h 2723737"/>
                  <a:gd name="connsiteX229" fmla="*/ 2143331 w 2724495"/>
                  <a:gd name="connsiteY229" fmla="*/ 2453260 h 2723737"/>
                  <a:gd name="connsiteX230" fmla="*/ 2142572 w 2724495"/>
                  <a:gd name="connsiteY230" fmla="*/ 2453260 h 2723737"/>
                  <a:gd name="connsiteX231" fmla="*/ 2142572 w 2724495"/>
                  <a:gd name="connsiteY231" fmla="*/ 2453260 h 2723737"/>
                  <a:gd name="connsiteX232" fmla="*/ 2001833 w 2724495"/>
                  <a:gd name="connsiteY232" fmla="*/ 2312521 h 2723737"/>
                  <a:gd name="connsiteX233" fmla="*/ 1983624 w 2724495"/>
                  <a:gd name="connsiteY233" fmla="*/ 2294312 h 2723737"/>
                  <a:gd name="connsiteX234" fmla="*/ 1973002 w 2724495"/>
                  <a:gd name="connsiteY234" fmla="*/ 2283690 h 2723737"/>
                  <a:gd name="connsiteX235" fmla="*/ 1900167 w 2724495"/>
                  <a:gd name="connsiteY235" fmla="*/ 2327316 h 2723737"/>
                  <a:gd name="connsiteX236" fmla="*/ 1818227 w 2724495"/>
                  <a:gd name="connsiteY236" fmla="*/ 2368286 h 2723737"/>
                  <a:gd name="connsiteX237" fmla="*/ 1624379 w 2724495"/>
                  <a:gd name="connsiteY237" fmla="*/ 2435051 h 2723737"/>
                  <a:gd name="connsiteX238" fmla="*/ 1598963 w 2724495"/>
                  <a:gd name="connsiteY238" fmla="*/ 2441121 h 2723737"/>
                  <a:gd name="connsiteX239" fmla="*/ 1584168 w 2724495"/>
                  <a:gd name="connsiteY239" fmla="*/ 2444535 h 2723737"/>
                  <a:gd name="connsiteX240" fmla="*/ 1584168 w 2724495"/>
                  <a:gd name="connsiteY240" fmla="*/ 2684664 h 2723737"/>
                  <a:gd name="connsiteX241" fmla="*/ 1584168 w 2724495"/>
                  <a:gd name="connsiteY241" fmla="*/ 2684664 h 2723737"/>
                  <a:gd name="connsiteX242" fmla="*/ 1584168 w 2724495"/>
                  <a:gd name="connsiteY242" fmla="*/ 2685423 h 2723737"/>
                  <a:gd name="connsiteX243" fmla="*/ 1584168 w 2724495"/>
                  <a:gd name="connsiteY243" fmla="*/ 2685423 h 2723737"/>
                  <a:gd name="connsiteX244" fmla="*/ 1143742 w 2724495"/>
                  <a:gd name="connsiteY244" fmla="*/ 2685423 h 2723737"/>
                  <a:gd name="connsiteX245" fmla="*/ 1143742 w 2724495"/>
                  <a:gd name="connsiteY245" fmla="*/ 2685423 h 2723737"/>
                  <a:gd name="connsiteX246" fmla="*/ 1143742 w 2724495"/>
                  <a:gd name="connsiteY246" fmla="*/ 2685423 h 2723737"/>
                  <a:gd name="connsiteX247" fmla="*/ 1143742 w 2724495"/>
                  <a:gd name="connsiteY247" fmla="*/ 2685423 h 2723737"/>
                  <a:gd name="connsiteX248" fmla="*/ 1143742 w 2724495"/>
                  <a:gd name="connsiteY248" fmla="*/ 2444914 h 2723737"/>
                  <a:gd name="connsiteX249" fmla="*/ 1051180 w 2724495"/>
                  <a:gd name="connsiteY249" fmla="*/ 2421015 h 2723737"/>
                  <a:gd name="connsiteX250" fmla="*/ 953687 w 2724495"/>
                  <a:gd name="connsiteY250" fmla="*/ 2386874 h 2723737"/>
                  <a:gd name="connsiteX251" fmla="*/ 769702 w 2724495"/>
                  <a:gd name="connsiteY251" fmla="*/ 2292795 h 2723737"/>
                  <a:gd name="connsiteX252" fmla="*/ 754908 w 2724495"/>
                  <a:gd name="connsiteY252" fmla="*/ 2283690 h 2723737"/>
                  <a:gd name="connsiteX253" fmla="*/ 744286 w 2724495"/>
                  <a:gd name="connsiteY253" fmla="*/ 2294312 h 2723737"/>
                  <a:gd name="connsiteX254" fmla="*/ 726077 w 2724495"/>
                  <a:gd name="connsiteY254" fmla="*/ 2312521 h 2723737"/>
                  <a:gd name="connsiteX255" fmla="*/ 585338 w 2724495"/>
                  <a:gd name="connsiteY255" fmla="*/ 2453260 h 2723737"/>
                  <a:gd name="connsiteX256" fmla="*/ 585338 w 2724495"/>
                  <a:gd name="connsiteY256" fmla="*/ 2453260 h 2723737"/>
                  <a:gd name="connsiteX257" fmla="*/ 584579 w 2724495"/>
                  <a:gd name="connsiteY257" fmla="*/ 2453260 h 2723737"/>
                  <a:gd name="connsiteX258" fmla="*/ 584579 w 2724495"/>
                  <a:gd name="connsiteY258" fmla="*/ 2453260 h 2723737"/>
                  <a:gd name="connsiteX259" fmla="*/ 273891 w 2724495"/>
                  <a:gd name="connsiteY259" fmla="*/ 2142572 h 2723737"/>
                  <a:gd name="connsiteX260" fmla="*/ 273891 w 2724495"/>
                  <a:gd name="connsiteY260" fmla="*/ 2142572 h 2723737"/>
                  <a:gd name="connsiteX261" fmla="*/ 273891 w 2724495"/>
                  <a:gd name="connsiteY261" fmla="*/ 2142572 h 2723737"/>
                  <a:gd name="connsiteX262" fmla="*/ 273891 w 2724495"/>
                  <a:gd name="connsiteY262" fmla="*/ 2141813 h 2723737"/>
                  <a:gd name="connsiteX263" fmla="*/ 273891 w 2724495"/>
                  <a:gd name="connsiteY263" fmla="*/ 2141813 h 2723737"/>
                  <a:gd name="connsiteX264" fmla="*/ 414630 w 2724495"/>
                  <a:gd name="connsiteY264" fmla="*/ 2001074 h 2723737"/>
                  <a:gd name="connsiteX265" fmla="*/ 432839 w 2724495"/>
                  <a:gd name="connsiteY265" fmla="*/ 1982865 h 2723737"/>
                  <a:gd name="connsiteX266" fmla="*/ 435494 w 2724495"/>
                  <a:gd name="connsiteY266" fmla="*/ 1958966 h 2723737"/>
                  <a:gd name="connsiteX267" fmla="*/ 410457 w 2724495"/>
                  <a:gd name="connsiteY267" fmla="*/ 1917997 h 2723737"/>
                  <a:gd name="connsiteX268" fmla="*/ 366832 w 2724495"/>
                  <a:gd name="connsiteY268" fmla="*/ 1834919 h 2723737"/>
                  <a:gd name="connsiteX269" fmla="*/ 300825 w 2724495"/>
                  <a:gd name="connsiteY269" fmla="*/ 1656624 h 2723737"/>
                  <a:gd name="connsiteX270" fmla="*/ 287927 w 2724495"/>
                  <a:gd name="connsiteY270" fmla="*/ 1607308 h 2723737"/>
                  <a:gd name="connsiteX271" fmla="*/ 267063 w 2724495"/>
                  <a:gd name="connsiteY271" fmla="*/ 1583409 h 2723737"/>
                  <a:gd name="connsiteX272" fmla="*/ 38694 w 2724495"/>
                  <a:gd name="connsiteY272" fmla="*/ 1583409 h 2723737"/>
                  <a:gd name="connsiteX273" fmla="*/ 38694 w 2724495"/>
                  <a:gd name="connsiteY273" fmla="*/ 1583409 h 2723737"/>
                  <a:gd name="connsiteX274" fmla="*/ 38694 w 2724495"/>
                  <a:gd name="connsiteY274" fmla="*/ 1583409 h 2723737"/>
                  <a:gd name="connsiteX275" fmla="*/ 38694 w 2724495"/>
                  <a:gd name="connsiteY275" fmla="*/ 1583409 h 2723737"/>
                  <a:gd name="connsiteX276" fmla="*/ 38694 w 2724495"/>
                  <a:gd name="connsiteY276" fmla="*/ 1143363 h 2723737"/>
                  <a:gd name="connsiteX277" fmla="*/ 38694 w 2724495"/>
                  <a:gd name="connsiteY277" fmla="*/ 1143363 h 2723737"/>
                  <a:gd name="connsiteX278" fmla="*/ 38694 w 2724495"/>
                  <a:gd name="connsiteY278" fmla="*/ 1142604 h 2723737"/>
                  <a:gd name="connsiteX279" fmla="*/ 38694 w 2724495"/>
                  <a:gd name="connsiteY279" fmla="*/ 1142604 h 2723737"/>
                  <a:gd name="connsiteX280" fmla="*/ 38694 w 2724495"/>
                  <a:gd name="connsiteY280" fmla="*/ 1142604 h 2723737"/>
                  <a:gd name="connsiteX281" fmla="*/ 238232 w 2724495"/>
                  <a:gd name="connsiteY281" fmla="*/ 1142604 h 2723737"/>
                  <a:gd name="connsiteX282" fmla="*/ 279581 w 2724495"/>
                  <a:gd name="connsiteY282" fmla="*/ 1142604 h 2723737"/>
                  <a:gd name="connsiteX283" fmla="*/ 304619 w 2724495"/>
                  <a:gd name="connsiteY283" fmla="*/ 1044731 h 2723737"/>
                  <a:gd name="connsiteX284" fmla="*/ 339139 w 2724495"/>
                  <a:gd name="connsiteY284" fmla="*/ 947618 h 2723737"/>
                  <a:gd name="connsiteX285" fmla="*/ 433977 w 2724495"/>
                  <a:gd name="connsiteY285" fmla="*/ 764391 h 2723737"/>
                  <a:gd name="connsiteX286" fmla="*/ 429804 w 2724495"/>
                  <a:gd name="connsiteY286" fmla="*/ 743148 h 2723737"/>
                  <a:gd name="connsiteX287" fmla="*/ 411595 w 2724495"/>
                  <a:gd name="connsiteY287" fmla="*/ 724939 h 2723737"/>
                  <a:gd name="connsiteX288" fmla="*/ 270856 w 2724495"/>
                  <a:gd name="connsiteY288" fmla="*/ 584200 h 2723737"/>
                  <a:gd name="connsiteX289" fmla="*/ 270856 w 2724495"/>
                  <a:gd name="connsiteY289" fmla="*/ 584200 h 2723737"/>
                  <a:gd name="connsiteX290" fmla="*/ 270856 w 2724495"/>
                  <a:gd name="connsiteY290" fmla="*/ 584200 h 2723737"/>
                  <a:gd name="connsiteX291" fmla="*/ 270856 w 2724495"/>
                  <a:gd name="connsiteY291" fmla="*/ 583441 h 2723737"/>
                  <a:gd name="connsiteX292" fmla="*/ 270856 w 2724495"/>
                  <a:gd name="connsiteY292" fmla="*/ 583441 h 2723737"/>
                  <a:gd name="connsiteX293" fmla="*/ 581544 w 2724495"/>
                  <a:gd name="connsiteY293" fmla="*/ 271236 h 2723737"/>
                  <a:gd name="connsiteX294" fmla="*/ 581544 w 2724495"/>
                  <a:gd name="connsiteY294" fmla="*/ 271236 h 2723737"/>
                  <a:gd name="connsiteX295" fmla="*/ 582303 w 2724495"/>
                  <a:gd name="connsiteY295" fmla="*/ 271236 h 2723737"/>
                  <a:gd name="connsiteX296" fmla="*/ 582303 w 2724495"/>
                  <a:gd name="connsiteY296" fmla="*/ 271236 h 2723737"/>
                  <a:gd name="connsiteX297" fmla="*/ 723042 w 2724495"/>
                  <a:gd name="connsiteY297" fmla="*/ 411975 h 2723737"/>
                  <a:gd name="connsiteX298" fmla="*/ 741251 w 2724495"/>
                  <a:gd name="connsiteY298" fmla="*/ 430184 h 2723737"/>
                  <a:gd name="connsiteX299" fmla="*/ 751873 w 2724495"/>
                  <a:gd name="connsiteY299" fmla="*/ 440805 h 2723737"/>
                  <a:gd name="connsiteX300" fmla="*/ 834571 w 2724495"/>
                  <a:gd name="connsiteY300" fmla="*/ 391869 h 2723737"/>
                  <a:gd name="connsiteX301" fmla="*/ 927512 w 2724495"/>
                  <a:gd name="connsiteY301" fmla="*/ 347106 h 2723737"/>
                  <a:gd name="connsiteX302" fmla="*/ 1124016 w 2724495"/>
                  <a:gd name="connsiteY302" fmla="*/ 283754 h 2723737"/>
                  <a:gd name="connsiteX303" fmla="*/ 1140707 w 2724495"/>
                  <a:gd name="connsiteY303" fmla="*/ 279961 h 2723737"/>
                  <a:gd name="connsiteX304" fmla="*/ 1140707 w 2724495"/>
                  <a:gd name="connsiteY304" fmla="*/ 39832 h 2723737"/>
                  <a:gd name="connsiteX305" fmla="*/ 1140707 w 2724495"/>
                  <a:gd name="connsiteY305" fmla="*/ 39832 h 2723737"/>
                  <a:gd name="connsiteX306" fmla="*/ 1140707 w 2724495"/>
                  <a:gd name="connsiteY306" fmla="*/ 39073 h 2723737"/>
                  <a:gd name="connsiteX307" fmla="*/ 1140707 w 2724495"/>
                  <a:gd name="connsiteY307" fmla="*/ 39073 h 2723737"/>
                  <a:gd name="connsiteX308" fmla="*/ 1141087 w 2724495"/>
                  <a:gd name="connsiteY308" fmla="*/ 39073 h 2723737"/>
                  <a:gd name="connsiteX309" fmla="*/ 1581133 w 2724495"/>
                  <a:gd name="connsiteY309" fmla="*/ 39073 h 2723737"/>
                  <a:gd name="connsiteX310" fmla="*/ 1581133 w 2724495"/>
                  <a:gd name="connsiteY310" fmla="*/ 39073 h 2723737"/>
                  <a:gd name="connsiteX311" fmla="*/ 1581133 w 2724495"/>
                  <a:gd name="connsiteY311" fmla="*/ 39073 h 2723737"/>
                  <a:gd name="connsiteX312" fmla="*/ 1581133 w 2724495"/>
                  <a:gd name="connsiteY312" fmla="*/ 39073 h 2723737"/>
                  <a:gd name="connsiteX313" fmla="*/ 1581133 w 2724495"/>
                  <a:gd name="connsiteY313" fmla="*/ 279581 h 2723737"/>
                  <a:gd name="connsiteX314" fmla="*/ 1672557 w 2724495"/>
                  <a:gd name="connsiteY314" fmla="*/ 303101 h 2723737"/>
                  <a:gd name="connsiteX315" fmla="*/ 1770050 w 2724495"/>
                  <a:gd name="connsiteY315" fmla="*/ 337243 h 2723737"/>
                  <a:gd name="connsiteX316" fmla="*/ 1954035 w 2724495"/>
                  <a:gd name="connsiteY316" fmla="*/ 430942 h 2723737"/>
                  <a:gd name="connsiteX317" fmla="*/ 1971485 w 2724495"/>
                  <a:gd name="connsiteY317" fmla="*/ 439288 h 2723737"/>
                  <a:gd name="connsiteX318" fmla="*/ 1980589 w 2724495"/>
                  <a:gd name="connsiteY318" fmla="*/ 430184 h 2723737"/>
                  <a:gd name="connsiteX319" fmla="*/ 1998798 w 2724495"/>
                  <a:gd name="connsiteY319" fmla="*/ 411975 h 2723737"/>
                  <a:gd name="connsiteX320" fmla="*/ 2139537 w 2724495"/>
                  <a:gd name="connsiteY320" fmla="*/ 271236 h 2723737"/>
                  <a:gd name="connsiteX321" fmla="*/ 2139537 w 2724495"/>
                  <a:gd name="connsiteY321" fmla="*/ 271236 h 2723737"/>
                  <a:gd name="connsiteX322" fmla="*/ 2140296 w 2724495"/>
                  <a:gd name="connsiteY322" fmla="*/ 271236 h 2723737"/>
                  <a:gd name="connsiteX323" fmla="*/ 2140296 w 2724495"/>
                  <a:gd name="connsiteY323" fmla="*/ 271236 h 2723737"/>
                  <a:gd name="connsiteX324" fmla="*/ 2450984 w 2724495"/>
                  <a:gd name="connsiteY324" fmla="*/ 581924 h 2723737"/>
                  <a:gd name="connsiteX325" fmla="*/ 2450984 w 2724495"/>
                  <a:gd name="connsiteY325" fmla="*/ 581924 h 2723737"/>
                  <a:gd name="connsiteX326" fmla="*/ 2450984 w 2724495"/>
                  <a:gd name="connsiteY326" fmla="*/ 581924 h 2723737"/>
                  <a:gd name="connsiteX327" fmla="*/ 2450984 w 2724495"/>
                  <a:gd name="connsiteY327" fmla="*/ 582682 h 2723737"/>
                  <a:gd name="connsiteX328" fmla="*/ 2450984 w 2724495"/>
                  <a:gd name="connsiteY328" fmla="*/ 582682 h 2723737"/>
                  <a:gd name="connsiteX329" fmla="*/ 2310245 w 2724495"/>
                  <a:gd name="connsiteY329" fmla="*/ 723422 h 2723737"/>
                  <a:gd name="connsiteX330" fmla="*/ 2292036 w 2724495"/>
                  <a:gd name="connsiteY330" fmla="*/ 741630 h 2723737"/>
                  <a:gd name="connsiteX331" fmla="*/ 2281414 w 2724495"/>
                  <a:gd name="connsiteY331" fmla="*/ 752252 h 2723737"/>
                  <a:gd name="connsiteX332" fmla="*/ 2329592 w 2724495"/>
                  <a:gd name="connsiteY332" fmla="*/ 833433 h 2723737"/>
                  <a:gd name="connsiteX333" fmla="*/ 2374735 w 2724495"/>
                  <a:gd name="connsiteY333" fmla="*/ 926374 h 2723737"/>
                  <a:gd name="connsiteX334" fmla="*/ 2438466 w 2724495"/>
                  <a:gd name="connsiteY334" fmla="*/ 1122878 h 2723737"/>
                  <a:gd name="connsiteX335" fmla="*/ 2442638 w 2724495"/>
                  <a:gd name="connsiteY335" fmla="*/ 1141087 h 2723737"/>
                  <a:gd name="connsiteX336" fmla="*/ 2683147 w 2724495"/>
                  <a:gd name="connsiteY336" fmla="*/ 1141087 h 2723737"/>
                  <a:gd name="connsiteX337" fmla="*/ 2683147 w 2724495"/>
                  <a:gd name="connsiteY337" fmla="*/ 1141087 h 2723737"/>
                  <a:gd name="connsiteX338" fmla="*/ 2683147 w 2724495"/>
                  <a:gd name="connsiteY338" fmla="*/ 1141087 h 2723737"/>
                  <a:gd name="connsiteX339" fmla="*/ 2683147 w 2724495"/>
                  <a:gd name="connsiteY339" fmla="*/ 1141087 h 2723737"/>
                  <a:gd name="connsiteX340" fmla="*/ 2687319 w 2724495"/>
                  <a:gd name="connsiteY340" fmla="*/ 1583789 h 2723737"/>
                  <a:gd name="connsiteX341" fmla="*/ 2686940 w 2724495"/>
                  <a:gd name="connsiteY341" fmla="*/ 1583789 h 2723737"/>
                  <a:gd name="connsiteX342" fmla="*/ 2686940 w 2724495"/>
                  <a:gd name="connsiteY342" fmla="*/ 1583409 h 2723737"/>
                  <a:gd name="connsiteX343" fmla="*/ 2687699 w 2724495"/>
                  <a:gd name="connsiteY343" fmla="*/ 1584168 h 2723737"/>
                  <a:gd name="connsiteX344" fmla="*/ 2688078 w 2724495"/>
                  <a:gd name="connsiteY344" fmla="*/ 1584168 h 2723737"/>
                  <a:gd name="connsiteX345" fmla="*/ 2687319 w 2724495"/>
                  <a:gd name="connsiteY345" fmla="*/ 1584168 h 2723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Lst>
                <a:rect l="l" t="t" r="r" b="b"/>
                <a:pathLst>
                  <a:path w="2724495" h="2723737">
                    <a:moveTo>
                      <a:pt x="2724496" y="1135396"/>
                    </a:moveTo>
                    <a:cubicBezTo>
                      <a:pt x="2724116" y="1132741"/>
                      <a:pt x="2723358" y="1130085"/>
                      <a:pt x="2722220" y="1127809"/>
                    </a:cubicBezTo>
                    <a:cubicBezTo>
                      <a:pt x="2721082" y="1125533"/>
                      <a:pt x="2719944" y="1122878"/>
                      <a:pt x="2718426" y="1120981"/>
                    </a:cubicBezTo>
                    <a:cubicBezTo>
                      <a:pt x="2716909" y="1118705"/>
                      <a:pt x="2715391" y="1116808"/>
                      <a:pt x="2713495" y="1114911"/>
                    </a:cubicBezTo>
                    <a:cubicBezTo>
                      <a:pt x="2711977" y="1113394"/>
                      <a:pt x="2709701" y="1111497"/>
                      <a:pt x="2707425" y="1109980"/>
                    </a:cubicBezTo>
                    <a:cubicBezTo>
                      <a:pt x="2705149" y="1108462"/>
                      <a:pt x="2702873" y="1107324"/>
                      <a:pt x="2700597" y="1106186"/>
                    </a:cubicBezTo>
                    <a:cubicBezTo>
                      <a:pt x="2698321" y="1105048"/>
                      <a:pt x="2695665" y="1104290"/>
                      <a:pt x="2693010" y="1103910"/>
                    </a:cubicBezTo>
                    <a:cubicBezTo>
                      <a:pt x="2690354" y="1103531"/>
                      <a:pt x="2687699" y="1103151"/>
                      <a:pt x="2685423" y="1103151"/>
                    </a:cubicBezTo>
                    <a:lnTo>
                      <a:pt x="2486643" y="1103151"/>
                    </a:lnTo>
                    <a:cubicBezTo>
                      <a:pt x="2482849" y="1103151"/>
                      <a:pt x="2479056" y="1103151"/>
                      <a:pt x="2475263" y="1103151"/>
                    </a:cubicBezTo>
                    <a:cubicBezTo>
                      <a:pt x="2472986" y="1074700"/>
                      <a:pt x="2460847" y="1043973"/>
                      <a:pt x="2452122" y="1016659"/>
                    </a:cubicBezTo>
                    <a:cubicBezTo>
                      <a:pt x="2442638" y="986691"/>
                      <a:pt x="2432017" y="957481"/>
                      <a:pt x="2419877" y="928271"/>
                    </a:cubicBezTo>
                    <a:cubicBezTo>
                      <a:pt x="2406600" y="896405"/>
                      <a:pt x="2392185" y="864919"/>
                      <a:pt x="2376252" y="834192"/>
                    </a:cubicBezTo>
                    <a:cubicBezTo>
                      <a:pt x="2368286" y="819018"/>
                      <a:pt x="2359940" y="803844"/>
                      <a:pt x="2351215" y="788670"/>
                    </a:cubicBezTo>
                    <a:cubicBezTo>
                      <a:pt x="2347042" y="781462"/>
                      <a:pt x="2341352" y="774255"/>
                      <a:pt x="2337938" y="766288"/>
                    </a:cubicBezTo>
                    <a:cubicBezTo>
                      <a:pt x="2334144" y="757942"/>
                      <a:pt x="2334144" y="757942"/>
                      <a:pt x="2340972" y="751493"/>
                    </a:cubicBezTo>
                    <a:cubicBezTo>
                      <a:pt x="2340972" y="751493"/>
                      <a:pt x="2481711" y="610754"/>
                      <a:pt x="2481711" y="610754"/>
                    </a:cubicBezTo>
                    <a:cubicBezTo>
                      <a:pt x="2483608" y="608858"/>
                      <a:pt x="2485125" y="606961"/>
                      <a:pt x="2486643" y="605064"/>
                    </a:cubicBezTo>
                    <a:cubicBezTo>
                      <a:pt x="2488160" y="602788"/>
                      <a:pt x="2489298" y="600512"/>
                      <a:pt x="2490437" y="598236"/>
                    </a:cubicBezTo>
                    <a:cubicBezTo>
                      <a:pt x="2491575" y="595960"/>
                      <a:pt x="2492333" y="593304"/>
                      <a:pt x="2492713" y="590649"/>
                    </a:cubicBezTo>
                    <a:cubicBezTo>
                      <a:pt x="2493092" y="587993"/>
                      <a:pt x="2493471" y="585338"/>
                      <a:pt x="2493471" y="583062"/>
                    </a:cubicBezTo>
                    <a:cubicBezTo>
                      <a:pt x="2493471" y="580786"/>
                      <a:pt x="2493471" y="578130"/>
                      <a:pt x="2492713" y="575475"/>
                    </a:cubicBezTo>
                    <a:cubicBezTo>
                      <a:pt x="2492333" y="572819"/>
                      <a:pt x="2491575" y="570164"/>
                      <a:pt x="2490437" y="567888"/>
                    </a:cubicBezTo>
                    <a:cubicBezTo>
                      <a:pt x="2489298" y="565612"/>
                      <a:pt x="2488160" y="563336"/>
                      <a:pt x="2486643" y="561060"/>
                    </a:cubicBezTo>
                    <a:cubicBezTo>
                      <a:pt x="2485125" y="558783"/>
                      <a:pt x="2483608" y="556887"/>
                      <a:pt x="2481711" y="554990"/>
                    </a:cubicBezTo>
                    <a:lnTo>
                      <a:pt x="2171023" y="244302"/>
                    </a:lnTo>
                    <a:cubicBezTo>
                      <a:pt x="2171023" y="244302"/>
                      <a:pt x="2167230" y="240888"/>
                      <a:pt x="2164954" y="239370"/>
                    </a:cubicBezTo>
                    <a:cubicBezTo>
                      <a:pt x="2162678" y="237853"/>
                      <a:pt x="2160402" y="236715"/>
                      <a:pt x="2158125" y="235577"/>
                    </a:cubicBezTo>
                    <a:cubicBezTo>
                      <a:pt x="2155849" y="234439"/>
                      <a:pt x="2153194" y="233680"/>
                      <a:pt x="2150538" y="233301"/>
                    </a:cubicBezTo>
                    <a:cubicBezTo>
                      <a:pt x="2147883" y="232921"/>
                      <a:pt x="2145228" y="232542"/>
                      <a:pt x="2142951" y="232542"/>
                    </a:cubicBezTo>
                    <a:cubicBezTo>
                      <a:pt x="2140675" y="232542"/>
                      <a:pt x="2138020" y="232542"/>
                      <a:pt x="2135364" y="233301"/>
                    </a:cubicBezTo>
                    <a:cubicBezTo>
                      <a:pt x="2132709" y="233680"/>
                      <a:pt x="2130053" y="234439"/>
                      <a:pt x="2127777" y="235577"/>
                    </a:cubicBezTo>
                    <a:cubicBezTo>
                      <a:pt x="2125501" y="236715"/>
                      <a:pt x="2123225" y="237853"/>
                      <a:pt x="2120949" y="239370"/>
                    </a:cubicBezTo>
                    <a:cubicBezTo>
                      <a:pt x="2119052" y="240888"/>
                      <a:pt x="2116776" y="242405"/>
                      <a:pt x="2115259" y="244302"/>
                    </a:cubicBezTo>
                    <a:cubicBezTo>
                      <a:pt x="2115259" y="244302"/>
                      <a:pt x="1974520" y="385041"/>
                      <a:pt x="1974520" y="385041"/>
                    </a:cubicBezTo>
                    <a:cubicBezTo>
                      <a:pt x="1971864" y="387696"/>
                      <a:pt x="1969209" y="390731"/>
                      <a:pt x="1966174" y="392628"/>
                    </a:cubicBezTo>
                    <a:cubicBezTo>
                      <a:pt x="1943034" y="374040"/>
                      <a:pt x="1913065" y="360383"/>
                      <a:pt x="1886890" y="347106"/>
                    </a:cubicBezTo>
                    <a:cubicBezTo>
                      <a:pt x="1859197" y="332690"/>
                      <a:pt x="1830366" y="319413"/>
                      <a:pt x="1801536" y="307653"/>
                    </a:cubicBezTo>
                    <a:cubicBezTo>
                      <a:pt x="1769670" y="294376"/>
                      <a:pt x="1737046" y="282616"/>
                      <a:pt x="1703663" y="271994"/>
                    </a:cubicBezTo>
                    <a:cubicBezTo>
                      <a:pt x="1686593" y="266683"/>
                      <a:pt x="1669901" y="261752"/>
                      <a:pt x="1652831" y="257200"/>
                    </a:cubicBezTo>
                    <a:cubicBezTo>
                      <a:pt x="1646002" y="255303"/>
                      <a:pt x="1632725" y="254924"/>
                      <a:pt x="1627035" y="250751"/>
                    </a:cubicBezTo>
                    <a:cubicBezTo>
                      <a:pt x="1622103" y="247337"/>
                      <a:pt x="1622862" y="246199"/>
                      <a:pt x="1622862" y="238991"/>
                    </a:cubicBezTo>
                    <a:lnTo>
                      <a:pt x="1622862" y="39832"/>
                    </a:lnTo>
                    <a:cubicBezTo>
                      <a:pt x="1622862" y="37556"/>
                      <a:pt x="1622862" y="34900"/>
                      <a:pt x="1622103" y="32245"/>
                    </a:cubicBezTo>
                    <a:cubicBezTo>
                      <a:pt x="1621724" y="29589"/>
                      <a:pt x="1620965" y="26934"/>
                      <a:pt x="1619827" y="24658"/>
                    </a:cubicBezTo>
                    <a:cubicBezTo>
                      <a:pt x="1618689" y="22382"/>
                      <a:pt x="1617551" y="19726"/>
                      <a:pt x="1616033" y="17829"/>
                    </a:cubicBezTo>
                    <a:cubicBezTo>
                      <a:pt x="1614516" y="15553"/>
                      <a:pt x="1612999" y="13657"/>
                      <a:pt x="1611102" y="11760"/>
                    </a:cubicBezTo>
                    <a:cubicBezTo>
                      <a:pt x="1609584" y="10242"/>
                      <a:pt x="1607308" y="8346"/>
                      <a:pt x="1605032" y="6828"/>
                    </a:cubicBezTo>
                    <a:cubicBezTo>
                      <a:pt x="1602756" y="5311"/>
                      <a:pt x="1600480" y="4173"/>
                      <a:pt x="1598204" y="3035"/>
                    </a:cubicBezTo>
                    <a:cubicBezTo>
                      <a:pt x="1595928" y="1897"/>
                      <a:pt x="1593272" y="1138"/>
                      <a:pt x="1590617" y="759"/>
                    </a:cubicBezTo>
                    <a:cubicBezTo>
                      <a:pt x="1587961" y="379"/>
                      <a:pt x="1585306" y="0"/>
                      <a:pt x="1583030" y="0"/>
                    </a:cubicBezTo>
                    <a:lnTo>
                      <a:pt x="1143363" y="0"/>
                    </a:lnTo>
                    <a:cubicBezTo>
                      <a:pt x="1138052" y="0"/>
                      <a:pt x="1133120" y="1138"/>
                      <a:pt x="1128189" y="3035"/>
                    </a:cubicBezTo>
                    <a:cubicBezTo>
                      <a:pt x="1123257" y="4932"/>
                      <a:pt x="1118705" y="7966"/>
                      <a:pt x="1115291" y="11760"/>
                    </a:cubicBezTo>
                    <a:cubicBezTo>
                      <a:pt x="1113773" y="13277"/>
                      <a:pt x="1111877" y="15553"/>
                      <a:pt x="1110359" y="17829"/>
                    </a:cubicBezTo>
                    <a:cubicBezTo>
                      <a:pt x="1108842" y="20106"/>
                      <a:pt x="1107704" y="22382"/>
                      <a:pt x="1106566" y="24658"/>
                    </a:cubicBezTo>
                    <a:cubicBezTo>
                      <a:pt x="1105428" y="26934"/>
                      <a:pt x="1104669" y="29589"/>
                      <a:pt x="1104290" y="32245"/>
                    </a:cubicBezTo>
                    <a:cubicBezTo>
                      <a:pt x="1103910" y="34900"/>
                      <a:pt x="1103531" y="37556"/>
                      <a:pt x="1103531" y="39832"/>
                    </a:cubicBezTo>
                    <a:lnTo>
                      <a:pt x="1103531" y="238612"/>
                    </a:lnTo>
                    <a:cubicBezTo>
                      <a:pt x="1103531" y="254165"/>
                      <a:pt x="1092530" y="251889"/>
                      <a:pt x="1078494" y="255303"/>
                    </a:cubicBezTo>
                    <a:cubicBezTo>
                      <a:pt x="1062182" y="259476"/>
                      <a:pt x="1046249" y="264028"/>
                      <a:pt x="1030316" y="268960"/>
                    </a:cubicBezTo>
                    <a:cubicBezTo>
                      <a:pt x="998451" y="278823"/>
                      <a:pt x="966965" y="289824"/>
                      <a:pt x="935858" y="302342"/>
                    </a:cubicBezTo>
                    <a:cubicBezTo>
                      <a:pt x="874403" y="327000"/>
                      <a:pt x="815224" y="356969"/>
                      <a:pt x="759081" y="392248"/>
                    </a:cubicBezTo>
                    <a:cubicBezTo>
                      <a:pt x="712041" y="345209"/>
                      <a:pt x="665002" y="298170"/>
                      <a:pt x="617962" y="251130"/>
                    </a:cubicBezTo>
                    <a:cubicBezTo>
                      <a:pt x="615686" y="248854"/>
                      <a:pt x="613031" y="246199"/>
                      <a:pt x="610754" y="243922"/>
                    </a:cubicBezTo>
                    <a:cubicBezTo>
                      <a:pt x="608858" y="242026"/>
                      <a:pt x="606961" y="240508"/>
                      <a:pt x="605064" y="238991"/>
                    </a:cubicBezTo>
                    <a:cubicBezTo>
                      <a:pt x="602788" y="237473"/>
                      <a:pt x="600512" y="236335"/>
                      <a:pt x="598236" y="235197"/>
                    </a:cubicBezTo>
                    <a:cubicBezTo>
                      <a:pt x="595960" y="234059"/>
                      <a:pt x="593304" y="233301"/>
                      <a:pt x="590649" y="232921"/>
                    </a:cubicBezTo>
                    <a:cubicBezTo>
                      <a:pt x="587993" y="232542"/>
                      <a:pt x="585338" y="232163"/>
                      <a:pt x="583062" y="232163"/>
                    </a:cubicBezTo>
                    <a:cubicBezTo>
                      <a:pt x="580786" y="232163"/>
                      <a:pt x="578130" y="232163"/>
                      <a:pt x="575475" y="232921"/>
                    </a:cubicBezTo>
                    <a:cubicBezTo>
                      <a:pt x="572819" y="233301"/>
                      <a:pt x="570164" y="234059"/>
                      <a:pt x="567888" y="235197"/>
                    </a:cubicBezTo>
                    <a:cubicBezTo>
                      <a:pt x="565612" y="236335"/>
                      <a:pt x="563336" y="237473"/>
                      <a:pt x="561060" y="238991"/>
                    </a:cubicBezTo>
                    <a:cubicBezTo>
                      <a:pt x="558783" y="240508"/>
                      <a:pt x="556887" y="242026"/>
                      <a:pt x="554990" y="243922"/>
                    </a:cubicBezTo>
                    <a:lnTo>
                      <a:pt x="243543" y="554611"/>
                    </a:lnTo>
                    <a:cubicBezTo>
                      <a:pt x="243543" y="554611"/>
                      <a:pt x="240129" y="558404"/>
                      <a:pt x="238612" y="560301"/>
                    </a:cubicBezTo>
                    <a:cubicBezTo>
                      <a:pt x="237094" y="562577"/>
                      <a:pt x="235956" y="564853"/>
                      <a:pt x="234818" y="567129"/>
                    </a:cubicBezTo>
                    <a:cubicBezTo>
                      <a:pt x="233680" y="569405"/>
                      <a:pt x="232921" y="572061"/>
                      <a:pt x="232542" y="574716"/>
                    </a:cubicBezTo>
                    <a:cubicBezTo>
                      <a:pt x="232163" y="577372"/>
                      <a:pt x="231783" y="580027"/>
                      <a:pt x="231783" y="582303"/>
                    </a:cubicBezTo>
                    <a:cubicBezTo>
                      <a:pt x="231783" y="584579"/>
                      <a:pt x="231783" y="587235"/>
                      <a:pt x="232542" y="589890"/>
                    </a:cubicBezTo>
                    <a:cubicBezTo>
                      <a:pt x="232921" y="592546"/>
                      <a:pt x="233680" y="595201"/>
                      <a:pt x="234818" y="597477"/>
                    </a:cubicBezTo>
                    <a:cubicBezTo>
                      <a:pt x="235956" y="599753"/>
                      <a:pt x="237094" y="602029"/>
                      <a:pt x="238612" y="604305"/>
                    </a:cubicBezTo>
                    <a:cubicBezTo>
                      <a:pt x="240129" y="606582"/>
                      <a:pt x="241646" y="608478"/>
                      <a:pt x="243543" y="609996"/>
                    </a:cubicBezTo>
                    <a:cubicBezTo>
                      <a:pt x="243543" y="609996"/>
                      <a:pt x="384282" y="750735"/>
                      <a:pt x="384282" y="750735"/>
                    </a:cubicBezTo>
                    <a:cubicBezTo>
                      <a:pt x="387696" y="754149"/>
                      <a:pt x="390731" y="756046"/>
                      <a:pt x="390731" y="760598"/>
                    </a:cubicBezTo>
                    <a:cubicBezTo>
                      <a:pt x="390731" y="766288"/>
                      <a:pt x="380868" y="776910"/>
                      <a:pt x="377833" y="781842"/>
                    </a:cubicBezTo>
                    <a:cubicBezTo>
                      <a:pt x="369487" y="796257"/>
                      <a:pt x="361142" y="810672"/>
                      <a:pt x="353175" y="825467"/>
                    </a:cubicBezTo>
                    <a:cubicBezTo>
                      <a:pt x="338001" y="854297"/>
                      <a:pt x="323586" y="883887"/>
                      <a:pt x="310688" y="913856"/>
                    </a:cubicBezTo>
                    <a:cubicBezTo>
                      <a:pt x="284892" y="974552"/>
                      <a:pt x="264028" y="1037903"/>
                      <a:pt x="249233" y="1102013"/>
                    </a:cubicBezTo>
                    <a:cubicBezTo>
                      <a:pt x="179433" y="1102013"/>
                      <a:pt x="110012" y="1102013"/>
                      <a:pt x="40211" y="1102013"/>
                    </a:cubicBezTo>
                    <a:lnTo>
                      <a:pt x="39832" y="1102013"/>
                    </a:lnTo>
                    <a:cubicBezTo>
                      <a:pt x="37556" y="1102013"/>
                      <a:pt x="34900" y="1102013"/>
                      <a:pt x="32245" y="1102772"/>
                    </a:cubicBezTo>
                    <a:cubicBezTo>
                      <a:pt x="29589" y="1103151"/>
                      <a:pt x="26934" y="1103910"/>
                      <a:pt x="24658" y="1105048"/>
                    </a:cubicBezTo>
                    <a:cubicBezTo>
                      <a:pt x="22382" y="1106186"/>
                      <a:pt x="19726" y="1107324"/>
                      <a:pt x="17829" y="1108842"/>
                    </a:cubicBezTo>
                    <a:cubicBezTo>
                      <a:pt x="15553" y="1110359"/>
                      <a:pt x="13657" y="1111877"/>
                      <a:pt x="11760" y="1113773"/>
                    </a:cubicBezTo>
                    <a:cubicBezTo>
                      <a:pt x="7966" y="1117567"/>
                      <a:pt x="4932" y="1121740"/>
                      <a:pt x="3035" y="1126671"/>
                    </a:cubicBezTo>
                    <a:cubicBezTo>
                      <a:pt x="1897" y="1128947"/>
                      <a:pt x="1138" y="1131603"/>
                      <a:pt x="759" y="1134258"/>
                    </a:cubicBezTo>
                    <a:cubicBezTo>
                      <a:pt x="379" y="1136914"/>
                      <a:pt x="0" y="1139569"/>
                      <a:pt x="0" y="1141845"/>
                    </a:cubicBezTo>
                    <a:lnTo>
                      <a:pt x="0" y="1141845"/>
                    </a:lnTo>
                    <a:lnTo>
                      <a:pt x="0" y="1581512"/>
                    </a:lnTo>
                    <a:lnTo>
                      <a:pt x="0" y="1581512"/>
                    </a:lnTo>
                    <a:cubicBezTo>
                      <a:pt x="0" y="1584168"/>
                      <a:pt x="0" y="1586824"/>
                      <a:pt x="759" y="1589479"/>
                    </a:cubicBezTo>
                    <a:cubicBezTo>
                      <a:pt x="1138" y="1592134"/>
                      <a:pt x="1897" y="1594790"/>
                      <a:pt x="3035" y="1597066"/>
                    </a:cubicBezTo>
                    <a:cubicBezTo>
                      <a:pt x="4173" y="1599342"/>
                      <a:pt x="5311" y="1601997"/>
                      <a:pt x="6828" y="1603894"/>
                    </a:cubicBezTo>
                    <a:cubicBezTo>
                      <a:pt x="8346" y="1606170"/>
                      <a:pt x="9863" y="1608067"/>
                      <a:pt x="11760" y="1609964"/>
                    </a:cubicBezTo>
                    <a:cubicBezTo>
                      <a:pt x="15553" y="1613757"/>
                      <a:pt x="19726" y="1616413"/>
                      <a:pt x="24658" y="1618689"/>
                    </a:cubicBezTo>
                    <a:cubicBezTo>
                      <a:pt x="26934" y="1619827"/>
                      <a:pt x="29589" y="1620586"/>
                      <a:pt x="32245" y="1620965"/>
                    </a:cubicBezTo>
                    <a:cubicBezTo>
                      <a:pt x="34900" y="1621344"/>
                      <a:pt x="37556" y="1621724"/>
                      <a:pt x="39832" y="1621724"/>
                    </a:cubicBezTo>
                    <a:cubicBezTo>
                      <a:pt x="97493" y="1621724"/>
                      <a:pt x="154775" y="1621724"/>
                      <a:pt x="212436" y="1621724"/>
                    </a:cubicBezTo>
                    <a:cubicBezTo>
                      <a:pt x="219644" y="1621724"/>
                      <a:pt x="227231" y="1621724"/>
                      <a:pt x="234439" y="1621724"/>
                    </a:cubicBezTo>
                    <a:cubicBezTo>
                      <a:pt x="243922" y="1621724"/>
                      <a:pt x="249233" y="1620206"/>
                      <a:pt x="252268" y="1631966"/>
                    </a:cubicBezTo>
                    <a:cubicBezTo>
                      <a:pt x="280719" y="1750324"/>
                      <a:pt x="328897" y="1862232"/>
                      <a:pt x="392249" y="1965795"/>
                    </a:cubicBezTo>
                    <a:lnTo>
                      <a:pt x="384661" y="1973382"/>
                    </a:lnTo>
                    <a:cubicBezTo>
                      <a:pt x="384661" y="1973382"/>
                      <a:pt x="243922" y="2114121"/>
                      <a:pt x="243922" y="2114121"/>
                    </a:cubicBezTo>
                    <a:cubicBezTo>
                      <a:pt x="242026" y="2116017"/>
                      <a:pt x="240508" y="2117914"/>
                      <a:pt x="238991" y="2119811"/>
                    </a:cubicBezTo>
                    <a:cubicBezTo>
                      <a:pt x="237473" y="2122087"/>
                      <a:pt x="236335" y="2124363"/>
                      <a:pt x="235197" y="2126639"/>
                    </a:cubicBezTo>
                    <a:cubicBezTo>
                      <a:pt x="234059" y="2128915"/>
                      <a:pt x="233301" y="2131571"/>
                      <a:pt x="232921" y="2134226"/>
                    </a:cubicBezTo>
                    <a:cubicBezTo>
                      <a:pt x="232542" y="2136882"/>
                      <a:pt x="232163" y="2139537"/>
                      <a:pt x="232163" y="2141813"/>
                    </a:cubicBezTo>
                    <a:cubicBezTo>
                      <a:pt x="232163" y="2144089"/>
                      <a:pt x="232163" y="2146745"/>
                      <a:pt x="232921" y="2149400"/>
                    </a:cubicBezTo>
                    <a:cubicBezTo>
                      <a:pt x="233301" y="2152056"/>
                      <a:pt x="234059" y="2154711"/>
                      <a:pt x="235197" y="2156987"/>
                    </a:cubicBezTo>
                    <a:cubicBezTo>
                      <a:pt x="236335" y="2159263"/>
                      <a:pt x="237473" y="2161540"/>
                      <a:pt x="238991" y="2163816"/>
                    </a:cubicBezTo>
                    <a:cubicBezTo>
                      <a:pt x="240129" y="2165712"/>
                      <a:pt x="242026" y="2167609"/>
                      <a:pt x="243922" y="2169506"/>
                    </a:cubicBezTo>
                    <a:lnTo>
                      <a:pt x="554611" y="2480194"/>
                    </a:lnTo>
                    <a:cubicBezTo>
                      <a:pt x="554611" y="2480194"/>
                      <a:pt x="558404" y="2483608"/>
                      <a:pt x="560301" y="2485126"/>
                    </a:cubicBezTo>
                    <a:cubicBezTo>
                      <a:pt x="562577" y="2486643"/>
                      <a:pt x="564853" y="2487781"/>
                      <a:pt x="567129" y="2488919"/>
                    </a:cubicBezTo>
                    <a:cubicBezTo>
                      <a:pt x="569405" y="2490057"/>
                      <a:pt x="572061" y="2490816"/>
                      <a:pt x="574716" y="2491195"/>
                    </a:cubicBezTo>
                    <a:cubicBezTo>
                      <a:pt x="577372" y="2491575"/>
                      <a:pt x="580027" y="2491954"/>
                      <a:pt x="582303" y="2491954"/>
                    </a:cubicBezTo>
                    <a:cubicBezTo>
                      <a:pt x="584579" y="2491954"/>
                      <a:pt x="587235" y="2491954"/>
                      <a:pt x="589890" y="2491195"/>
                    </a:cubicBezTo>
                    <a:cubicBezTo>
                      <a:pt x="592546" y="2490816"/>
                      <a:pt x="595201" y="2490057"/>
                      <a:pt x="597477" y="2488919"/>
                    </a:cubicBezTo>
                    <a:cubicBezTo>
                      <a:pt x="600133" y="2487781"/>
                      <a:pt x="602409" y="2486643"/>
                      <a:pt x="604305" y="2485126"/>
                    </a:cubicBezTo>
                    <a:cubicBezTo>
                      <a:pt x="606202" y="2483608"/>
                      <a:pt x="608478" y="2482091"/>
                      <a:pt x="609996" y="2480194"/>
                    </a:cubicBezTo>
                    <a:lnTo>
                      <a:pt x="750735" y="2339455"/>
                    </a:lnTo>
                    <a:cubicBezTo>
                      <a:pt x="750735" y="2339455"/>
                      <a:pt x="758322" y="2331868"/>
                      <a:pt x="758322" y="2331868"/>
                    </a:cubicBezTo>
                    <a:cubicBezTo>
                      <a:pt x="864919" y="2397116"/>
                      <a:pt x="980621" y="2446053"/>
                      <a:pt x="1102393" y="2474504"/>
                    </a:cubicBezTo>
                    <a:cubicBezTo>
                      <a:pt x="1102393" y="2478297"/>
                      <a:pt x="1102393" y="2481711"/>
                      <a:pt x="1102393" y="2485126"/>
                    </a:cubicBezTo>
                    <a:lnTo>
                      <a:pt x="1102393" y="2683905"/>
                    </a:lnTo>
                    <a:cubicBezTo>
                      <a:pt x="1102393" y="2686181"/>
                      <a:pt x="1102393" y="2688837"/>
                      <a:pt x="1103151" y="2691492"/>
                    </a:cubicBezTo>
                    <a:cubicBezTo>
                      <a:pt x="1103531" y="2694148"/>
                      <a:pt x="1104290" y="2696803"/>
                      <a:pt x="1105428" y="2699079"/>
                    </a:cubicBezTo>
                    <a:cubicBezTo>
                      <a:pt x="1106566" y="2701355"/>
                      <a:pt x="1107704" y="2704011"/>
                      <a:pt x="1109221" y="2705908"/>
                    </a:cubicBezTo>
                    <a:cubicBezTo>
                      <a:pt x="1110739" y="2708184"/>
                      <a:pt x="1112256" y="2710081"/>
                      <a:pt x="1114153" y="2711977"/>
                    </a:cubicBezTo>
                    <a:cubicBezTo>
                      <a:pt x="1115670" y="2713495"/>
                      <a:pt x="1117946" y="2715391"/>
                      <a:pt x="1120222" y="2716909"/>
                    </a:cubicBezTo>
                    <a:cubicBezTo>
                      <a:pt x="1122498" y="2718426"/>
                      <a:pt x="1124774" y="2719564"/>
                      <a:pt x="1127051" y="2720702"/>
                    </a:cubicBezTo>
                    <a:cubicBezTo>
                      <a:pt x="1129327" y="2721840"/>
                      <a:pt x="1131982" y="2722220"/>
                      <a:pt x="1134638" y="2722978"/>
                    </a:cubicBezTo>
                    <a:cubicBezTo>
                      <a:pt x="1137293" y="2723358"/>
                      <a:pt x="1139948" y="2723737"/>
                      <a:pt x="1142225" y="2723737"/>
                    </a:cubicBezTo>
                    <a:lnTo>
                      <a:pt x="1581892" y="2723737"/>
                    </a:lnTo>
                    <a:cubicBezTo>
                      <a:pt x="1584168" y="2723737"/>
                      <a:pt x="1586823" y="2723737"/>
                      <a:pt x="1589479" y="2722978"/>
                    </a:cubicBezTo>
                    <a:cubicBezTo>
                      <a:pt x="1592134" y="2722599"/>
                      <a:pt x="1594790" y="2721840"/>
                      <a:pt x="1597066" y="2720702"/>
                    </a:cubicBezTo>
                    <a:cubicBezTo>
                      <a:pt x="1599721" y="2719564"/>
                      <a:pt x="1601998" y="2718426"/>
                      <a:pt x="1603894" y="2716909"/>
                    </a:cubicBezTo>
                    <a:cubicBezTo>
                      <a:pt x="1606170" y="2715391"/>
                      <a:pt x="1608067" y="2713874"/>
                      <a:pt x="1609964" y="2711977"/>
                    </a:cubicBezTo>
                    <a:cubicBezTo>
                      <a:pt x="1611481" y="2710460"/>
                      <a:pt x="1613378" y="2708184"/>
                      <a:pt x="1614895" y="2705908"/>
                    </a:cubicBezTo>
                    <a:cubicBezTo>
                      <a:pt x="1616413" y="2703631"/>
                      <a:pt x="1617551" y="2701355"/>
                      <a:pt x="1618689" y="2699079"/>
                    </a:cubicBezTo>
                    <a:cubicBezTo>
                      <a:pt x="1619448" y="2696803"/>
                      <a:pt x="1620586" y="2694148"/>
                      <a:pt x="1620965" y="2691492"/>
                    </a:cubicBezTo>
                    <a:cubicBezTo>
                      <a:pt x="1621344" y="2688837"/>
                      <a:pt x="1621724" y="2686181"/>
                      <a:pt x="1621724" y="2683905"/>
                    </a:cubicBezTo>
                    <a:lnTo>
                      <a:pt x="1621724" y="2474124"/>
                    </a:lnTo>
                    <a:cubicBezTo>
                      <a:pt x="1685834" y="2458571"/>
                      <a:pt x="1748806" y="2438086"/>
                      <a:pt x="1809502" y="2412670"/>
                    </a:cubicBezTo>
                    <a:cubicBezTo>
                      <a:pt x="1840230" y="2399772"/>
                      <a:pt x="1870198" y="2385356"/>
                      <a:pt x="1899408" y="2369803"/>
                    </a:cubicBezTo>
                    <a:cubicBezTo>
                      <a:pt x="1914203" y="2361837"/>
                      <a:pt x="1928618" y="2353870"/>
                      <a:pt x="1943034" y="2345525"/>
                    </a:cubicBezTo>
                    <a:cubicBezTo>
                      <a:pt x="1947965" y="2342490"/>
                      <a:pt x="1958587" y="2333006"/>
                      <a:pt x="1963898" y="2332627"/>
                    </a:cubicBezTo>
                    <a:cubicBezTo>
                      <a:pt x="1968071" y="2332627"/>
                      <a:pt x="1970347" y="2335661"/>
                      <a:pt x="1973382" y="2339076"/>
                    </a:cubicBezTo>
                    <a:lnTo>
                      <a:pt x="2114121" y="2479815"/>
                    </a:lnTo>
                    <a:cubicBezTo>
                      <a:pt x="2114121" y="2479815"/>
                      <a:pt x="2117914" y="2483229"/>
                      <a:pt x="2119811" y="2484746"/>
                    </a:cubicBezTo>
                    <a:cubicBezTo>
                      <a:pt x="2122087" y="2486264"/>
                      <a:pt x="2124363" y="2487402"/>
                      <a:pt x="2126639" y="2488540"/>
                    </a:cubicBezTo>
                    <a:cubicBezTo>
                      <a:pt x="2128915" y="2489678"/>
                      <a:pt x="2131571" y="2490437"/>
                      <a:pt x="2134226" y="2490816"/>
                    </a:cubicBezTo>
                    <a:cubicBezTo>
                      <a:pt x="2136882" y="2491195"/>
                      <a:pt x="2139537" y="2491575"/>
                      <a:pt x="2141813" y="2491575"/>
                    </a:cubicBezTo>
                    <a:cubicBezTo>
                      <a:pt x="2144089" y="2491575"/>
                      <a:pt x="2146745" y="2491575"/>
                      <a:pt x="2149400" y="2490816"/>
                    </a:cubicBezTo>
                    <a:cubicBezTo>
                      <a:pt x="2152056" y="2490437"/>
                      <a:pt x="2154711" y="2489678"/>
                      <a:pt x="2156987" y="2488540"/>
                    </a:cubicBezTo>
                    <a:cubicBezTo>
                      <a:pt x="2159263" y="2487402"/>
                      <a:pt x="2161540" y="2486264"/>
                      <a:pt x="2164195" y="2484746"/>
                    </a:cubicBezTo>
                    <a:cubicBezTo>
                      <a:pt x="2166092" y="2483229"/>
                      <a:pt x="2168368" y="2481711"/>
                      <a:pt x="2169885" y="2479815"/>
                    </a:cubicBezTo>
                    <a:lnTo>
                      <a:pt x="2480573" y="2169127"/>
                    </a:lnTo>
                    <a:cubicBezTo>
                      <a:pt x="2480573" y="2169127"/>
                      <a:pt x="2483987" y="2165333"/>
                      <a:pt x="2485505" y="2163436"/>
                    </a:cubicBezTo>
                    <a:cubicBezTo>
                      <a:pt x="2487022" y="2161160"/>
                      <a:pt x="2488160" y="2158884"/>
                      <a:pt x="2489298" y="2156608"/>
                    </a:cubicBezTo>
                    <a:cubicBezTo>
                      <a:pt x="2490437" y="2154332"/>
                      <a:pt x="2491195" y="2151677"/>
                      <a:pt x="2491575" y="2149021"/>
                    </a:cubicBezTo>
                    <a:cubicBezTo>
                      <a:pt x="2491954" y="2146366"/>
                      <a:pt x="2492333" y="2143710"/>
                      <a:pt x="2492333" y="2141434"/>
                    </a:cubicBezTo>
                    <a:cubicBezTo>
                      <a:pt x="2492333" y="2139158"/>
                      <a:pt x="2492333" y="2136502"/>
                      <a:pt x="2491575" y="2133847"/>
                    </a:cubicBezTo>
                    <a:cubicBezTo>
                      <a:pt x="2491195" y="2131192"/>
                      <a:pt x="2490437" y="2128536"/>
                      <a:pt x="2489298" y="2126260"/>
                    </a:cubicBezTo>
                    <a:cubicBezTo>
                      <a:pt x="2488160" y="2123605"/>
                      <a:pt x="2487022" y="2121328"/>
                      <a:pt x="2485505" y="2119432"/>
                    </a:cubicBezTo>
                    <a:cubicBezTo>
                      <a:pt x="2483987" y="2117156"/>
                      <a:pt x="2482470" y="2115259"/>
                      <a:pt x="2480573" y="2113741"/>
                    </a:cubicBezTo>
                    <a:lnTo>
                      <a:pt x="2339834" y="1973002"/>
                    </a:lnTo>
                    <a:lnTo>
                      <a:pt x="2332247" y="1965415"/>
                    </a:lnTo>
                    <a:lnTo>
                      <a:pt x="2337938" y="1956311"/>
                    </a:lnTo>
                    <a:cubicBezTo>
                      <a:pt x="2371700" y="1900926"/>
                      <a:pt x="2400910" y="1842885"/>
                      <a:pt x="2424809" y="1782568"/>
                    </a:cubicBezTo>
                    <a:cubicBezTo>
                      <a:pt x="2436569" y="1752600"/>
                      <a:pt x="2447190" y="1722252"/>
                      <a:pt x="2456295" y="1691524"/>
                    </a:cubicBezTo>
                    <a:cubicBezTo>
                      <a:pt x="2460847" y="1676350"/>
                      <a:pt x="2465020" y="1660797"/>
                      <a:pt x="2469193" y="1645243"/>
                    </a:cubicBezTo>
                    <a:cubicBezTo>
                      <a:pt x="2470331" y="1641071"/>
                      <a:pt x="2471469" y="1625138"/>
                      <a:pt x="2474504" y="1622482"/>
                    </a:cubicBezTo>
                    <a:cubicBezTo>
                      <a:pt x="2476780" y="1620206"/>
                      <a:pt x="2482470" y="1621344"/>
                      <a:pt x="2485884" y="1621344"/>
                    </a:cubicBezTo>
                    <a:lnTo>
                      <a:pt x="2684664" y="1621344"/>
                    </a:lnTo>
                    <a:cubicBezTo>
                      <a:pt x="2686940" y="1621344"/>
                      <a:pt x="2689596" y="1621344"/>
                      <a:pt x="2692251" y="1620586"/>
                    </a:cubicBezTo>
                    <a:cubicBezTo>
                      <a:pt x="2694907" y="1620206"/>
                      <a:pt x="2697562" y="1619448"/>
                      <a:pt x="2699838" y="1618310"/>
                    </a:cubicBezTo>
                    <a:cubicBezTo>
                      <a:pt x="2702114" y="1617172"/>
                      <a:pt x="2704390" y="1616033"/>
                      <a:pt x="2706666" y="1614516"/>
                    </a:cubicBezTo>
                    <a:cubicBezTo>
                      <a:pt x="2708942" y="1612999"/>
                      <a:pt x="2710839" y="1611481"/>
                      <a:pt x="2712736" y="1609584"/>
                    </a:cubicBezTo>
                    <a:cubicBezTo>
                      <a:pt x="2714253" y="1608067"/>
                      <a:pt x="2716150" y="1605791"/>
                      <a:pt x="2717668" y="1603515"/>
                    </a:cubicBezTo>
                    <a:cubicBezTo>
                      <a:pt x="2719185" y="1601239"/>
                      <a:pt x="2720323" y="1598963"/>
                      <a:pt x="2721461" y="1596687"/>
                    </a:cubicBezTo>
                    <a:cubicBezTo>
                      <a:pt x="2722599" y="1594410"/>
                      <a:pt x="2723358" y="1591755"/>
                      <a:pt x="2723737" y="1589100"/>
                    </a:cubicBezTo>
                    <a:cubicBezTo>
                      <a:pt x="2724116" y="1586444"/>
                      <a:pt x="2724496" y="1583789"/>
                      <a:pt x="2724496" y="1581512"/>
                    </a:cubicBezTo>
                    <a:lnTo>
                      <a:pt x="2724496" y="1581512"/>
                    </a:lnTo>
                    <a:lnTo>
                      <a:pt x="2724496" y="1141845"/>
                    </a:lnTo>
                    <a:lnTo>
                      <a:pt x="2724496" y="1141845"/>
                    </a:lnTo>
                    <a:cubicBezTo>
                      <a:pt x="2724496" y="1139190"/>
                      <a:pt x="2724496" y="1136534"/>
                      <a:pt x="2723737" y="1133879"/>
                    </a:cubicBezTo>
                    <a:close/>
                    <a:moveTo>
                      <a:pt x="1583030" y="37935"/>
                    </a:moveTo>
                    <a:lnTo>
                      <a:pt x="1583030" y="37935"/>
                    </a:lnTo>
                    <a:cubicBezTo>
                      <a:pt x="1583030" y="37935"/>
                      <a:pt x="1583030" y="38314"/>
                      <a:pt x="1583030" y="38314"/>
                    </a:cubicBezTo>
                    <a:lnTo>
                      <a:pt x="1583030" y="38314"/>
                    </a:lnTo>
                    <a:cubicBezTo>
                      <a:pt x="1583030" y="38314"/>
                      <a:pt x="1583030" y="38314"/>
                      <a:pt x="1583030" y="38694"/>
                    </a:cubicBezTo>
                    <a:lnTo>
                      <a:pt x="1583789" y="37935"/>
                    </a:lnTo>
                    <a:close/>
                    <a:moveTo>
                      <a:pt x="1141845" y="2688458"/>
                    </a:moveTo>
                    <a:lnTo>
                      <a:pt x="1141845" y="2688458"/>
                    </a:lnTo>
                    <a:cubicBezTo>
                      <a:pt x="1141845" y="2688458"/>
                      <a:pt x="1141845" y="2688078"/>
                      <a:pt x="1141845" y="2688078"/>
                    </a:cubicBezTo>
                    <a:lnTo>
                      <a:pt x="1141845" y="2688078"/>
                    </a:lnTo>
                    <a:cubicBezTo>
                      <a:pt x="1141845" y="2688078"/>
                      <a:pt x="1141845" y="2688078"/>
                      <a:pt x="1141845" y="2688078"/>
                    </a:cubicBezTo>
                    <a:lnTo>
                      <a:pt x="1141087" y="2688837"/>
                    </a:lnTo>
                    <a:close/>
                    <a:moveTo>
                      <a:pt x="2686561" y="1142983"/>
                    </a:moveTo>
                    <a:lnTo>
                      <a:pt x="2686561" y="1142983"/>
                    </a:lnTo>
                    <a:lnTo>
                      <a:pt x="2686561" y="1582651"/>
                    </a:lnTo>
                    <a:lnTo>
                      <a:pt x="2686561" y="1582651"/>
                    </a:lnTo>
                    <a:lnTo>
                      <a:pt x="2686561" y="1583409"/>
                    </a:lnTo>
                    <a:cubicBezTo>
                      <a:pt x="2686561" y="1583409"/>
                      <a:pt x="2686561" y="1583409"/>
                      <a:pt x="2686561" y="1583409"/>
                    </a:cubicBezTo>
                    <a:cubicBezTo>
                      <a:pt x="2686561" y="1583409"/>
                      <a:pt x="2686561" y="1583409"/>
                      <a:pt x="2686561" y="1583409"/>
                    </a:cubicBezTo>
                    <a:lnTo>
                      <a:pt x="2446052" y="1583409"/>
                    </a:lnTo>
                    <a:cubicBezTo>
                      <a:pt x="2443776" y="1583409"/>
                      <a:pt x="2425568" y="1664590"/>
                      <a:pt x="2423291" y="1672557"/>
                    </a:cubicBezTo>
                    <a:cubicBezTo>
                      <a:pt x="2413808" y="1705181"/>
                      <a:pt x="2402427" y="1737426"/>
                      <a:pt x="2389909" y="1768912"/>
                    </a:cubicBezTo>
                    <a:cubicBezTo>
                      <a:pt x="2363354" y="1835677"/>
                      <a:pt x="2329971" y="1898270"/>
                      <a:pt x="2292415" y="1959346"/>
                    </a:cubicBezTo>
                    <a:lnTo>
                      <a:pt x="2284449" y="1972244"/>
                    </a:lnTo>
                    <a:lnTo>
                      <a:pt x="2295071" y="1982865"/>
                    </a:lnTo>
                    <a:lnTo>
                      <a:pt x="2313280" y="2001074"/>
                    </a:lnTo>
                    <a:lnTo>
                      <a:pt x="2454019" y="2141813"/>
                    </a:lnTo>
                    <a:cubicBezTo>
                      <a:pt x="2454019" y="2141813"/>
                      <a:pt x="2454019" y="2141813"/>
                      <a:pt x="2454019" y="2141813"/>
                    </a:cubicBezTo>
                    <a:lnTo>
                      <a:pt x="2454019" y="2141813"/>
                    </a:lnTo>
                    <a:lnTo>
                      <a:pt x="2454019" y="2142572"/>
                    </a:lnTo>
                    <a:cubicBezTo>
                      <a:pt x="2454019" y="2142572"/>
                      <a:pt x="2454019" y="2142572"/>
                      <a:pt x="2454019" y="2142572"/>
                    </a:cubicBezTo>
                    <a:lnTo>
                      <a:pt x="2143331" y="2453260"/>
                    </a:lnTo>
                    <a:cubicBezTo>
                      <a:pt x="2143331" y="2453260"/>
                      <a:pt x="2143331" y="2453260"/>
                      <a:pt x="2143331" y="2453260"/>
                    </a:cubicBezTo>
                    <a:lnTo>
                      <a:pt x="2142572" y="2453260"/>
                    </a:lnTo>
                    <a:cubicBezTo>
                      <a:pt x="2142572" y="2453260"/>
                      <a:pt x="2142572" y="2453260"/>
                      <a:pt x="2142572" y="2453260"/>
                    </a:cubicBezTo>
                    <a:lnTo>
                      <a:pt x="2001833" y="2312521"/>
                    </a:lnTo>
                    <a:lnTo>
                      <a:pt x="1983624" y="2294312"/>
                    </a:lnTo>
                    <a:cubicBezTo>
                      <a:pt x="1980210" y="2290898"/>
                      <a:pt x="1976416" y="2287105"/>
                      <a:pt x="1973002" y="2283690"/>
                    </a:cubicBezTo>
                    <a:cubicBezTo>
                      <a:pt x="1947965" y="2295830"/>
                      <a:pt x="1924445" y="2313659"/>
                      <a:pt x="1900167" y="2327316"/>
                    </a:cubicBezTo>
                    <a:cubicBezTo>
                      <a:pt x="1873613" y="2342111"/>
                      <a:pt x="1845920" y="2355767"/>
                      <a:pt x="1818227" y="2368286"/>
                    </a:cubicBezTo>
                    <a:cubicBezTo>
                      <a:pt x="1755634" y="2396358"/>
                      <a:pt x="1690766" y="2419119"/>
                      <a:pt x="1624379" y="2435051"/>
                    </a:cubicBezTo>
                    <a:lnTo>
                      <a:pt x="1598963" y="2441121"/>
                    </a:lnTo>
                    <a:lnTo>
                      <a:pt x="1584168" y="2444535"/>
                    </a:lnTo>
                    <a:lnTo>
                      <a:pt x="1584168" y="2684664"/>
                    </a:lnTo>
                    <a:lnTo>
                      <a:pt x="1584168" y="2684664"/>
                    </a:lnTo>
                    <a:cubicBezTo>
                      <a:pt x="1584168" y="2684664"/>
                      <a:pt x="1584168" y="2685423"/>
                      <a:pt x="1584168" y="2685423"/>
                    </a:cubicBezTo>
                    <a:cubicBezTo>
                      <a:pt x="1584168" y="2685423"/>
                      <a:pt x="1584168" y="2685423"/>
                      <a:pt x="1584168" y="2685423"/>
                    </a:cubicBezTo>
                    <a:lnTo>
                      <a:pt x="1143742" y="2685423"/>
                    </a:lnTo>
                    <a:cubicBezTo>
                      <a:pt x="1143742" y="2685423"/>
                      <a:pt x="1143742" y="2685423"/>
                      <a:pt x="1143742" y="2685423"/>
                    </a:cubicBezTo>
                    <a:cubicBezTo>
                      <a:pt x="1143742" y="2685423"/>
                      <a:pt x="1143742" y="2685423"/>
                      <a:pt x="1143742" y="2685423"/>
                    </a:cubicBezTo>
                    <a:lnTo>
                      <a:pt x="1143742" y="2685423"/>
                    </a:lnTo>
                    <a:lnTo>
                      <a:pt x="1143742" y="2444914"/>
                    </a:lnTo>
                    <a:cubicBezTo>
                      <a:pt x="1143742" y="2443018"/>
                      <a:pt x="1059147" y="2423671"/>
                      <a:pt x="1051180" y="2421015"/>
                    </a:cubicBezTo>
                    <a:cubicBezTo>
                      <a:pt x="1018177" y="2411152"/>
                      <a:pt x="985553" y="2399772"/>
                      <a:pt x="953687" y="2386874"/>
                    </a:cubicBezTo>
                    <a:cubicBezTo>
                      <a:pt x="889577" y="2361078"/>
                      <a:pt x="828122" y="2329592"/>
                      <a:pt x="769702" y="2292795"/>
                    </a:cubicBezTo>
                    <a:cubicBezTo>
                      <a:pt x="764771" y="2289760"/>
                      <a:pt x="759839" y="2286725"/>
                      <a:pt x="754908" y="2283690"/>
                    </a:cubicBezTo>
                    <a:lnTo>
                      <a:pt x="744286" y="2294312"/>
                    </a:lnTo>
                    <a:lnTo>
                      <a:pt x="726077" y="2312521"/>
                    </a:lnTo>
                    <a:lnTo>
                      <a:pt x="585338" y="2453260"/>
                    </a:lnTo>
                    <a:cubicBezTo>
                      <a:pt x="585338" y="2453260"/>
                      <a:pt x="585338" y="2453260"/>
                      <a:pt x="585338" y="2453260"/>
                    </a:cubicBezTo>
                    <a:lnTo>
                      <a:pt x="584579" y="2453260"/>
                    </a:lnTo>
                    <a:cubicBezTo>
                      <a:pt x="584579" y="2453260"/>
                      <a:pt x="584579" y="2453260"/>
                      <a:pt x="584579" y="2453260"/>
                    </a:cubicBezTo>
                    <a:cubicBezTo>
                      <a:pt x="584579" y="2453260"/>
                      <a:pt x="273891" y="2142572"/>
                      <a:pt x="273891" y="2142572"/>
                    </a:cubicBezTo>
                    <a:cubicBezTo>
                      <a:pt x="273891" y="2142572"/>
                      <a:pt x="273891" y="2142572"/>
                      <a:pt x="273891" y="2142572"/>
                    </a:cubicBezTo>
                    <a:lnTo>
                      <a:pt x="273891" y="2142572"/>
                    </a:lnTo>
                    <a:lnTo>
                      <a:pt x="273891" y="2141813"/>
                    </a:lnTo>
                    <a:cubicBezTo>
                      <a:pt x="273891" y="2141813"/>
                      <a:pt x="273891" y="2141813"/>
                      <a:pt x="273891" y="2141813"/>
                    </a:cubicBezTo>
                    <a:lnTo>
                      <a:pt x="414630" y="2001074"/>
                    </a:lnTo>
                    <a:lnTo>
                      <a:pt x="432839" y="1982865"/>
                    </a:lnTo>
                    <a:cubicBezTo>
                      <a:pt x="443081" y="1972623"/>
                      <a:pt x="443840" y="1971864"/>
                      <a:pt x="435494" y="1958966"/>
                    </a:cubicBezTo>
                    <a:cubicBezTo>
                      <a:pt x="427149" y="1946068"/>
                      <a:pt x="418424" y="1931653"/>
                      <a:pt x="410457" y="1917997"/>
                    </a:cubicBezTo>
                    <a:cubicBezTo>
                      <a:pt x="394904" y="1891063"/>
                      <a:pt x="380109" y="1862991"/>
                      <a:pt x="366832" y="1834919"/>
                    </a:cubicBezTo>
                    <a:cubicBezTo>
                      <a:pt x="339898" y="1777637"/>
                      <a:pt x="317516" y="1718079"/>
                      <a:pt x="300825" y="1656624"/>
                    </a:cubicBezTo>
                    <a:cubicBezTo>
                      <a:pt x="296273" y="1640312"/>
                      <a:pt x="292100" y="1623620"/>
                      <a:pt x="287927" y="1607308"/>
                    </a:cubicBezTo>
                    <a:cubicBezTo>
                      <a:pt x="283754" y="1590617"/>
                      <a:pt x="285272" y="1583409"/>
                      <a:pt x="267063" y="1583409"/>
                    </a:cubicBezTo>
                    <a:lnTo>
                      <a:pt x="38694" y="1583409"/>
                    </a:lnTo>
                    <a:cubicBezTo>
                      <a:pt x="38694" y="1583409"/>
                      <a:pt x="38694" y="1583409"/>
                      <a:pt x="38694" y="1583409"/>
                    </a:cubicBezTo>
                    <a:cubicBezTo>
                      <a:pt x="38694" y="1583409"/>
                      <a:pt x="38694" y="1583409"/>
                      <a:pt x="38694" y="1583409"/>
                    </a:cubicBezTo>
                    <a:lnTo>
                      <a:pt x="38694" y="1583409"/>
                    </a:lnTo>
                    <a:lnTo>
                      <a:pt x="38694" y="1143363"/>
                    </a:lnTo>
                    <a:lnTo>
                      <a:pt x="38694" y="1143363"/>
                    </a:lnTo>
                    <a:lnTo>
                      <a:pt x="38694" y="1142604"/>
                    </a:lnTo>
                    <a:cubicBezTo>
                      <a:pt x="38694" y="1142604"/>
                      <a:pt x="38694" y="1142604"/>
                      <a:pt x="38694" y="1142604"/>
                    </a:cubicBezTo>
                    <a:cubicBezTo>
                      <a:pt x="38694" y="1142604"/>
                      <a:pt x="38694" y="1142604"/>
                      <a:pt x="38694" y="1142604"/>
                    </a:cubicBezTo>
                    <a:lnTo>
                      <a:pt x="238232" y="1142604"/>
                    </a:lnTo>
                    <a:cubicBezTo>
                      <a:pt x="251889" y="1142604"/>
                      <a:pt x="265925" y="1142604"/>
                      <a:pt x="279581" y="1142604"/>
                    </a:cubicBezTo>
                    <a:cubicBezTo>
                      <a:pt x="281099" y="1142604"/>
                      <a:pt x="301963" y="1053077"/>
                      <a:pt x="304619" y="1044731"/>
                    </a:cubicBezTo>
                    <a:cubicBezTo>
                      <a:pt x="314482" y="1011728"/>
                      <a:pt x="326241" y="979483"/>
                      <a:pt x="339139" y="947618"/>
                    </a:cubicBezTo>
                    <a:cubicBezTo>
                      <a:pt x="364935" y="884266"/>
                      <a:pt x="396421" y="822053"/>
                      <a:pt x="433977" y="764391"/>
                    </a:cubicBezTo>
                    <a:cubicBezTo>
                      <a:pt x="441943" y="752632"/>
                      <a:pt x="439288" y="752632"/>
                      <a:pt x="429804" y="743148"/>
                    </a:cubicBezTo>
                    <a:lnTo>
                      <a:pt x="411595" y="724939"/>
                    </a:lnTo>
                    <a:lnTo>
                      <a:pt x="270856" y="584200"/>
                    </a:lnTo>
                    <a:cubicBezTo>
                      <a:pt x="270856" y="584200"/>
                      <a:pt x="270856" y="584200"/>
                      <a:pt x="270856" y="584200"/>
                    </a:cubicBezTo>
                    <a:lnTo>
                      <a:pt x="270856" y="584200"/>
                    </a:lnTo>
                    <a:lnTo>
                      <a:pt x="270856" y="583441"/>
                    </a:lnTo>
                    <a:cubicBezTo>
                      <a:pt x="270856" y="583441"/>
                      <a:pt x="270856" y="583441"/>
                      <a:pt x="270856" y="583441"/>
                    </a:cubicBezTo>
                    <a:lnTo>
                      <a:pt x="581544" y="271236"/>
                    </a:lnTo>
                    <a:cubicBezTo>
                      <a:pt x="581544" y="271236"/>
                      <a:pt x="581544" y="271236"/>
                      <a:pt x="581544" y="271236"/>
                    </a:cubicBezTo>
                    <a:lnTo>
                      <a:pt x="582303" y="271236"/>
                    </a:lnTo>
                    <a:cubicBezTo>
                      <a:pt x="582303" y="271236"/>
                      <a:pt x="582303" y="271236"/>
                      <a:pt x="582303" y="271236"/>
                    </a:cubicBezTo>
                    <a:lnTo>
                      <a:pt x="723042" y="411975"/>
                    </a:lnTo>
                    <a:lnTo>
                      <a:pt x="741251" y="430184"/>
                    </a:lnTo>
                    <a:lnTo>
                      <a:pt x="751873" y="440805"/>
                    </a:lnTo>
                    <a:cubicBezTo>
                      <a:pt x="751873" y="440805"/>
                      <a:pt x="826984" y="396042"/>
                      <a:pt x="834571" y="391869"/>
                    </a:cubicBezTo>
                    <a:cubicBezTo>
                      <a:pt x="864919" y="375557"/>
                      <a:pt x="896026" y="360383"/>
                      <a:pt x="927512" y="347106"/>
                    </a:cubicBezTo>
                    <a:cubicBezTo>
                      <a:pt x="990864" y="320172"/>
                      <a:pt x="1056871" y="298549"/>
                      <a:pt x="1124016" y="283754"/>
                    </a:cubicBezTo>
                    <a:cubicBezTo>
                      <a:pt x="1129706" y="282616"/>
                      <a:pt x="1135396" y="281478"/>
                      <a:pt x="1140707" y="279961"/>
                    </a:cubicBezTo>
                    <a:lnTo>
                      <a:pt x="1140707" y="39832"/>
                    </a:lnTo>
                    <a:lnTo>
                      <a:pt x="1140707" y="39832"/>
                    </a:lnTo>
                    <a:cubicBezTo>
                      <a:pt x="1140707" y="39832"/>
                      <a:pt x="1140707" y="39073"/>
                      <a:pt x="1140707" y="39073"/>
                    </a:cubicBezTo>
                    <a:lnTo>
                      <a:pt x="1140707" y="39073"/>
                    </a:lnTo>
                    <a:cubicBezTo>
                      <a:pt x="1140707" y="39073"/>
                      <a:pt x="1140707" y="39073"/>
                      <a:pt x="1141087" y="39073"/>
                    </a:cubicBezTo>
                    <a:lnTo>
                      <a:pt x="1581133" y="39073"/>
                    </a:lnTo>
                    <a:cubicBezTo>
                      <a:pt x="1581133" y="39073"/>
                      <a:pt x="1581133" y="39073"/>
                      <a:pt x="1581133" y="39073"/>
                    </a:cubicBezTo>
                    <a:cubicBezTo>
                      <a:pt x="1581133" y="39073"/>
                      <a:pt x="1581133" y="39073"/>
                      <a:pt x="1581133" y="39073"/>
                    </a:cubicBezTo>
                    <a:lnTo>
                      <a:pt x="1581133" y="39073"/>
                    </a:lnTo>
                    <a:lnTo>
                      <a:pt x="1581133" y="279581"/>
                    </a:lnTo>
                    <a:cubicBezTo>
                      <a:pt x="1581133" y="281478"/>
                      <a:pt x="1664590" y="300446"/>
                      <a:pt x="1672557" y="303101"/>
                    </a:cubicBezTo>
                    <a:cubicBezTo>
                      <a:pt x="1705560" y="312964"/>
                      <a:pt x="1738184" y="324345"/>
                      <a:pt x="1770050" y="337243"/>
                    </a:cubicBezTo>
                    <a:cubicBezTo>
                      <a:pt x="1834160" y="363038"/>
                      <a:pt x="1895615" y="394145"/>
                      <a:pt x="1954035" y="430942"/>
                    </a:cubicBezTo>
                    <a:cubicBezTo>
                      <a:pt x="1958966" y="433977"/>
                      <a:pt x="1965795" y="440805"/>
                      <a:pt x="1971485" y="439288"/>
                    </a:cubicBezTo>
                    <a:cubicBezTo>
                      <a:pt x="1974520" y="438529"/>
                      <a:pt x="1978313" y="432460"/>
                      <a:pt x="1980589" y="430184"/>
                    </a:cubicBezTo>
                    <a:lnTo>
                      <a:pt x="1998798" y="411975"/>
                    </a:lnTo>
                    <a:lnTo>
                      <a:pt x="2139537" y="271236"/>
                    </a:lnTo>
                    <a:cubicBezTo>
                      <a:pt x="2139537" y="271236"/>
                      <a:pt x="2139537" y="271236"/>
                      <a:pt x="2139537" y="271236"/>
                    </a:cubicBezTo>
                    <a:lnTo>
                      <a:pt x="2140296" y="271236"/>
                    </a:lnTo>
                    <a:cubicBezTo>
                      <a:pt x="2140296" y="271236"/>
                      <a:pt x="2140296" y="271236"/>
                      <a:pt x="2140296" y="271236"/>
                    </a:cubicBezTo>
                    <a:lnTo>
                      <a:pt x="2450984" y="581924"/>
                    </a:lnTo>
                    <a:cubicBezTo>
                      <a:pt x="2450984" y="581924"/>
                      <a:pt x="2450984" y="581924"/>
                      <a:pt x="2450984" y="581924"/>
                    </a:cubicBezTo>
                    <a:lnTo>
                      <a:pt x="2450984" y="581924"/>
                    </a:lnTo>
                    <a:lnTo>
                      <a:pt x="2450984" y="582682"/>
                    </a:lnTo>
                    <a:cubicBezTo>
                      <a:pt x="2450984" y="582682"/>
                      <a:pt x="2450984" y="582682"/>
                      <a:pt x="2450984" y="582682"/>
                    </a:cubicBezTo>
                    <a:lnTo>
                      <a:pt x="2310245" y="723422"/>
                    </a:lnTo>
                    <a:lnTo>
                      <a:pt x="2292036" y="741630"/>
                    </a:lnTo>
                    <a:lnTo>
                      <a:pt x="2281414" y="752252"/>
                    </a:lnTo>
                    <a:cubicBezTo>
                      <a:pt x="2281414" y="752252"/>
                      <a:pt x="2325419" y="825846"/>
                      <a:pt x="2329592" y="833433"/>
                    </a:cubicBezTo>
                    <a:cubicBezTo>
                      <a:pt x="2345904" y="863781"/>
                      <a:pt x="2361078" y="894888"/>
                      <a:pt x="2374735" y="926374"/>
                    </a:cubicBezTo>
                    <a:cubicBezTo>
                      <a:pt x="2402048" y="989726"/>
                      <a:pt x="2423291" y="1055733"/>
                      <a:pt x="2438466" y="1122878"/>
                    </a:cubicBezTo>
                    <a:cubicBezTo>
                      <a:pt x="2439983" y="1128947"/>
                      <a:pt x="2441121" y="1135017"/>
                      <a:pt x="2442638" y="1141087"/>
                    </a:cubicBezTo>
                    <a:lnTo>
                      <a:pt x="2683147" y="1141087"/>
                    </a:lnTo>
                    <a:cubicBezTo>
                      <a:pt x="2683147" y="1141087"/>
                      <a:pt x="2683147" y="1141087"/>
                      <a:pt x="2683147" y="1141087"/>
                    </a:cubicBezTo>
                    <a:cubicBezTo>
                      <a:pt x="2683147" y="1141087"/>
                      <a:pt x="2683147" y="1141087"/>
                      <a:pt x="2683147" y="1141087"/>
                    </a:cubicBezTo>
                    <a:lnTo>
                      <a:pt x="2683147" y="1141087"/>
                    </a:lnTo>
                    <a:close/>
                    <a:moveTo>
                      <a:pt x="2687319" y="1583789"/>
                    </a:moveTo>
                    <a:lnTo>
                      <a:pt x="2686940" y="1583789"/>
                    </a:lnTo>
                    <a:cubicBezTo>
                      <a:pt x="2686940" y="1583789"/>
                      <a:pt x="2686940" y="1583409"/>
                      <a:pt x="2686940" y="1583409"/>
                    </a:cubicBezTo>
                    <a:lnTo>
                      <a:pt x="2687699" y="1584168"/>
                    </a:lnTo>
                    <a:lnTo>
                      <a:pt x="2688078" y="1584168"/>
                    </a:lnTo>
                    <a:cubicBezTo>
                      <a:pt x="2688078" y="1584168"/>
                      <a:pt x="2687319" y="1584168"/>
                      <a:pt x="2687319" y="1584168"/>
                    </a:cubicBezTo>
                    <a:close/>
                  </a:path>
                </a:pathLst>
              </a:custGeom>
              <a:solidFill>
                <a:schemeClr val="bg1"/>
              </a:solidFill>
              <a:ln w="0"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7" name="Freeform 46">
                <a:extLst>
                  <a:ext uri="{FF2B5EF4-FFF2-40B4-BE49-F238E27FC236}">
                    <a16:creationId xmlns:a16="http://schemas.microsoft.com/office/drawing/2014/main" id="{D4F54C37-E499-1B27-2E26-8FD4381AAD28}"/>
                  </a:ext>
                </a:extLst>
              </p:cNvPr>
              <p:cNvSpPr/>
              <p:nvPr/>
            </p:nvSpPr>
            <p:spPr>
              <a:xfrm>
                <a:off x="13690464" y="4909934"/>
                <a:ext cx="2091165" cy="1500731"/>
              </a:xfrm>
              <a:custGeom>
                <a:avLst/>
                <a:gdLst>
                  <a:gd name="connsiteX0" fmla="*/ 1318428 w 1391051"/>
                  <a:gd name="connsiteY0" fmla="*/ 0 h 998292"/>
                  <a:gd name="connsiteX1" fmla="*/ 1391052 w 1391051"/>
                  <a:gd name="connsiteY1" fmla="*/ 72379 h 998292"/>
                  <a:gd name="connsiteX2" fmla="*/ 1391052 w 1391051"/>
                  <a:gd name="connsiteY2" fmla="*/ 925913 h 998292"/>
                  <a:gd name="connsiteX3" fmla="*/ 1318428 w 1391051"/>
                  <a:gd name="connsiteY3" fmla="*/ 998292 h 998292"/>
                  <a:gd name="connsiteX4" fmla="*/ 72624 w 1391051"/>
                  <a:gd name="connsiteY4" fmla="*/ 998292 h 998292"/>
                  <a:gd name="connsiteX5" fmla="*/ 0 w 1391051"/>
                  <a:gd name="connsiteY5" fmla="*/ 925913 h 998292"/>
                  <a:gd name="connsiteX6" fmla="*/ 0 w 1391051"/>
                  <a:gd name="connsiteY6" fmla="*/ 72379 h 998292"/>
                  <a:gd name="connsiteX7" fmla="*/ 72624 w 1391051"/>
                  <a:gd name="connsiteY7" fmla="*/ 0 h 99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1051" h="998292">
                    <a:moveTo>
                      <a:pt x="1318428" y="0"/>
                    </a:moveTo>
                    <a:cubicBezTo>
                      <a:pt x="1358537" y="0"/>
                      <a:pt x="1391052" y="32405"/>
                      <a:pt x="1391052" y="72379"/>
                    </a:cubicBezTo>
                    <a:lnTo>
                      <a:pt x="1391052" y="925913"/>
                    </a:lnTo>
                    <a:cubicBezTo>
                      <a:pt x="1391052" y="965887"/>
                      <a:pt x="1358537" y="998292"/>
                      <a:pt x="1318428" y="998292"/>
                    </a:cubicBezTo>
                    <a:lnTo>
                      <a:pt x="72624" y="998292"/>
                    </a:lnTo>
                    <a:cubicBezTo>
                      <a:pt x="32515" y="998292"/>
                      <a:pt x="0" y="965887"/>
                      <a:pt x="0" y="925913"/>
                    </a:cubicBezTo>
                    <a:lnTo>
                      <a:pt x="0" y="72379"/>
                    </a:lnTo>
                    <a:cubicBezTo>
                      <a:pt x="0" y="32405"/>
                      <a:pt x="32515" y="0"/>
                      <a:pt x="72624" y="0"/>
                    </a:cubicBezTo>
                    <a:close/>
                  </a:path>
                </a:pathLst>
              </a:custGeom>
              <a:solidFill>
                <a:schemeClr val="accent1"/>
              </a:solid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48" name="Freeform 47">
                <a:extLst>
                  <a:ext uri="{FF2B5EF4-FFF2-40B4-BE49-F238E27FC236}">
                    <a16:creationId xmlns:a16="http://schemas.microsoft.com/office/drawing/2014/main" id="{5E14C443-EF5A-A465-7275-1CF251378B8F}"/>
                  </a:ext>
                </a:extLst>
              </p:cNvPr>
              <p:cNvSpPr/>
              <p:nvPr/>
            </p:nvSpPr>
            <p:spPr>
              <a:xfrm>
                <a:off x="13733147" y="4954499"/>
                <a:ext cx="2006961" cy="761651"/>
              </a:xfrm>
              <a:custGeom>
                <a:avLst/>
                <a:gdLst>
                  <a:gd name="connsiteX0" fmla="*/ 0 w 1335038"/>
                  <a:gd name="connsiteY0" fmla="*/ 2887 h 506653"/>
                  <a:gd name="connsiteX1" fmla="*/ 667519 w 1335038"/>
                  <a:gd name="connsiteY1" fmla="*/ 506654 h 506653"/>
                  <a:gd name="connsiteX2" fmla="*/ 1335039 w 1335038"/>
                  <a:gd name="connsiteY2" fmla="*/ 0 h 506653"/>
                </a:gdLst>
                <a:ahLst/>
                <a:cxnLst>
                  <a:cxn ang="0">
                    <a:pos x="connsiteX0" y="connsiteY0"/>
                  </a:cxn>
                  <a:cxn ang="0">
                    <a:pos x="connsiteX1" y="connsiteY1"/>
                  </a:cxn>
                  <a:cxn ang="0">
                    <a:pos x="connsiteX2" y="connsiteY2"/>
                  </a:cxn>
                </a:cxnLst>
                <a:rect l="l" t="t" r="r" b="b"/>
                <a:pathLst>
                  <a:path w="1335038" h="506653">
                    <a:moveTo>
                      <a:pt x="0" y="2887"/>
                    </a:moveTo>
                    <a:lnTo>
                      <a:pt x="667519" y="506654"/>
                    </a:lnTo>
                    <a:lnTo>
                      <a:pt x="1335039" y="0"/>
                    </a:lnTo>
                  </a:path>
                </a:pathLst>
              </a:custGeom>
              <a:solidFill>
                <a:schemeClr val="accent1"/>
              </a:solidFill>
              <a:ln w="19050" cap="rnd">
                <a:solidFill>
                  <a:schemeClr val="bg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sp>
          <p:nvSpPr>
            <p:cNvPr id="21" name="Freeform 20">
              <a:extLst>
                <a:ext uri="{FF2B5EF4-FFF2-40B4-BE49-F238E27FC236}">
                  <a16:creationId xmlns:a16="http://schemas.microsoft.com/office/drawing/2014/main" id="{965B673C-3CB2-8ED2-D9CB-3B6D8970E9B1}"/>
                </a:ext>
              </a:extLst>
            </p:cNvPr>
            <p:cNvSpPr/>
            <p:nvPr/>
          </p:nvSpPr>
          <p:spPr>
            <a:xfrm rot="10800000">
              <a:off x="7053944" y="0"/>
              <a:ext cx="4180114" cy="7630886"/>
            </a:xfrm>
            <a:custGeom>
              <a:avLst/>
              <a:gdLst>
                <a:gd name="connsiteX0" fmla="*/ 2090058 w 4180114"/>
                <a:gd name="connsiteY0" fmla="*/ 3858986 h 7630886"/>
                <a:gd name="connsiteX1" fmla="*/ 3715658 w 4180114"/>
                <a:gd name="connsiteY1" fmla="*/ 2233386 h 7630886"/>
                <a:gd name="connsiteX2" fmla="*/ 2090058 w 4180114"/>
                <a:gd name="connsiteY2" fmla="*/ 607786 h 7630886"/>
                <a:gd name="connsiteX3" fmla="*/ 464458 w 4180114"/>
                <a:gd name="connsiteY3" fmla="*/ 2233386 h 7630886"/>
                <a:gd name="connsiteX4" fmla="*/ 2090058 w 4180114"/>
                <a:gd name="connsiteY4" fmla="*/ 3858986 h 7630886"/>
                <a:gd name="connsiteX5" fmla="*/ 4180114 w 4180114"/>
                <a:gd name="connsiteY5" fmla="*/ 7630886 h 7630886"/>
                <a:gd name="connsiteX6" fmla="*/ 0 w 4180114"/>
                <a:gd name="connsiteY6" fmla="*/ 7630886 h 7630886"/>
                <a:gd name="connsiteX7" fmla="*/ 0 w 4180114"/>
                <a:gd name="connsiteY7" fmla="*/ 2090057 h 7630886"/>
                <a:gd name="connsiteX8" fmla="*/ 2090057 w 4180114"/>
                <a:gd name="connsiteY8" fmla="*/ 0 h 7630886"/>
                <a:gd name="connsiteX9" fmla="*/ 4180114 w 4180114"/>
                <a:gd name="connsiteY9" fmla="*/ 2090057 h 763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0114" h="7630886">
                  <a:moveTo>
                    <a:pt x="2090058" y="3858986"/>
                  </a:moveTo>
                  <a:cubicBezTo>
                    <a:pt x="2987852" y="3858986"/>
                    <a:pt x="3715658" y="3131180"/>
                    <a:pt x="3715658" y="2233386"/>
                  </a:cubicBezTo>
                  <a:cubicBezTo>
                    <a:pt x="3715658" y="1335592"/>
                    <a:pt x="2987852" y="607786"/>
                    <a:pt x="2090058" y="607786"/>
                  </a:cubicBezTo>
                  <a:cubicBezTo>
                    <a:pt x="1192264" y="607786"/>
                    <a:pt x="464458" y="1335592"/>
                    <a:pt x="464458" y="2233386"/>
                  </a:cubicBezTo>
                  <a:cubicBezTo>
                    <a:pt x="464458" y="3131180"/>
                    <a:pt x="1192264" y="3858986"/>
                    <a:pt x="2090058" y="3858986"/>
                  </a:cubicBezTo>
                  <a:close/>
                  <a:moveTo>
                    <a:pt x="4180114" y="7630886"/>
                  </a:moveTo>
                  <a:lnTo>
                    <a:pt x="0" y="7630886"/>
                  </a:lnTo>
                  <a:lnTo>
                    <a:pt x="0" y="2090057"/>
                  </a:lnTo>
                  <a:cubicBezTo>
                    <a:pt x="0" y="935750"/>
                    <a:pt x="935750" y="0"/>
                    <a:pt x="2090057" y="0"/>
                  </a:cubicBezTo>
                  <a:cubicBezTo>
                    <a:pt x="3244364" y="0"/>
                    <a:pt x="4180114" y="935750"/>
                    <a:pt x="4180114" y="2090057"/>
                  </a:cubicBezTo>
                  <a:close/>
                </a:path>
              </a:pathLst>
            </a:cu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22" name="!!_Buys AI">
              <a:extLst>
                <a:ext uri="{FF2B5EF4-FFF2-40B4-BE49-F238E27FC236}">
                  <a16:creationId xmlns:a16="http://schemas.microsoft.com/office/drawing/2014/main" id="{68F8D6D2-1252-CDAF-A8D7-370C2D872D67}"/>
                </a:ext>
              </a:extLst>
            </p:cNvPr>
            <p:cNvSpPr txBox="1"/>
            <p:nvPr/>
          </p:nvSpPr>
          <p:spPr>
            <a:xfrm>
              <a:off x="8164954" y="2322244"/>
              <a:ext cx="1958100"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nova Bold"/>
                  <a:ea typeface="+mn-ea"/>
                  <a:cs typeface="+mn-cs"/>
                </a:rPr>
                <a:t>Generate</a:t>
              </a:r>
              <a:br>
                <a:rPr kumimoji="0" lang="en-US" sz="3600" b="0" i="0" u="none" strike="noStrike" kern="1200" cap="none" spc="0" normalizeH="0" baseline="0" noProof="0">
                  <a:ln>
                    <a:noFill/>
                  </a:ln>
                  <a:solidFill>
                    <a:srgbClr val="FFFFFF"/>
                  </a:solidFill>
                  <a:effectLst/>
                  <a:uLnTx/>
                  <a:uFillTx/>
                  <a:latin typeface="Anova Bold"/>
                  <a:ea typeface="+mn-ea"/>
                  <a:cs typeface="+mn-cs"/>
                </a:rPr>
              </a:br>
              <a:r>
                <a:rPr kumimoji="0" lang="en-US" sz="3600" b="0" i="0" u="none" strike="noStrike" kern="1200" cap="none" spc="0" normalizeH="0" baseline="0" noProof="0">
                  <a:ln>
                    <a:noFill/>
                  </a:ln>
                  <a:solidFill>
                    <a:srgbClr val="FFFFFF"/>
                  </a:solidFill>
                  <a:effectLst/>
                  <a:uLnTx/>
                  <a:uFillTx/>
                  <a:latin typeface="Anova Light"/>
                  <a:ea typeface="+mn-ea"/>
                  <a:cs typeface="+mn-cs"/>
                </a:rPr>
                <a:t>a Reply</a:t>
              </a:r>
            </a:p>
          </p:txBody>
        </p:sp>
      </p:grpSp>
      <p:grpSp>
        <p:nvGrpSpPr>
          <p:cNvPr id="49" name="Group 48">
            <a:extLst>
              <a:ext uri="{FF2B5EF4-FFF2-40B4-BE49-F238E27FC236}">
                <a16:creationId xmlns:a16="http://schemas.microsoft.com/office/drawing/2014/main" id="{50008B42-7F4B-0122-9E3D-5A67F05818DF}"/>
              </a:ext>
            </a:extLst>
          </p:cNvPr>
          <p:cNvGrpSpPr/>
          <p:nvPr/>
        </p:nvGrpSpPr>
        <p:grpSpPr>
          <a:xfrm>
            <a:off x="12555338" y="0"/>
            <a:ext cx="4232324" cy="7696622"/>
            <a:chOff x="12555338" y="0"/>
            <a:chExt cx="4232324" cy="7696622"/>
          </a:xfrm>
        </p:grpSpPr>
        <p:sp>
          <p:nvSpPr>
            <p:cNvPr id="50" name="!!_Subscribers_Oval">
              <a:extLst>
                <a:ext uri="{FF2B5EF4-FFF2-40B4-BE49-F238E27FC236}">
                  <a16:creationId xmlns:a16="http://schemas.microsoft.com/office/drawing/2014/main" id="{7BA8B631-6C1A-E6CF-13EF-8E60CE4A9CBD}"/>
                </a:ext>
              </a:extLst>
            </p:cNvPr>
            <p:cNvSpPr/>
            <p:nvPr/>
          </p:nvSpPr>
          <p:spPr>
            <a:xfrm>
              <a:off x="13073268" y="3766464"/>
              <a:ext cx="3251200" cy="32512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nvGrpSpPr>
            <p:cNvPr id="51" name="Group 50">
              <a:extLst>
                <a:ext uri="{FF2B5EF4-FFF2-40B4-BE49-F238E27FC236}">
                  <a16:creationId xmlns:a16="http://schemas.microsoft.com/office/drawing/2014/main" id="{A97A7010-F439-9B29-90DC-A599CD1C35EC}"/>
                </a:ext>
              </a:extLst>
            </p:cNvPr>
            <p:cNvGrpSpPr/>
            <p:nvPr/>
          </p:nvGrpSpPr>
          <p:grpSpPr>
            <a:xfrm>
              <a:off x="12555338" y="4183152"/>
              <a:ext cx="3513469" cy="3513470"/>
              <a:chOff x="14146135" y="4286342"/>
              <a:chExt cx="2082800" cy="2082800"/>
            </a:xfrm>
          </p:grpSpPr>
          <p:sp>
            <p:nvSpPr>
              <p:cNvPr id="54" name="Freeform 53">
                <a:extLst>
                  <a:ext uri="{FF2B5EF4-FFF2-40B4-BE49-F238E27FC236}">
                    <a16:creationId xmlns:a16="http://schemas.microsoft.com/office/drawing/2014/main" id="{B093826E-58E5-785A-61E2-7CBD813DEEA5}"/>
                  </a:ext>
                </a:extLst>
              </p:cNvPr>
              <p:cNvSpPr/>
              <p:nvPr/>
            </p:nvSpPr>
            <p:spPr>
              <a:xfrm>
                <a:off x="14428042" y="5096069"/>
                <a:ext cx="1119673" cy="933061"/>
              </a:xfrm>
              <a:custGeom>
                <a:avLst/>
                <a:gdLst>
                  <a:gd name="connsiteX0" fmla="*/ 0 w 1119673"/>
                  <a:gd name="connsiteY0" fmla="*/ 93306 h 933061"/>
                  <a:gd name="connsiteX1" fmla="*/ 0 w 1119673"/>
                  <a:gd name="connsiteY1" fmla="*/ 93306 h 933061"/>
                  <a:gd name="connsiteX2" fmla="*/ 55984 w 1119673"/>
                  <a:gd name="connsiteY2" fmla="*/ 242596 h 933061"/>
                  <a:gd name="connsiteX3" fmla="*/ 18661 w 1119673"/>
                  <a:gd name="connsiteY3" fmla="*/ 279918 h 933061"/>
                  <a:gd name="connsiteX4" fmla="*/ 74645 w 1119673"/>
                  <a:gd name="connsiteY4" fmla="*/ 429208 h 933061"/>
                  <a:gd name="connsiteX5" fmla="*/ 130629 w 1119673"/>
                  <a:gd name="connsiteY5" fmla="*/ 447869 h 933061"/>
                  <a:gd name="connsiteX6" fmla="*/ 205273 w 1119673"/>
                  <a:gd name="connsiteY6" fmla="*/ 597159 h 933061"/>
                  <a:gd name="connsiteX7" fmla="*/ 223935 w 1119673"/>
                  <a:gd name="connsiteY7" fmla="*/ 653143 h 933061"/>
                  <a:gd name="connsiteX8" fmla="*/ 186612 w 1119673"/>
                  <a:gd name="connsiteY8" fmla="*/ 765110 h 933061"/>
                  <a:gd name="connsiteX9" fmla="*/ 466531 w 1119673"/>
                  <a:gd name="connsiteY9" fmla="*/ 821094 h 933061"/>
                  <a:gd name="connsiteX10" fmla="*/ 671804 w 1119673"/>
                  <a:gd name="connsiteY10" fmla="*/ 877078 h 933061"/>
                  <a:gd name="connsiteX11" fmla="*/ 727788 w 1119673"/>
                  <a:gd name="connsiteY11" fmla="*/ 895739 h 933061"/>
                  <a:gd name="connsiteX12" fmla="*/ 877078 w 1119673"/>
                  <a:gd name="connsiteY12" fmla="*/ 933061 h 933061"/>
                  <a:gd name="connsiteX13" fmla="*/ 933061 w 1119673"/>
                  <a:gd name="connsiteY13" fmla="*/ 914400 h 933061"/>
                  <a:gd name="connsiteX14" fmla="*/ 989045 w 1119673"/>
                  <a:gd name="connsiteY14" fmla="*/ 821094 h 933061"/>
                  <a:gd name="connsiteX15" fmla="*/ 1026367 w 1119673"/>
                  <a:gd name="connsiteY15" fmla="*/ 783771 h 933061"/>
                  <a:gd name="connsiteX16" fmla="*/ 1082351 w 1119673"/>
                  <a:gd name="connsiteY16" fmla="*/ 615820 h 933061"/>
                  <a:gd name="connsiteX17" fmla="*/ 1101012 w 1119673"/>
                  <a:gd name="connsiteY17" fmla="*/ 559837 h 933061"/>
                  <a:gd name="connsiteX18" fmla="*/ 1119673 w 1119673"/>
                  <a:gd name="connsiteY18" fmla="*/ 503853 h 933061"/>
                  <a:gd name="connsiteX19" fmla="*/ 1063690 w 1119673"/>
                  <a:gd name="connsiteY19" fmla="*/ 261257 h 933061"/>
                  <a:gd name="connsiteX20" fmla="*/ 1026367 w 1119673"/>
                  <a:gd name="connsiteY20" fmla="*/ 205274 h 933061"/>
                  <a:gd name="connsiteX21" fmla="*/ 989045 w 1119673"/>
                  <a:gd name="connsiteY21" fmla="*/ 130629 h 933061"/>
                  <a:gd name="connsiteX22" fmla="*/ 877078 w 1119673"/>
                  <a:gd name="connsiteY22" fmla="*/ 55984 h 933061"/>
                  <a:gd name="connsiteX23" fmla="*/ 765110 w 1119673"/>
                  <a:gd name="connsiteY23" fmla="*/ 0 h 933061"/>
                  <a:gd name="connsiteX24" fmla="*/ 447869 w 1119673"/>
                  <a:gd name="connsiteY24" fmla="*/ 18661 h 933061"/>
                  <a:gd name="connsiteX25" fmla="*/ 335902 w 1119673"/>
                  <a:gd name="connsiteY25" fmla="*/ 55984 h 933061"/>
                  <a:gd name="connsiteX26" fmla="*/ 279918 w 1119673"/>
                  <a:gd name="connsiteY26" fmla="*/ 74645 h 933061"/>
                  <a:gd name="connsiteX27" fmla="*/ 186612 w 1119673"/>
                  <a:gd name="connsiteY27" fmla="*/ 74645 h 933061"/>
                  <a:gd name="connsiteX28" fmla="*/ 0 w 1119673"/>
                  <a:gd name="connsiteY28" fmla="*/ 93306 h 9330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119673" h="933061">
                    <a:moveTo>
                      <a:pt x="0" y="93306"/>
                    </a:moveTo>
                    <a:lnTo>
                      <a:pt x="0" y="93306"/>
                    </a:lnTo>
                    <a:cubicBezTo>
                      <a:pt x="18661" y="143069"/>
                      <a:pt x="50696" y="189712"/>
                      <a:pt x="55984" y="242596"/>
                    </a:cubicBezTo>
                    <a:cubicBezTo>
                      <a:pt x="57735" y="260103"/>
                      <a:pt x="20843" y="262460"/>
                      <a:pt x="18661" y="279918"/>
                    </a:cubicBezTo>
                    <a:cubicBezTo>
                      <a:pt x="11536" y="336913"/>
                      <a:pt x="23902" y="398763"/>
                      <a:pt x="74645" y="429208"/>
                    </a:cubicBezTo>
                    <a:cubicBezTo>
                      <a:pt x="91513" y="439328"/>
                      <a:pt x="111968" y="441649"/>
                      <a:pt x="130629" y="447869"/>
                    </a:cubicBezTo>
                    <a:cubicBezTo>
                      <a:pt x="195769" y="513011"/>
                      <a:pt x="162386" y="468500"/>
                      <a:pt x="205273" y="597159"/>
                    </a:cubicBezTo>
                    <a:lnTo>
                      <a:pt x="223935" y="653143"/>
                    </a:lnTo>
                    <a:cubicBezTo>
                      <a:pt x="211494" y="690465"/>
                      <a:pt x="149290" y="752669"/>
                      <a:pt x="186612" y="765110"/>
                    </a:cubicBezTo>
                    <a:cubicBezTo>
                      <a:pt x="352018" y="820246"/>
                      <a:pt x="259479" y="798089"/>
                      <a:pt x="466531" y="821094"/>
                    </a:cubicBezTo>
                    <a:cubicBezTo>
                      <a:pt x="706734" y="901161"/>
                      <a:pt x="460793" y="824325"/>
                      <a:pt x="671804" y="877078"/>
                    </a:cubicBezTo>
                    <a:cubicBezTo>
                      <a:pt x="690887" y="881849"/>
                      <a:pt x="708705" y="890968"/>
                      <a:pt x="727788" y="895739"/>
                    </a:cubicBezTo>
                    <a:lnTo>
                      <a:pt x="877078" y="933061"/>
                    </a:lnTo>
                    <a:cubicBezTo>
                      <a:pt x="895739" y="926841"/>
                      <a:pt x="916194" y="924520"/>
                      <a:pt x="933061" y="914400"/>
                    </a:cubicBezTo>
                    <a:cubicBezTo>
                      <a:pt x="992166" y="878937"/>
                      <a:pt x="956018" y="876140"/>
                      <a:pt x="989045" y="821094"/>
                    </a:cubicBezTo>
                    <a:cubicBezTo>
                      <a:pt x="998097" y="806007"/>
                      <a:pt x="1013926" y="796212"/>
                      <a:pt x="1026367" y="783771"/>
                    </a:cubicBezTo>
                    <a:lnTo>
                      <a:pt x="1082351" y="615820"/>
                    </a:lnTo>
                    <a:lnTo>
                      <a:pt x="1101012" y="559837"/>
                    </a:lnTo>
                    <a:lnTo>
                      <a:pt x="1119673" y="503853"/>
                    </a:lnTo>
                    <a:cubicBezTo>
                      <a:pt x="1111070" y="443633"/>
                      <a:pt x="1100948" y="317143"/>
                      <a:pt x="1063690" y="261257"/>
                    </a:cubicBezTo>
                    <a:cubicBezTo>
                      <a:pt x="1051249" y="242596"/>
                      <a:pt x="1037494" y="224747"/>
                      <a:pt x="1026367" y="205274"/>
                    </a:cubicBezTo>
                    <a:cubicBezTo>
                      <a:pt x="1012565" y="181121"/>
                      <a:pt x="1008716" y="150300"/>
                      <a:pt x="989045" y="130629"/>
                    </a:cubicBezTo>
                    <a:cubicBezTo>
                      <a:pt x="957327" y="98911"/>
                      <a:pt x="914400" y="80866"/>
                      <a:pt x="877078" y="55984"/>
                    </a:cubicBezTo>
                    <a:cubicBezTo>
                      <a:pt x="804727" y="7749"/>
                      <a:pt x="842372" y="25753"/>
                      <a:pt x="765110" y="0"/>
                    </a:cubicBezTo>
                    <a:cubicBezTo>
                      <a:pt x="659363" y="6220"/>
                      <a:pt x="552909" y="4960"/>
                      <a:pt x="447869" y="18661"/>
                    </a:cubicBezTo>
                    <a:cubicBezTo>
                      <a:pt x="408858" y="23749"/>
                      <a:pt x="373224" y="43543"/>
                      <a:pt x="335902" y="55984"/>
                    </a:cubicBezTo>
                    <a:cubicBezTo>
                      <a:pt x="317241" y="62204"/>
                      <a:pt x="299589" y="74645"/>
                      <a:pt x="279918" y="74645"/>
                    </a:cubicBezTo>
                    <a:lnTo>
                      <a:pt x="186612" y="74645"/>
                    </a:lnTo>
                    <a:lnTo>
                      <a:pt x="0" y="9330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pic>
            <p:nvPicPr>
              <p:cNvPr id="55" name="Graphic 54" descr="Badge Tick outline">
                <a:extLst>
                  <a:ext uri="{FF2B5EF4-FFF2-40B4-BE49-F238E27FC236}">
                    <a16:creationId xmlns:a16="http://schemas.microsoft.com/office/drawing/2014/main" id="{5DE318ED-F0DB-9359-4BDA-4B9C1A38EC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146135" y="4286342"/>
                <a:ext cx="2082800" cy="2082800"/>
              </a:xfrm>
              <a:prstGeom prst="rect">
                <a:avLst/>
              </a:prstGeom>
            </p:spPr>
          </p:pic>
        </p:grpSp>
        <p:sp>
          <p:nvSpPr>
            <p:cNvPr id="52" name="Freeform 51">
              <a:extLst>
                <a:ext uri="{FF2B5EF4-FFF2-40B4-BE49-F238E27FC236}">
                  <a16:creationId xmlns:a16="http://schemas.microsoft.com/office/drawing/2014/main" id="{E90919EC-080E-B73A-378E-9E1E2ABBEE07}"/>
                </a:ext>
              </a:extLst>
            </p:cNvPr>
            <p:cNvSpPr/>
            <p:nvPr/>
          </p:nvSpPr>
          <p:spPr>
            <a:xfrm rot="10800000">
              <a:off x="12607548" y="0"/>
              <a:ext cx="4180114" cy="7630886"/>
            </a:xfrm>
            <a:custGeom>
              <a:avLst/>
              <a:gdLst>
                <a:gd name="connsiteX0" fmla="*/ 2090058 w 4180114"/>
                <a:gd name="connsiteY0" fmla="*/ 3858986 h 7630886"/>
                <a:gd name="connsiteX1" fmla="*/ 3715658 w 4180114"/>
                <a:gd name="connsiteY1" fmla="*/ 2233386 h 7630886"/>
                <a:gd name="connsiteX2" fmla="*/ 2090058 w 4180114"/>
                <a:gd name="connsiteY2" fmla="*/ 607786 h 7630886"/>
                <a:gd name="connsiteX3" fmla="*/ 464458 w 4180114"/>
                <a:gd name="connsiteY3" fmla="*/ 2233386 h 7630886"/>
                <a:gd name="connsiteX4" fmla="*/ 2090058 w 4180114"/>
                <a:gd name="connsiteY4" fmla="*/ 3858986 h 7630886"/>
                <a:gd name="connsiteX5" fmla="*/ 4180114 w 4180114"/>
                <a:gd name="connsiteY5" fmla="*/ 7630886 h 7630886"/>
                <a:gd name="connsiteX6" fmla="*/ 0 w 4180114"/>
                <a:gd name="connsiteY6" fmla="*/ 7630886 h 7630886"/>
                <a:gd name="connsiteX7" fmla="*/ 0 w 4180114"/>
                <a:gd name="connsiteY7" fmla="*/ 2090057 h 7630886"/>
                <a:gd name="connsiteX8" fmla="*/ 2090057 w 4180114"/>
                <a:gd name="connsiteY8" fmla="*/ 0 h 7630886"/>
                <a:gd name="connsiteX9" fmla="*/ 4180114 w 4180114"/>
                <a:gd name="connsiteY9" fmla="*/ 2090057 h 76308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180114" h="7630886">
                  <a:moveTo>
                    <a:pt x="2090058" y="3858986"/>
                  </a:moveTo>
                  <a:cubicBezTo>
                    <a:pt x="2987852" y="3858986"/>
                    <a:pt x="3715658" y="3131180"/>
                    <a:pt x="3715658" y="2233386"/>
                  </a:cubicBezTo>
                  <a:cubicBezTo>
                    <a:pt x="3715658" y="1335592"/>
                    <a:pt x="2987852" y="607786"/>
                    <a:pt x="2090058" y="607786"/>
                  </a:cubicBezTo>
                  <a:cubicBezTo>
                    <a:pt x="1192264" y="607786"/>
                    <a:pt x="464458" y="1335592"/>
                    <a:pt x="464458" y="2233386"/>
                  </a:cubicBezTo>
                  <a:cubicBezTo>
                    <a:pt x="464458" y="3131180"/>
                    <a:pt x="1192264" y="3858986"/>
                    <a:pt x="2090058" y="3858986"/>
                  </a:cubicBezTo>
                  <a:close/>
                  <a:moveTo>
                    <a:pt x="4180114" y="7630886"/>
                  </a:moveTo>
                  <a:lnTo>
                    <a:pt x="0" y="7630886"/>
                  </a:lnTo>
                  <a:lnTo>
                    <a:pt x="0" y="2090057"/>
                  </a:lnTo>
                  <a:cubicBezTo>
                    <a:pt x="0" y="935750"/>
                    <a:pt x="935750" y="0"/>
                    <a:pt x="2090057" y="0"/>
                  </a:cubicBezTo>
                  <a:cubicBezTo>
                    <a:pt x="3244364" y="0"/>
                    <a:pt x="4180114" y="935750"/>
                    <a:pt x="4180114" y="2090057"/>
                  </a:cubicBezTo>
                  <a:close/>
                </a:path>
              </a:pathLst>
            </a:cu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3" name="!!_Subscribes AI">
              <a:extLst>
                <a:ext uri="{FF2B5EF4-FFF2-40B4-BE49-F238E27FC236}">
                  <a16:creationId xmlns:a16="http://schemas.microsoft.com/office/drawing/2014/main" id="{9D338071-39FD-3C0E-177F-2A71DB320B10}"/>
                </a:ext>
              </a:extLst>
            </p:cNvPr>
            <p:cNvSpPr txBox="1"/>
            <p:nvPr/>
          </p:nvSpPr>
          <p:spPr>
            <a:xfrm>
              <a:off x="13703841" y="2322244"/>
              <a:ext cx="1987532" cy="1107996"/>
            </a:xfrm>
            <a:prstGeom prst="rect">
              <a:avLst/>
            </a:prstGeom>
            <a:no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FFFFFF"/>
                  </a:solidFill>
                  <a:effectLst/>
                  <a:uLnTx/>
                  <a:uFillTx/>
                  <a:latin typeface="Anova Bold"/>
                  <a:ea typeface="+mn-ea"/>
                  <a:cs typeface="+mn-cs"/>
                </a:rPr>
                <a:t>Validate</a:t>
              </a:r>
              <a:br>
                <a:rPr kumimoji="0" lang="en-US" sz="3600" b="0" i="0" u="none" strike="noStrike" kern="1200" cap="none" spc="0" normalizeH="0" baseline="0" noProof="0">
                  <a:ln>
                    <a:noFill/>
                  </a:ln>
                  <a:solidFill>
                    <a:srgbClr val="FFFFFF"/>
                  </a:solidFill>
                  <a:effectLst/>
                  <a:uLnTx/>
                  <a:uFillTx/>
                  <a:latin typeface="Anova Bold"/>
                  <a:ea typeface="+mn-ea"/>
                  <a:cs typeface="+mn-cs"/>
                </a:rPr>
              </a:br>
              <a:r>
                <a:rPr kumimoji="0" lang="en-US" sz="3600" b="0" i="0" u="none" strike="noStrike" kern="1200" cap="none" spc="0" normalizeH="0" baseline="0" noProof="0">
                  <a:ln>
                    <a:noFill/>
                  </a:ln>
                  <a:solidFill>
                    <a:srgbClr val="FFFFFF"/>
                  </a:solidFill>
                  <a:effectLst/>
                  <a:uLnTx/>
                  <a:uFillTx/>
                  <a:latin typeface="Anova Light"/>
                  <a:ea typeface="+mn-ea"/>
                  <a:cs typeface="+mn-cs"/>
                </a:rPr>
                <a:t>Response</a:t>
              </a:r>
            </a:p>
          </p:txBody>
        </p:sp>
      </p:grpSp>
    </p:spTree>
    <p:extLst>
      <p:ext uri="{BB962C8B-B14F-4D97-AF65-F5344CB8AC3E}">
        <p14:creationId xmlns:p14="http://schemas.microsoft.com/office/powerpoint/2010/main" val="441875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0-#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1"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ppt_x"/>
                                          </p:val>
                                        </p:tav>
                                        <p:tav tm="100000">
                                          <p:val>
                                            <p:strVal val="#ppt_x"/>
                                          </p:val>
                                        </p:tav>
                                      </p:tavLst>
                                    </p:anim>
                                    <p:anim calcmode="lin" valueType="num">
                                      <p:cBhvr additive="base">
                                        <p:cTn id="14" dur="500" fill="hold"/>
                                        <p:tgtEl>
                                          <p:spTgt spid="18"/>
                                        </p:tgtEl>
                                        <p:attrNameLst>
                                          <p:attrName>ppt_y</p:attrName>
                                        </p:attrNameLst>
                                      </p:cBhvr>
                                      <p:tavLst>
                                        <p:tav tm="0">
                                          <p:val>
                                            <p:strVal val="0-#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1" fill="hold" nodeType="clickEffect">
                                  <p:stCondLst>
                                    <p:cond delay="0"/>
                                  </p:stCondLst>
                                  <p:childTnLst>
                                    <p:set>
                                      <p:cBhvr>
                                        <p:cTn id="18" dur="1" fill="hold">
                                          <p:stCondLst>
                                            <p:cond delay="0"/>
                                          </p:stCondLst>
                                        </p:cTn>
                                        <p:tgtEl>
                                          <p:spTgt spid="49"/>
                                        </p:tgtEl>
                                        <p:attrNameLst>
                                          <p:attrName>style.visibility</p:attrName>
                                        </p:attrNameLst>
                                      </p:cBhvr>
                                      <p:to>
                                        <p:strVal val="visible"/>
                                      </p:to>
                                    </p:set>
                                    <p:anim calcmode="lin" valueType="num">
                                      <p:cBhvr additive="base">
                                        <p:cTn id="19" dur="500" fill="hold"/>
                                        <p:tgtEl>
                                          <p:spTgt spid="49"/>
                                        </p:tgtEl>
                                        <p:attrNameLst>
                                          <p:attrName>ppt_x</p:attrName>
                                        </p:attrNameLst>
                                      </p:cBhvr>
                                      <p:tavLst>
                                        <p:tav tm="0">
                                          <p:val>
                                            <p:strVal val="#ppt_x"/>
                                          </p:val>
                                        </p:tav>
                                        <p:tav tm="100000">
                                          <p:val>
                                            <p:strVal val="#ppt_x"/>
                                          </p:val>
                                        </p:tav>
                                      </p:tavLst>
                                    </p:anim>
                                    <p:anim calcmode="lin" valueType="num">
                                      <p:cBhvr additive="base">
                                        <p:cTn id="20" dur="500" fill="hold"/>
                                        <p:tgtEl>
                                          <p:spTgt spid="4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78DACFE-1F03-8B5B-721C-1FFE5BF0850D}"/>
              </a:ext>
            </a:extLst>
          </p:cNvPr>
          <p:cNvGrpSpPr/>
          <p:nvPr/>
        </p:nvGrpSpPr>
        <p:grpSpPr>
          <a:xfrm>
            <a:off x="3325091" y="792749"/>
            <a:ext cx="6922383" cy="8700654"/>
            <a:chOff x="3325091" y="792749"/>
            <a:chExt cx="6922383" cy="8700654"/>
          </a:xfrm>
        </p:grpSpPr>
        <p:sp>
          <p:nvSpPr>
            <p:cNvPr id="3" name="Rounded Rectangle 2">
              <a:extLst>
                <a:ext uri="{FF2B5EF4-FFF2-40B4-BE49-F238E27FC236}">
                  <a16:creationId xmlns:a16="http://schemas.microsoft.com/office/drawing/2014/main" id="{DD0946CF-AF07-70FA-A93C-C914B24B097C}"/>
                </a:ext>
              </a:extLst>
            </p:cNvPr>
            <p:cNvSpPr/>
            <p:nvPr/>
          </p:nvSpPr>
          <p:spPr>
            <a:xfrm>
              <a:off x="3325091" y="792749"/>
              <a:ext cx="5818909" cy="870065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 name="!!_Builds AI">
              <a:extLst>
                <a:ext uri="{FF2B5EF4-FFF2-40B4-BE49-F238E27FC236}">
                  <a16:creationId xmlns:a16="http://schemas.microsoft.com/office/drawing/2014/main" id="{B5FE0684-81D7-27EC-CDC7-929E431FFACB}"/>
                </a:ext>
              </a:extLst>
            </p:cNvPr>
            <p:cNvSpPr txBox="1"/>
            <p:nvPr/>
          </p:nvSpPr>
          <p:spPr>
            <a:xfrm>
              <a:off x="3934293" y="1605398"/>
              <a:ext cx="4600505" cy="30469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600" b="0" i="0" u="none" strike="noStrike" kern="1200" cap="none" spc="0" normalizeH="0" baseline="0" noProof="0">
                  <a:ln>
                    <a:noFill/>
                  </a:ln>
                  <a:solidFill>
                    <a:srgbClr val="FFFFFF"/>
                  </a:solidFill>
                  <a:effectLst/>
                  <a:uLnTx/>
                  <a:uFillTx/>
                  <a:latin typeface="Anova Bold"/>
                  <a:ea typeface="+mn-ea"/>
                  <a:cs typeface="+mn-cs"/>
                </a:rPr>
                <a:t>We want to</a:t>
              </a:r>
              <a:br>
                <a:rPr kumimoji="0" lang="en-US" sz="6600" b="0" i="0" u="none" strike="noStrike" kern="1200" cap="none" spc="0" normalizeH="0" baseline="0" noProof="0">
                  <a:ln>
                    <a:noFill/>
                  </a:ln>
                  <a:solidFill>
                    <a:srgbClr val="FFFFFF"/>
                  </a:solidFill>
                  <a:effectLst/>
                  <a:uLnTx/>
                  <a:uFillTx/>
                  <a:latin typeface="Anova Bold"/>
                  <a:ea typeface="+mn-ea"/>
                  <a:cs typeface="+mn-cs"/>
                </a:rPr>
              </a:br>
              <a:r>
                <a:rPr kumimoji="0" lang="en-US" sz="6600" b="0" i="0" u="none" strike="noStrike" kern="1200" cap="none" spc="0" normalizeH="0" baseline="0" noProof="0">
                  <a:ln>
                    <a:noFill/>
                  </a:ln>
                  <a:solidFill>
                    <a:srgbClr val="FFFFFF"/>
                  </a:solidFill>
                  <a:effectLst/>
                  <a:uLnTx/>
                  <a:uFillTx/>
                  <a:latin typeface="Anova Bold"/>
                  <a:ea typeface="+mn-ea"/>
                  <a:cs typeface="+mn-cs"/>
                </a:rPr>
                <a:t>use LLMs</a:t>
              </a:r>
            </a:p>
          </p:txBody>
        </p:sp>
        <p:sp>
          <p:nvSpPr>
            <p:cNvPr id="5" name="Freeform 4">
              <a:extLst>
                <a:ext uri="{FF2B5EF4-FFF2-40B4-BE49-F238E27FC236}">
                  <a16:creationId xmlns:a16="http://schemas.microsoft.com/office/drawing/2014/main" id="{C14BC4C3-3EB0-7C62-94D1-C73421F27291}"/>
                </a:ext>
              </a:extLst>
            </p:cNvPr>
            <p:cNvSpPr/>
            <p:nvPr/>
          </p:nvSpPr>
          <p:spPr>
            <a:xfrm>
              <a:off x="9144000" y="4279710"/>
              <a:ext cx="1103474" cy="2090659"/>
            </a:xfrm>
            <a:custGeom>
              <a:avLst/>
              <a:gdLst>
                <a:gd name="connsiteX0" fmla="*/ 0 w 1103474"/>
                <a:gd name="connsiteY0" fmla="*/ 0 h 2090659"/>
                <a:gd name="connsiteX1" fmla="*/ 2800 w 1103474"/>
                <a:gd name="connsiteY1" fmla="*/ 0 h 2090659"/>
                <a:gd name="connsiteX2" fmla="*/ 5697 w 1103474"/>
                <a:gd name="connsiteY2" fmla="*/ 57382 h 2090659"/>
                <a:gd name="connsiteX3" fmla="*/ 1103474 w 1103474"/>
                <a:gd name="connsiteY3" fmla="*/ 1048032 h 2090659"/>
                <a:gd name="connsiteX4" fmla="*/ 5697 w 1103474"/>
                <a:gd name="connsiteY4" fmla="*/ 2038682 h 2090659"/>
                <a:gd name="connsiteX5" fmla="*/ 3073 w 1103474"/>
                <a:gd name="connsiteY5" fmla="*/ 2090659 h 2090659"/>
                <a:gd name="connsiteX6" fmla="*/ 0 w 1103474"/>
                <a:gd name="connsiteY6" fmla="*/ 2090659 h 2090659"/>
                <a:gd name="connsiteX7" fmla="*/ 0 w 1103474"/>
                <a:gd name="connsiteY7" fmla="*/ 0 h 209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474" h="2090659">
                  <a:moveTo>
                    <a:pt x="0" y="0"/>
                  </a:moveTo>
                  <a:lnTo>
                    <a:pt x="2800" y="0"/>
                  </a:lnTo>
                  <a:lnTo>
                    <a:pt x="5697" y="57382"/>
                  </a:lnTo>
                  <a:cubicBezTo>
                    <a:pt x="62206" y="613816"/>
                    <a:pt x="532132" y="1048032"/>
                    <a:pt x="1103474" y="1048032"/>
                  </a:cubicBezTo>
                  <a:cubicBezTo>
                    <a:pt x="532132" y="1048032"/>
                    <a:pt x="62206" y="1482249"/>
                    <a:pt x="5697" y="2038682"/>
                  </a:cubicBezTo>
                  <a:lnTo>
                    <a:pt x="3073" y="2090659"/>
                  </a:lnTo>
                  <a:lnTo>
                    <a:pt x="0" y="2090659"/>
                  </a:lnTo>
                  <a:lnTo>
                    <a:pt x="0"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nvGrpSpPr>
          <p:cNvPr id="6" name="Group 5">
            <a:extLst>
              <a:ext uri="{FF2B5EF4-FFF2-40B4-BE49-F238E27FC236}">
                <a16:creationId xmlns:a16="http://schemas.microsoft.com/office/drawing/2014/main" id="{A63D89A2-4272-7605-918D-4596D0CA58DD}"/>
              </a:ext>
            </a:extLst>
          </p:cNvPr>
          <p:cNvGrpSpPr/>
          <p:nvPr/>
        </p:nvGrpSpPr>
        <p:grpSpPr>
          <a:xfrm>
            <a:off x="10753208" y="3191256"/>
            <a:ext cx="3904488" cy="3904488"/>
            <a:chOff x="12508877" y="2985085"/>
            <a:chExt cx="3904488" cy="3904488"/>
          </a:xfrm>
        </p:grpSpPr>
        <p:sp>
          <p:nvSpPr>
            <p:cNvPr id="7" name="Oval 6">
              <a:extLst>
                <a:ext uri="{FF2B5EF4-FFF2-40B4-BE49-F238E27FC236}">
                  <a16:creationId xmlns:a16="http://schemas.microsoft.com/office/drawing/2014/main" id="{CA4DBE0E-87A6-CE3B-44C6-4436FBC18B4A}"/>
                </a:ext>
              </a:extLst>
            </p:cNvPr>
            <p:cNvSpPr/>
            <p:nvPr/>
          </p:nvSpPr>
          <p:spPr>
            <a:xfrm>
              <a:off x="12508877" y="2985085"/>
              <a:ext cx="3901789" cy="3904488"/>
            </a:xfrm>
            <a:prstGeom prst="ellipse">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pic>
          <p:nvPicPr>
            <p:cNvPr id="8" name="Graphic 7" descr="User outline">
              <a:extLst>
                <a:ext uri="{FF2B5EF4-FFF2-40B4-BE49-F238E27FC236}">
                  <a16:creationId xmlns:a16="http://schemas.microsoft.com/office/drawing/2014/main" id="{27633BC6-8162-C6DE-9191-D69A0E57DC3C}"/>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5970" t="-295" r="5908" b="12173"/>
            <a:stretch/>
          </p:blipFill>
          <p:spPr>
            <a:xfrm>
              <a:off x="12508877" y="2985085"/>
              <a:ext cx="3904488" cy="3904488"/>
            </a:xfrm>
            <a:prstGeom prst="ellipse">
              <a:avLst/>
            </a:prstGeom>
          </p:spPr>
        </p:pic>
      </p:grpSp>
      <p:grpSp>
        <p:nvGrpSpPr>
          <p:cNvPr id="9" name="Group 8">
            <a:extLst>
              <a:ext uri="{FF2B5EF4-FFF2-40B4-BE49-F238E27FC236}">
                <a16:creationId xmlns:a16="http://schemas.microsoft.com/office/drawing/2014/main" id="{3DB48675-877F-A702-3372-255143693B1A}"/>
              </a:ext>
            </a:extLst>
          </p:cNvPr>
          <p:cNvGrpSpPr/>
          <p:nvPr/>
        </p:nvGrpSpPr>
        <p:grpSpPr>
          <a:xfrm>
            <a:off x="4374873" y="4279710"/>
            <a:ext cx="3719345" cy="4097566"/>
            <a:chOff x="7442696" y="3184438"/>
            <a:chExt cx="2794399" cy="3078562"/>
          </a:xfrm>
        </p:grpSpPr>
        <p:sp>
          <p:nvSpPr>
            <p:cNvPr id="10" name="Rounded Rectangle 284">
              <a:extLst>
                <a:ext uri="{FF2B5EF4-FFF2-40B4-BE49-F238E27FC236}">
                  <a16:creationId xmlns:a16="http://schemas.microsoft.com/office/drawing/2014/main" id="{E3BBC0DA-0AB2-A22F-4327-A2D1CE8F6A2D}"/>
                </a:ext>
              </a:extLst>
            </p:cNvPr>
            <p:cNvSpPr/>
            <p:nvPr/>
          </p:nvSpPr>
          <p:spPr>
            <a:xfrm>
              <a:off x="7442696" y="3184438"/>
              <a:ext cx="2794399" cy="2894775"/>
            </a:xfrm>
            <a:custGeom>
              <a:avLst/>
              <a:gdLst>
                <a:gd name="connsiteX0" fmla="*/ 0 w 2794399"/>
                <a:gd name="connsiteY0" fmla="*/ 465742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465742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693133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399" h="2894775">
                  <a:moveTo>
                    <a:pt x="0" y="690444"/>
                  </a:moveTo>
                  <a:cubicBezTo>
                    <a:pt x="0" y="433222"/>
                    <a:pt x="82729" y="6988"/>
                    <a:pt x="465742" y="2150"/>
                  </a:cubicBezTo>
                  <a:cubicBezTo>
                    <a:pt x="848755" y="-2688"/>
                    <a:pt x="1935968" y="2150"/>
                    <a:pt x="2328657" y="2150"/>
                  </a:cubicBezTo>
                  <a:cubicBezTo>
                    <a:pt x="2721346" y="2150"/>
                    <a:pt x="2794399" y="438061"/>
                    <a:pt x="2794399" y="695283"/>
                  </a:cubicBezTo>
                  <a:lnTo>
                    <a:pt x="2794399" y="2429033"/>
                  </a:lnTo>
                  <a:cubicBezTo>
                    <a:pt x="2794399" y="2686255"/>
                    <a:pt x="2585879" y="2894775"/>
                    <a:pt x="2328657" y="2894775"/>
                  </a:cubicBezTo>
                  <a:lnTo>
                    <a:pt x="465742" y="2894775"/>
                  </a:lnTo>
                  <a:cubicBezTo>
                    <a:pt x="208520" y="2894775"/>
                    <a:pt x="0" y="2686255"/>
                    <a:pt x="0" y="2429033"/>
                  </a:cubicBezTo>
                  <a:lnTo>
                    <a:pt x="0" y="690444"/>
                  </a:lnTo>
                  <a:close/>
                </a:path>
              </a:pathLst>
            </a:custGeom>
            <a:solidFill>
              <a:schemeClr val="accent4">
                <a:lumMod val="90000"/>
                <a:lumOff val="10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11" name="Rounded Rectangle 10">
              <a:extLst>
                <a:ext uri="{FF2B5EF4-FFF2-40B4-BE49-F238E27FC236}">
                  <a16:creationId xmlns:a16="http://schemas.microsoft.com/office/drawing/2014/main" id="{9C760C5B-2047-1A4D-C465-89EAD1E8261C}"/>
                </a:ext>
              </a:extLst>
            </p:cNvPr>
            <p:cNvSpPr/>
            <p:nvPr/>
          </p:nvSpPr>
          <p:spPr>
            <a:xfrm>
              <a:off x="7442696" y="3468601"/>
              <a:ext cx="2794399" cy="2794399"/>
            </a:xfrm>
            <a:prstGeom prst="roundRect">
              <a:avLst/>
            </a:prstGeom>
            <a:solidFill>
              <a:schemeClr val="accent4"/>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flatTx/>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Anova Bold"/>
                  <a:ea typeface="+mn-ea"/>
                  <a:cs typeface="+mn-cs"/>
                </a:rPr>
                <a:t>LARGE</a:t>
              </a:r>
              <a:br>
                <a:rPr kumimoji="0" lang="en-US" sz="2000" b="0" i="0" u="none" strike="noStrike" kern="1200" cap="none" spc="100" normalizeH="0" baseline="0" noProof="0">
                  <a:ln>
                    <a:noFill/>
                  </a:ln>
                  <a:solidFill>
                    <a:srgbClr val="FFFFFF"/>
                  </a:solidFill>
                  <a:effectLst/>
                  <a:uLnTx/>
                  <a:uFillTx/>
                  <a:latin typeface="Anova Bold"/>
                  <a:ea typeface="+mn-ea"/>
                  <a:cs typeface="+mn-cs"/>
                </a:rPr>
              </a:br>
              <a:r>
                <a:rPr kumimoji="0" lang="en-US" sz="2000" b="0" i="0" u="none" strike="noStrike" kern="1200" cap="none" spc="100" normalizeH="0" baseline="0" noProof="0">
                  <a:ln>
                    <a:noFill/>
                  </a:ln>
                  <a:solidFill>
                    <a:srgbClr val="FFFFFF"/>
                  </a:solidFill>
                  <a:effectLst/>
                  <a:uLnTx/>
                  <a:uFillTx/>
                  <a:latin typeface="Anova Bold"/>
                  <a:ea typeface="+mn-ea"/>
                  <a:cs typeface="+mn-cs"/>
                </a:rPr>
                <a:t>LANGUAGE MODEL</a:t>
              </a:r>
            </a:p>
          </p:txBody>
        </p:sp>
        <p:grpSp>
          <p:nvGrpSpPr>
            <p:cNvPr id="12" name="Group 11">
              <a:extLst>
                <a:ext uri="{FF2B5EF4-FFF2-40B4-BE49-F238E27FC236}">
                  <a16:creationId xmlns:a16="http://schemas.microsoft.com/office/drawing/2014/main" id="{6D7AD3FD-BCB1-87CF-5CBC-95EB0835244A}"/>
                </a:ext>
              </a:extLst>
            </p:cNvPr>
            <p:cNvGrpSpPr/>
            <p:nvPr/>
          </p:nvGrpSpPr>
          <p:grpSpPr>
            <a:xfrm>
              <a:off x="7843472" y="4291717"/>
              <a:ext cx="1983115" cy="1649195"/>
              <a:chOff x="5907442" y="7087458"/>
              <a:chExt cx="1983115" cy="1649195"/>
            </a:xfrm>
          </p:grpSpPr>
          <p:cxnSp>
            <p:nvCxnSpPr>
              <p:cNvPr id="13" name="Straight Connector 12">
                <a:extLst>
                  <a:ext uri="{FF2B5EF4-FFF2-40B4-BE49-F238E27FC236}">
                    <a16:creationId xmlns:a16="http://schemas.microsoft.com/office/drawing/2014/main" id="{5D625F32-FBDB-1F76-41D6-A5C939A9AA2A}"/>
                  </a:ext>
                </a:extLst>
              </p:cNvPr>
              <p:cNvCxnSpPr>
                <a:cxnSpLocks/>
              </p:cNvCxnSpPr>
              <p:nvPr/>
            </p:nvCxnSpPr>
            <p:spPr>
              <a:xfrm>
                <a:off x="6759721" y="7216842"/>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824328F-4484-FB6E-7AB4-2BA5F4B08990}"/>
                  </a:ext>
                </a:extLst>
              </p:cNvPr>
              <p:cNvCxnSpPr>
                <a:cxnSpLocks/>
              </p:cNvCxnSpPr>
              <p:nvPr/>
            </p:nvCxnSpPr>
            <p:spPr>
              <a:xfrm>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C0FEA9A-9197-C0F5-CF24-763B064F6F38}"/>
                  </a:ext>
                </a:extLst>
              </p:cNvPr>
              <p:cNvCxnSpPr>
                <a:cxnSpLocks/>
              </p:cNvCxnSpPr>
              <p:nvPr/>
            </p:nvCxnSpPr>
            <p:spPr>
              <a:xfrm flipH="1">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20FB587-5559-710A-9DA9-D9DEC7F6CC79}"/>
                  </a:ext>
                </a:extLst>
              </p:cNvPr>
              <p:cNvCxnSpPr>
                <a:cxnSpLocks/>
              </p:cNvCxnSpPr>
              <p:nvPr/>
            </p:nvCxnSpPr>
            <p:spPr>
              <a:xfrm>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059FDD5-2360-94CB-F131-8D2657DDB29C}"/>
                  </a:ext>
                </a:extLst>
              </p:cNvPr>
              <p:cNvCxnSpPr>
                <a:cxnSpLocks/>
              </p:cNvCxnSpPr>
              <p:nvPr/>
            </p:nvCxnSpPr>
            <p:spPr>
              <a:xfrm flipH="1"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F4BE87A-F24C-0A3D-F617-7050EE6D804C}"/>
                  </a:ext>
                </a:extLst>
              </p:cNvPr>
              <p:cNvCxnSpPr>
                <a:cxnSpLocks/>
              </p:cNvCxnSpPr>
              <p:nvPr/>
            </p:nvCxnSpPr>
            <p:spPr>
              <a:xfrm flipH="1">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6D38DBF0-F192-D7CF-A8E4-9654C9602523}"/>
                  </a:ext>
                </a:extLst>
              </p:cNvPr>
              <p:cNvCxnSpPr>
                <a:cxnSpLocks/>
              </p:cNvCxnSpPr>
              <p:nvPr/>
            </p:nvCxnSpPr>
            <p:spPr>
              <a:xfrm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FB96DB4-3AEB-DC74-5D07-EDFA04E19639}"/>
                  </a:ext>
                </a:extLst>
              </p:cNvPr>
              <p:cNvCxnSpPr>
                <a:cxnSpLocks/>
              </p:cNvCxnSpPr>
              <p:nvPr/>
            </p:nvCxnSpPr>
            <p:spPr>
              <a:xfrm>
                <a:off x="6759721" y="7680305"/>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711D752-8BAD-9978-3DC7-8FA3C955E042}"/>
                  </a:ext>
                </a:extLst>
              </p:cNvPr>
              <p:cNvCxnSpPr>
                <a:cxnSpLocks/>
              </p:cNvCxnSpPr>
              <p:nvPr/>
            </p:nvCxnSpPr>
            <p:spPr>
              <a:xfrm>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8A7E8B2-0690-21E8-C374-9A6B2AEEE414}"/>
                  </a:ext>
                </a:extLst>
              </p:cNvPr>
              <p:cNvCxnSpPr>
                <a:cxnSpLocks/>
              </p:cNvCxnSpPr>
              <p:nvPr/>
            </p:nvCxnSpPr>
            <p:spPr>
              <a:xfrm flipH="1" flipV="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64B9F9C-ADBF-615F-A836-BFAFA2015A04}"/>
                  </a:ext>
                </a:extLst>
              </p:cNvPr>
              <p:cNvCxnSpPr>
                <a:cxnSpLocks/>
              </p:cNvCxnSpPr>
              <p:nvPr/>
            </p:nvCxnSpPr>
            <p:spPr>
              <a:xfrm flipH="1">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9FF188B-AB20-9CBE-8271-0DC9EE381321}"/>
                  </a:ext>
                </a:extLst>
              </p:cNvPr>
              <p:cNvCxnSpPr>
                <a:cxnSpLocks/>
              </p:cNvCxnSpPr>
              <p:nvPr/>
            </p:nvCxnSpPr>
            <p:spPr>
              <a:xfrm flipH="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C157B8F8-75F6-BA00-2225-EF62C9549A24}"/>
                  </a:ext>
                </a:extLst>
              </p:cNvPr>
              <p:cNvCxnSpPr>
                <a:cxnSpLocks/>
              </p:cNvCxnSpPr>
              <p:nvPr/>
            </p:nvCxnSpPr>
            <p:spPr>
              <a:xfrm>
                <a:off x="6759721" y="8143767"/>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BCB5860-7103-0441-DE5D-013583CB2F95}"/>
                  </a:ext>
                </a:extLst>
              </p:cNvPr>
              <p:cNvCxnSpPr>
                <a:cxnSpLocks/>
              </p:cNvCxnSpPr>
              <p:nvPr/>
            </p:nvCxnSpPr>
            <p:spPr>
              <a:xfrm>
                <a:off x="6759721" y="8607230"/>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79E7F50-8E0F-A18C-5197-1E21E19A007D}"/>
                  </a:ext>
                </a:extLst>
              </p:cNvPr>
              <p:cNvCxnSpPr>
                <a:cxnSpLocks/>
              </p:cNvCxnSpPr>
              <p:nvPr/>
            </p:nvCxnSpPr>
            <p:spPr>
              <a:xfrm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15479A6-E197-A923-9453-113BFCB3CED7}"/>
                  </a:ext>
                </a:extLst>
              </p:cNvPr>
              <p:cNvCxnSpPr>
                <a:cxnSpLocks/>
              </p:cNvCxnSpPr>
              <p:nvPr/>
            </p:nvCxnSpPr>
            <p:spPr>
              <a:xfrm flipH="1"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F1A4D9B-131E-01B4-A7BB-87F8732208A0}"/>
                  </a:ext>
                </a:extLst>
              </p:cNvPr>
              <p:cNvCxnSpPr>
                <a:cxnSpLocks/>
              </p:cNvCxnSpPr>
              <p:nvPr/>
            </p:nvCxnSpPr>
            <p:spPr>
              <a:xfrm flipV="1">
                <a:off x="6183496"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B5A1ED6-70E1-0687-C35F-969439043D6D}"/>
                  </a:ext>
                </a:extLst>
              </p:cNvPr>
              <p:cNvCxnSpPr>
                <a:cxnSpLocks/>
              </p:cNvCxnSpPr>
              <p:nvPr/>
            </p:nvCxnSpPr>
            <p:spPr>
              <a:xfrm>
                <a:off x="6183496"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9377A896-0285-07C0-6CE0-B74BCA0CADEE}"/>
                  </a:ext>
                </a:extLst>
              </p:cNvPr>
              <p:cNvCxnSpPr>
                <a:cxnSpLocks/>
              </p:cNvCxnSpPr>
              <p:nvPr/>
            </p:nvCxnSpPr>
            <p:spPr>
              <a:xfrm flipV="1">
                <a:off x="6183496"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4769F5C2-2112-22FF-F84D-8161B0DEC85E}"/>
                  </a:ext>
                </a:extLst>
              </p:cNvPr>
              <p:cNvCxnSpPr>
                <a:cxnSpLocks/>
              </p:cNvCxnSpPr>
              <p:nvPr/>
            </p:nvCxnSpPr>
            <p:spPr>
              <a:xfrm>
                <a:off x="6183496" y="791155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9117F4E-36BB-C56C-808A-AED3E3B94434}"/>
                  </a:ext>
                </a:extLst>
              </p:cNvPr>
              <p:cNvCxnSpPr>
                <a:cxnSpLocks/>
              </p:cNvCxnSpPr>
              <p:nvPr/>
            </p:nvCxnSpPr>
            <p:spPr>
              <a:xfrm flipV="1">
                <a:off x="6183496"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6A96BAF-5EE1-D15E-B1E7-ED6DA2BCDD16}"/>
                  </a:ext>
                </a:extLst>
              </p:cNvPr>
              <p:cNvCxnSpPr>
                <a:cxnSpLocks/>
              </p:cNvCxnSpPr>
              <p:nvPr/>
            </p:nvCxnSpPr>
            <p:spPr>
              <a:xfrm>
                <a:off x="6183496"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3C55A43-BFE8-F2E2-0DBF-DC85A8560729}"/>
                  </a:ext>
                </a:extLst>
              </p:cNvPr>
              <p:cNvCxnSpPr>
                <a:cxnSpLocks/>
              </p:cNvCxnSpPr>
              <p:nvPr/>
            </p:nvCxnSpPr>
            <p:spPr>
              <a:xfrm flipH="1">
                <a:off x="6183496"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D6AD4B7-0D38-78AF-0D81-2A37633B57F4}"/>
                  </a:ext>
                </a:extLst>
              </p:cNvPr>
              <p:cNvCxnSpPr>
                <a:cxnSpLocks/>
              </p:cNvCxnSpPr>
              <p:nvPr/>
            </p:nvCxnSpPr>
            <p:spPr>
              <a:xfrm flipH="1">
                <a:off x="6183496"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E5E2C8A0-D12C-2F14-8662-7C3F9511201C}"/>
                  </a:ext>
                </a:extLst>
              </p:cNvPr>
              <p:cNvCxnSpPr>
                <a:cxnSpLocks/>
              </p:cNvCxnSpPr>
              <p:nvPr/>
            </p:nvCxnSpPr>
            <p:spPr>
              <a:xfrm flipH="1" flipV="1">
                <a:off x="6183496"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DAF8812-21C4-6A1D-40D1-F6E30E9DD589}"/>
                  </a:ext>
                </a:extLst>
              </p:cNvPr>
              <p:cNvCxnSpPr>
                <a:cxnSpLocks/>
              </p:cNvCxnSpPr>
              <p:nvPr/>
            </p:nvCxnSpPr>
            <p:spPr>
              <a:xfrm flipH="1">
                <a:off x="6183496"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51930A6-22F0-C84C-E517-00820BAC30BE}"/>
                  </a:ext>
                </a:extLst>
              </p:cNvPr>
              <p:cNvCxnSpPr>
                <a:cxnSpLocks/>
              </p:cNvCxnSpPr>
              <p:nvPr/>
            </p:nvCxnSpPr>
            <p:spPr>
              <a:xfrm flipH="1" flipV="1">
                <a:off x="6183496"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B9352A6-36EC-58AD-54F8-A0CE3EFE8A85}"/>
                  </a:ext>
                </a:extLst>
              </p:cNvPr>
              <p:cNvCxnSpPr>
                <a:cxnSpLocks/>
              </p:cNvCxnSpPr>
              <p:nvPr/>
            </p:nvCxnSpPr>
            <p:spPr>
              <a:xfrm flipH="1" flipV="1">
                <a:off x="7331579"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7E1B702-94F2-E4D4-C522-154162B748F7}"/>
                  </a:ext>
                </a:extLst>
              </p:cNvPr>
              <p:cNvCxnSpPr>
                <a:cxnSpLocks/>
              </p:cNvCxnSpPr>
              <p:nvPr/>
            </p:nvCxnSpPr>
            <p:spPr>
              <a:xfrm flipH="1">
                <a:off x="7331579"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6F821A6-260A-3D90-02F9-6BABEB963630}"/>
                  </a:ext>
                </a:extLst>
              </p:cNvPr>
              <p:cNvCxnSpPr>
                <a:cxnSpLocks/>
              </p:cNvCxnSpPr>
              <p:nvPr/>
            </p:nvCxnSpPr>
            <p:spPr>
              <a:xfrm flipH="1" flipV="1">
                <a:off x="7331579"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A29A308-B393-AD76-FEAD-84A520DF15E8}"/>
                  </a:ext>
                </a:extLst>
              </p:cNvPr>
              <p:cNvCxnSpPr>
                <a:cxnSpLocks/>
              </p:cNvCxnSpPr>
              <p:nvPr/>
            </p:nvCxnSpPr>
            <p:spPr>
              <a:xfrm flipH="1">
                <a:off x="7331579" y="7912515"/>
                <a:ext cx="282924"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3DB9124-66C0-ED72-2D64-36CCA6C1B262}"/>
                  </a:ext>
                </a:extLst>
              </p:cNvPr>
              <p:cNvCxnSpPr>
                <a:cxnSpLocks/>
              </p:cNvCxnSpPr>
              <p:nvPr/>
            </p:nvCxnSpPr>
            <p:spPr>
              <a:xfrm flipH="1" flipV="1">
                <a:off x="7331579"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6D173FC-389F-52A6-2261-9EEACFF0136A}"/>
                  </a:ext>
                </a:extLst>
              </p:cNvPr>
              <p:cNvCxnSpPr>
                <a:cxnSpLocks/>
              </p:cNvCxnSpPr>
              <p:nvPr/>
            </p:nvCxnSpPr>
            <p:spPr>
              <a:xfrm flipH="1">
                <a:off x="7331579"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6A4AE1F-E7A6-1B9A-F14B-E7266B6E78A5}"/>
                  </a:ext>
                </a:extLst>
              </p:cNvPr>
              <p:cNvCxnSpPr>
                <a:cxnSpLocks/>
              </p:cNvCxnSpPr>
              <p:nvPr/>
            </p:nvCxnSpPr>
            <p:spPr>
              <a:xfrm>
                <a:off x="7331579"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72EFAA-FAA3-60F2-A6FA-3A555D308907}"/>
                  </a:ext>
                </a:extLst>
              </p:cNvPr>
              <p:cNvCxnSpPr>
                <a:cxnSpLocks/>
              </p:cNvCxnSpPr>
              <p:nvPr/>
            </p:nvCxnSpPr>
            <p:spPr>
              <a:xfrm>
                <a:off x="7331579"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3FAFAD61-4EF2-DDA3-6FFC-8C0244271BD8}"/>
                  </a:ext>
                </a:extLst>
              </p:cNvPr>
              <p:cNvCxnSpPr>
                <a:cxnSpLocks/>
              </p:cNvCxnSpPr>
              <p:nvPr/>
            </p:nvCxnSpPr>
            <p:spPr>
              <a:xfrm flipV="1">
                <a:off x="7331579"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A761A87-01EA-C618-AD6F-BFA2CF48069F}"/>
                  </a:ext>
                </a:extLst>
              </p:cNvPr>
              <p:cNvCxnSpPr>
                <a:cxnSpLocks/>
              </p:cNvCxnSpPr>
              <p:nvPr/>
            </p:nvCxnSpPr>
            <p:spPr>
              <a:xfrm>
                <a:off x="7331579"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38DAD9C-82EE-A682-0DB6-40FE771610E7}"/>
                  </a:ext>
                </a:extLst>
              </p:cNvPr>
              <p:cNvCxnSpPr>
                <a:cxnSpLocks/>
              </p:cNvCxnSpPr>
              <p:nvPr/>
            </p:nvCxnSpPr>
            <p:spPr>
              <a:xfrm flipV="1">
                <a:off x="7331579"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51" name="Oval 50">
                <a:extLst>
                  <a:ext uri="{FF2B5EF4-FFF2-40B4-BE49-F238E27FC236}">
                    <a16:creationId xmlns:a16="http://schemas.microsoft.com/office/drawing/2014/main" id="{C32604E7-2840-B2D8-9E10-371F556C8A94}"/>
                  </a:ext>
                </a:extLst>
              </p:cNvPr>
              <p:cNvSpPr>
                <a:spLocks noChangeAspect="1"/>
              </p:cNvSpPr>
              <p:nvPr/>
            </p:nvSpPr>
            <p:spPr>
              <a:xfrm>
                <a:off x="590744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2" name="Oval 51">
                <a:extLst>
                  <a:ext uri="{FF2B5EF4-FFF2-40B4-BE49-F238E27FC236}">
                    <a16:creationId xmlns:a16="http://schemas.microsoft.com/office/drawing/2014/main" id="{D6F9B449-4C43-4F12-CA5F-C4BEECDD37DA}"/>
                  </a:ext>
                </a:extLst>
              </p:cNvPr>
              <p:cNvSpPr>
                <a:spLocks noChangeAspect="1"/>
              </p:cNvSpPr>
              <p:nvPr/>
            </p:nvSpPr>
            <p:spPr>
              <a:xfrm>
                <a:off x="5907442"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3" name="Oval 52">
                <a:extLst>
                  <a:ext uri="{FF2B5EF4-FFF2-40B4-BE49-F238E27FC236}">
                    <a16:creationId xmlns:a16="http://schemas.microsoft.com/office/drawing/2014/main" id="{BECADE79-1241-800B-E8B4-12ABE5C8FE03}"/>
                  </a:ext>
                </a:extLst>
              </p:cNvPr>
              <p:cNvSpPr>
                <a:spLocks noChangeAspect="1"/>
              </p:cNvSpPr>
              <p:nvPr/>
            </p:nvSpPr>
            <p:spPr>
              <a:xfrm>
                <a:off x="5907442"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4" name="Oval 53">
                <a:extLst>
                  <a:ext uri="{FF2B5EF4-FFF2-40B4-BE49-F238E27FC236}">
                    <a16:creationId xmlns:a16="http://schemas.microsoft.com/office/drawing/2014/main" id="{02D96066-639B-FD65-60B4-298D90639462}"/>
                  </a:ext>
                </a:extLst>
              </p:cNvPr>
              <p:cNvSpPr>
                <a:spLocks noChangeAspect="1"/>
              </p:cNvSpPr>
              <p:nvPr/>
            </p:nvSpPr>
            <p:spPr>
              <a:xfrm>
                <a:off x="763175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5" name="Oval 54">
                <a:extLst>
                  <a:ext uri="{FF2B5EF4-FFF2-40B4-BE49-F238E27FC236}">
                    <a16:creationId xmlns:a16="http://schemas.microsoft.com/office/drawing/2014/main" id="{DEFDA9C6-72C5-61B3-997E-89F32DEFF473}"/>
                  </a:ext>
                </a:extLst>
              </p:cNvPr>
              <p:cNvSpPr>
                <a:spLocks noChangeAspect="1"/>
              </p:cNvSpPr>
              <p:nvPr/>
            </p:nvSpPr>
            <p:spPr>
              <a:xfrm>
                <a:off x="7631753"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6" name="Oval 55">
                <a:extLst>
                  <a:ext uri="{FF2B5EF4-FFF2-40B4-BE49-F238E27FC236}">
                    <a16:creationId xmlns:a16="http://schemas.microsoft.com/office/drawing/2014/main" id="{13F2B250-FD01-99F4-4BCC-0739B62BEE15}"/>
                  </a:ext>
                </a:extLst>
              </p:cNvPr>
              <p:cNvSpPr>
                <a:spLocks noChangeAspect="1"/>
              </p:cNvSpPr>
              <p:nvPr/>
            </p:nvSpPr>
            <p:spPr>
              <a:xfrm>
                <a:off x="7631754"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7" name="Oval 56">
                <a:extLst>
                  <a:ext uri="{FF2B5EF4-FFF2-40B4-BE49-F238E27FC236}">
                    <a16:creationId xmlns:a16="http://schemas.microsoft.com/office/drawing/2014/main" id="{D8EE346B-A8B4-7403-3386-F9723BD2BE64}"/>
                  </a:ext>
                </a:extLst>
              </p:cNvPr>
              <p:cNvSpPr>
                <a:spLocks noChangeAspect="1"/>
              </p:cNvSpPr>
              <p:nvPr/>
            </p:nvSpPr>
            <p:spPr>
              <a:xfrm>
                <a:off x="7055526"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8" name="Oval 57">
                <a:extLst>
                  <a:ext uri="{FF2B5EF4-FFF2-40B4-BE49-F238E27FC236}">
                    <a16:creationId xmlns:a16="http://schemas.microsoft.com/office/drawing/2014/main" id="{EEF5DD20-00AC-5C7D-964A-A8E077FE61FC}"/>
                  </a:ext>
                </a:extLst>
              </p:cNvPr>
              <p:cNvSpPr>
                <a:spLocks noChangeAspect="1"/>
              </p:cNvSpPr>
              <p:nvPr/>
            </p:nvSpPr>
            <p:spPr>
              <a:xfrm>
                <a:off x="7055526"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59" name="Oval 58">
                <a:extLst>
                  <a:ext uri="{FF2B5EF4-FFF2-40B4-BE49-F238E27FC236}">
                    <a16:creationId xmlns:a16="http://schemas.microsoft.com/office/drawing/2014/main" id="{2C6E0852-4FD2-ECB9-E34E-2C3A82E3D866}"/>
                  </a:ext>
                </a:extLst>
              </p:cNvPr>
              <p:cNvSpPr>
                <a:spLocks noChangeAspect="1"/>
              </p:cNvSpPr>
              <p:nvPr/>
            </p:nvSpPr>
            <p:spPr>
              <a:xfrm>
                <a:off x="7055526"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60" name="Oval 59">
                <a:extLst>
                  <a:ext uri="{FF2B5EF4-FFF2-40B4-BE49-F238E27FC236}">
                    <a16:creationId xmlns:a16="http://schemas.microsoft.com/office/drawing/2014/main" id="{6B468DB3-B1EC-BDA5-7B5F-9CBF5A27DA67}"/>
                  </a:ext>
                </a:extLst>
              </p:cNvPr>
              <p:cNvSpPr>
                <a:spLocks noChangeAspect="1"/>
              </p:cNvSpPr>
              <p:nvPr/>
            </p:nvSpPr>
            <p:spPr>
              <a:xfrm>
                <a:off x="7055526"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61" name="Oval 60">
                <a:extLst>
                  <a:ext uri="{FF2B5EF4-FFF2-40B4-BE49-F238E27FC236}">
                    <a16:creationId xmlns:a16="http://schemas.microsoft.com/office/drawing/2014/main" id="{16CEBD09-1AD2-0A26-0844-978543E01070}"/>
                  </a:ext>
                </a:extLst>
              </p:cNvPr>
              <p:cNvSpPr>
                <a:spLocks noChangeAspect="1"/>
              </p:cNvSpPr>
              <p:nvPr/>
            </p:nvSpPr>
            <p:spPr>
              <a:xfrm>
                <a:off x="6483668"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62" name="Oval 61">
                <a:extLst>
                  <a:ext uri="{FF2B5EF4-FFF2-40B4-BE49-F238E27FC236}">
                    <a16:creationId xmlns:a16="http://schemas.microsoft.com/office/drawing/2014/main" id="{CB31A50A-A0C3-1166-CBE7-FF7C24703AD2}"/>
                  </a:ext>
                </a:extLst>
              </p:cNvPr>
              <p:cNvSpPr>
                <a:spLocks noChangeAspect="1"/>
              </p:cNvSpPr>
              <p:nvPr/>
            </p:nvSpPr>
            <p:spPr>
              <a:xfrm>
                <a:off x="6483668"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63" name="Oval 62">
                <a:extLst>
                  <a:ext uri="{FF2B5EF4-FFF2-40B4-BE49-F238E27FC236}">
                    <a16:creationId xmlns:a16="http://schemas.microsoft.com/office/drawing/2014/main" id="{5A229FAF-F2A5-C5F6-6293-C8F946B0D87C}"/>
                  </a:ext>
                </a:extLst>
              </p:cNvPr>
              <p:cNvSpPr>
                <a:spLocks noChangeAspect="1"/>
              </p:cNvSpPr>
              <p:nvPr/>
            </p:nvSpPr>
            <p:spPr>
              <a:xfrm>
                <a:off x="6483668"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sp>
            <p:nvSpPr>
              <p:cNvPr id="64" name="Oval 63">
                <a:extLst>
                  <a:ext uri="{FF2B5EF4-FFF2-40B4-BE49-F238E27FC236}">
                    <a16:creationId xmlns:a16="http://schemas.microsoft.com/office/drawing/2014/main" id="{76999048-77A9-E5A4-670C-B727ABD0C9DA}"/>
                  </a:ext>
                </a:extLst>
              </p:cNvPr>
              <p:cNvSpPr>
                <a:spLocks noChangeAspect="1"/>
              </p:cNvSpPr>
              <p:nvPr/>
            </p:nvSpPr>
            <p:spPr>
              <a:xfrm>
                <a:off x="6483668"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0" i="0" u="none" strike="noStrike" kern="1200" cap="none" spc="0" normalizeH="0" baseline="0" noProof="0">
                  <a:ln>
                    <a:noFill/>
                  </a:ln>
                  <a:solidFill>
                    <a:srgbClr val="FFFFFF"/>
                  </a:solidFill>
                  <a:effectLst/>
                  <a:uLnTx/>
                  <a:uFillTx/>
                  <a:latin typeface="Anova Light"/>
                  <a:ea typeface="+mn-ea"/>
                  <a:cs typeface="+mn-cs"/>
                </a:endParaRPr>
              </a:p>
            </p:txBody>
          </p:sp>
        </p:grpSp>
      </p:grpSp>
    </p:spTree>
    <p:extLst>
      <p:ext uri="{BB962C8B-B14F-4D97-AF65-F5344CB8AC3E}">
        <p14:creationId xmlns:p14="http://schemas.microsoft.com/office/powerpoint/2010/main" val="1537490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blue circle with white text&#10;&#10;Description automatically generated">
            <a:extLst>
              <a:ext uri="{FF2B5EF4-FFF2-40B4-BE49-F238E27FC236}">
                <a16:creationId xmlns:a16="http://schemas.microsoft.com/office/drawing/2014/main" id="{221AF39C-6EAD-7463-F6FD-9EB4862239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8288000" cy="10287000"/>
          </a:xfrm>
          <a:prstGeom prst="rect">
            <a:avLst/>
          </a:prstGeom>
        </p:spPr>
      </p:pic>
    </p:spTree>
    <p:extLst>
      <p:ext uri="{BB962C8B-B14F-4D97-AF65-F5344CB8AC3E}">
        <p14:creationId xmlns:p14="http://schemas.microsoft.com/office/powerpoint/2010/main" val="356500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_Builds AI">
            <a:extLst>
              <a:ext uri="{FF2B5EF4-FFF2-40B4-BE49-F238E27FC236}">
                <a16:creationId xmlns:a16="http://schemas.microsoft.com/office/drawing/2014/main" id="{426850E3-2FE5-6B0C-5934-6971F68EEF58}"/>
              </a:ext>
            </a:extLst>
          </p:cNvPr>
          <p:cNvSpPr txBox="1"/>
          <p:nvPr/>
        </p:nvSpPr>
        <p:spPr>
          <a:xfrm>
            <a:off x="10832881" y="2927084"/>
            <a:ext cx="6066992" cy="4431983"/>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8000" b="0" i="0" u="none" strike="noStrike" kern="1200" cap="none" spc="0" normalizeH="0" baseline="0" noProof="0" dirty="0">
                <a:ln>
                  <a:noFill/>
                </a:ln>
                <a:effectLst/>
                <a:uLnTx/>
                <a:uFillTx/>
                <a:latin typeface="Anova Bold"/>
                <a:ea typeface="+mn-ea"/>
                <a:cs typeface="+mn-cs"/>
              </a:rPr>
              <a:t>LLMs alone </a:t>
            </a:r>
            <a:r>
              <a:rPr kumimoji="0" lang="en-US" sz="8000" b="0" i="0" u="none" strike="noStrike" kern="1200" cap="none" spc="0" normalizeH="0" baseline="0" noProof="0" dirty="0">
                <a:ln>
                  <a:noFill/>
                </a:ln>
                <a:solidFill>
                  <a:schemeClr val="accent2"/>
                </a:solidFill>
                <a:effectLst/>
                <a:uLnTx/>
                <a:uFillTx/>
                <a:latin typeface="Anova Bold"/>
                <a:ea typeface="+mn-ea"/>
                <a:cs typeface="+mn-cs"/>
              </a:rPr>
              <a:t>do not </a:t>
            </a:r>
            <a:r>
              <a:rPr kumimoji="0" lang="en-US" sz="8000" b="0" i="0" u="none" strike="noStrike" kern="1200" cap="none" spc="0" normalizeH="0" baseline="0" noProof="0" dirty="0">
                <a:ln>
                  <a:noFill/>
                </a:ln>
                <a:effectLst/>
                <a:uLnTx/>
                <a:uFillTx/>
                <a:latin typeface="Anova Bold"/>
                <a:ea typeface="+mn-ea"/>
                <a:cs typeface="+mn-cs"/>
              </a:rPr>
              <a:t>solve business tasks.</a:t>
            </a:r>
          </a:p>
        </p:txBody>
      </p:sp>
      <p:grpSp>
        <p:nvGrpSpPr>
          <p:cNvPr id="3" name="Group 2">
            <a:extLst>
              <a:ext uri="{FF2B5EF4-FFF2-40B4-BE49-F238E27FC236}">
                <a16:creationId xmlns:a16="http://schemas.microsoft.com/office/drawing/2014/main" id="{3E7D1848-B2F9-2BA0-8339-378469279402}"/>
              </a:ext>
            </a:extLst>
          </p:cNvPr>
          <p:cNvGrpSpPr/>
          <p:nvPr/>
        </p:nvGrpSpPr>
        <p:grpSpPr>
          <a:xfrm>
            <a:off x="814215" y="1547765"/>
            <a:ext cx="5720977" cy="7190623"/>
            <a:chOff x="3325091" y="792749"/>
            <a:chExt cx="6922383" cy="8700654"/>
          </a:xfrm>
        </p:grpSpPr>
        <p:sp>
          <p:nvSpPr>
            <p:cNvPr id="4" name="Rounded Rectangle 3">
              <a:extLst>
                <a:ext uri="{FF2B5EF4-FFF2-40B4-BE49-F238E27FC236}">
                  <a16:creationId xmlns:a16="http://schemas.microsoft.com/office/drawing/2014/main" id="{36BEFAFE-7931-5327-1C53-4469893FD762}"/>
                </a:ext>
              </a:extLst>
            </p:cNvPr>
            <p:cNvSpPr/>
            <p:nvPr/>
          </p:nvSpPr>
          <p:spPr>
            <a:xfrm>
              <a:off x="3325091" y="792749"/>
              <a:ext cx="5818909" cy="8700654"/>
            </a:xfrm>
            <a:prstGeom prst="roundRect">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nova Light"/>
                <a:ea typeface="+mn-ea"/>
                <a:cs typeface="+mn-cs"/>
              </a:endParaRPr>
            </a:p>
          </p:txBody>
        </p:sp>
        <p:sp>
          <p:nvSpPr>
            <p:cNvPr id="5" name="!!_Builds AI">
              <a:extLst>
                <a:ext uri="{FF2B5EF4-FFF2-40B4-BE49-F238E27FC236}">
                  <a16:creationId xmlns:a16="http://schemas.microsoft.com/office/drawing/2014/main" id="{235E578D-E6CC-2C64-0924-FC2317CD71F3}"/>
                </a:ext>
              </a:extLst>
            </p:cNvPr>
            <p:cNvSpPr txBox="1"/>
            <p:nvPr/>
          </p:nvSpPr>
          <p:spPr>
            <a:xfrm>
              <a:off x="3704268" y="1605398"/>
              <a:ext cx="5060556" cy="201101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dirty="0">
                  <a:ln>
                    <a:noFill/>
                  </a:ln>
                  <a:solidFill>
                    <a:schemeClr val="bg1"/>
                  </a:solidFill>
                  <a:effectLst/>
                  <a:uLnTx/>
                  <a:uFillTx/>
                  <a:latin typeface="Anova Bold"/>
                  <a:ea typeface="+mn-ea"/>
                  <a:cs typeface="+mn-cs"/>
                </a:rPr>
                <a:t>We want to</a:t>
              </a:r>
              <a:br>
                <a:rPr kumimoji="0" lang="en-US" sz="5400" b="0" i="0" u="none" strike="noStrike" kern="1200" cap="none" spc="0" normalizeH="0" baseline="0" noProof="0" dirty="0">
                  <a:ln>
                    <a:noFill/>
                  </a:ln>
                  <a:solidFill>
                    <a:schemeClr val="bg1"/>
                  </a:solidFill>
                  <a:effectLst/>
                  <a:uLnTx/>
                  <a:uFillTx/>
                  <a:latin typeface="Anova Bold"/>
                  <a:ea typeface="+mn-ea"/>
                  <a:cs typeface="+mn-cs"/>
                </a:rPr>
              </a:br>
              <a:r>
                <a:rPr kumimoji="0" lang="en-US" sz="5400" b="0" i="0" u="none" strike="noStrike" kern="1200" cap="none" spc="0" normalizeH="0" baseline="0" noProof="0" dirty="0">
                  <a:ln>
                    <a:noFill/>
                  </a:ln>
                  <a:solidFill>
                    <a:schemeClr val="bg1"/>
                  </a:solidFill>
                  <a:effectLst/>
                  <a:uLnTx/>
                  <a:uFillTx/>
                  <a:latin typeface="Anova Bold"/>
                  <a:ea typeface="+mn-ea"/>
                  <a:cs typeface="+mn-cs"/>
                </a:rPr>
                <a:t>use LLMs</a:t>
              </a:r>
            </a:p>
          </p:txBody>
        </p:sp>
        <p:sp>
          <p:nvSpPr>
            <p:cNvPr id="6" name="Freeform 5">
              <a:extLst>
                <a:ext uri="{FF2B5EF4-FFF2-40B4-BE49-F238E27FC236}">
                  <a16:creationId xmlns:a16="http://schemas.microsoft.com/office/drawing/2014/main" id="{FCA7417F-0BA0-0C1B-073D-22BEDF2F73C8}"/>
                </a:ext>
              </a:extLst>
            </p:cNvPr>
            <p:cNvSpPr/>
            <p:nvPr/>
          </p:nvSpPr>
          <p:spPr>
            <a:xfrm>
              <a:off x="9144000" y="4279710"/>
              <a:ext cx="1103474" cy="2090659"/>
            </a:xfrm>
            <a:custGeom>
              <a:avLst/>
              <a:gdLst>
                <a:gd name="connsiteX0" fmla="*/ 0 w 1103474"/>
                <a:gd name="connsiteY0" fmla="*/ 0 h 2090659"/>
                <a:gd name="connsiteX1" fmla="*/ 2800 w 1103474"/>
                <a:gd name="connsiteY1" fmla="*/ 0 h 2090659"/>
                <a:gd name="connsiteX2" fmla="*/ 5697 w 1103474"/>
                <a:gd name="connsiteY2" fmla="*/ 57382 h 2090659"/>
                <a:gd name="connsiteX3" fmla="*/ 1103474 w 1103474"/>
                <a:gd name="connsiteY3" fmla="*/ 1048032 h 2090659"/>
                <a:gd name="connsiteX4" fmla="*/ 5697 w 1103474"/>
                <a:gd name="connsiteY4" fmla="*/ 2038682 h 2090659"/>
                <a:gd name="connsiteX5" fmla="*/ 3073 w 1103474"/>
                <a:gd name="connsiteY5" fmla="*/ 2090659 h 2090659"/>
                <a:gd name="connsiteX6" fmla="*/ 0 w 1103474"/>
                <a:gd name="connsiteY6" fmla="*/ 2090659 h 2090659"/>
                <a:gd name="connsiteX7" fmla="*/ 0 w 1103474"/>
                <a:gd name="connsiteY7" fmla="*/ 0 h 209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03474" h="2090659">
                  <a:moveTo>
                    <a:pt x="0" y="0"/>
                  </a:moveTo>
                  <a:lnTo>
                    <a:pt x="2800" y="0"/>
                  </a:lnTo>
                  <a:lnTo>
                    <a:pt x="5697" y="57382"/>
                  </a:lnTo>
                  <a:cubicBezTo>
                    <a:pt x="62206" y="613816"/>
                    <a:pt x="532132" y="1048032"/>
                    <a:pt x="1103474" y="1048032"/>
                  </a:cubicBezTo>
                  <a:cubicBezTo>
                    <a:pt x="532132" y="1048032"/>
                    <a:pt x="62206" y="1482249"/>
                    <a:pt x="5697" y="2038682"/>
                  </a:cubicBezTo>
                  <a:lnTo>
                    <a:pt x="3073" y="2090659"/>
                  </a:lnTo>
                  <a:lnTo>
                    <a:pt x="0" y="2090659"/>
                  </a:lnTo>
                  <a:lnTo>
                    <a:pt x="0" y="0"/>
                  </a:lnTo>
                  <a:close/>
                </a:path>
              </a:pathLst>
            </a:cu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nova Light"/>
                <a:ea typeface="+mn-ea"/>
                <a:cs typeface="+mn-cs"/>
              </a:endParaRPr>
            </a:p>
          </p:txBody>
        </p:sp>
      </p:grpSp>
      <p:grpSp>
        <p:nvGrpSpPr>
          <p:cNvPr id="7" name="Group 6">
            <a:extLst>
              <a:ext uri="{FF2B5EF4-FFF2-40B4-BE49-F238E27FC236}">
                <a16:creationId xmlns:a16="http://schemas.microsoft.com/office/drawing/2014/main" id="{044999E7-C276-B49C-F40D-89635A9A8C09}"/>
              </a:ext>
            </a:extLst>
          </p:cNvPr>
          <p:cNvGrpSpPr/>
          <p:nvPr/>
        </p:nvGrpSpPr>
        <p:grpSpPr>
          <a:xfrm>
            <a:off x="6912552" y="3810091"/>
            <a:ext cx="2666818" cy="2666818"/>
            <a:chOff x="12508877" y="2985085"/>
            <a:chExt cx="3904488" cy="3904488"/>
          </a:xfrm>
        </p:grpSpPr>
        <p:sp>
          <p:nvSpPr>
            <p:cNvPr id="8" name="Oval 7">
              <a:extLst>
                <a:ext uri="{FF2B5EF4-FFF2-40B4-BE49-F238E27FC236}">
                  <a16:creationId xmlns:a16="http://schemas.microsoft.com/office/drawing/2014/main" id="{516C9F1B-EAC1-1F77-AFE6-07CAFD24575E}"/>
                </a:ext>
              </a:extLst>
            </p:cNvPr>
            <p:cNvSpPr/>
            <p:nvPr/>
          </p:nvSpPr>
          <p:spPr>
            <a:xfrm>
              <a:off x="12508877" y="2985085"/>
              <a:ext cx="3901789" cy="3904488"/>
            </a:xfrm>
            <a:prstGeom prst="ellipse">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nova Light"/>
                <a:ea typeface="+mn-ea"/>
                <a:cs typeface="+mn-cs"/>
              </a:endParaRPr>
            </a:p>
          </p:txBody>
        </p:sp>
        <p:pic>
          <p:nvPicPr>
            <p:cNvPr id="9" name="Graphic 8" descr="User outline">
              <a:extLst>
                <a:ext uri="{FF2B5EF4-FFF2-40B4-BE49-F238E27FC236}">
                  <a16:creationId xmlns:a16="http://schemas.microsoft.com/office/drawing/2014/main" id="{CB0FABCD-21CC-DF56-B507-79A0405AF507}"/>
                </a:ext>
              </a:extLst>
            </p:cNvPr>
            <p:cNvPicPr>
              <a:picLocks noChangeAspect="1"/>
            </p:cNvPicPr>
            <p:nvPr/>
          </p:nvPicPr>
          <p:blipFill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l="5970" t="-295" r="5908" b="12173"/>
            <a:stretch/>
          </p:blipFill>
          <p:spPr>
            <a:xfrm>
              <a:off x="12508877" y="2985085"/>
              <a:ext cx="3904488" cy="3904488"/>
            </a:xfrm>
            <a:prstGeom prst="ellipse">
              <a:avLst/>
            </a:prstGeom>
          </p:spPr>
        </p:pic>
      </p:grpSp>
      <p:grpSp>
        <p:nvGrpSpPr>
          <p:cNvPr id="10" name="Group 9">
            <a:extLst>
              <a:ext uri="{FF2B5EF4-FFF2-40B4-BE49-F238E27FC236}">
                <a16:creationId xmlns:a16="http://schemas.microsoft.com/office/drawing/2014/main" id="{EFE0063D-ADED-681F-A6D6-8764339DF6B8}"/>
              </a:ext>
            </a:extLst>
          </p:cNvPr>
          <p:cNvGrpSpPr/>
          <p:nvPr/>
        </p:nvGrpSpPr>
        <p:grpSpPr>
          <a:xfrm>
            <a:off x="1681803" y="4709002"/>
            <a:ext cx="3073839" cy="3386418"/>
            <a:chOff x="7442696" y="3184438"/>
            <a:chExt cx="2794399" cy="3078562"/>
          </a:xfrm>
        </p:grpSpPr>
        <p:sp>
          <p:nvSpPr>
            <p:cNvPr id="11" name="Rounded Rectangle 284">
              <a:extLst>
                <a:ext uri="{FF2B5EF4-FFF2-40B4-BE49-F238E27FC236}">
                  <a16:creationId xmlns:a16="http://schemas.microsoft.com/office/drawing/2014/main" id="{501DBBD8-5442-DFC6-4F32-28B6F224DF6E}"/>
                </a:ext>
              </a:extLst>
            </p:cNvPr>
            <p:cNvSpPr/>
            <p:nvPr/>
          </p:nvSpPr>
          <p:spPr>
            <a:xfrm>
              <a:off x="7442696" y="3184438"/>
              <a:ext cx="2794399" cy="2894775"/>
            </a:xfrm>
            <a:custGeom>
              <a:avLst/>
              <a:gdLst>
                <a:gd name="connsiteX0" fmla="*/ 0 w 2794399"/>
                <a:gd name="connsiteY0" fmla="*/ 465742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465742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693133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399" h="2894775">
                  <a:moveTo>
                    <a:pt x="0" y="690444"/>
                  </a:moveTo>
                  <a:cubicBezTo>
                    <a:pt x="0" y="433222"/>
                    <a:pt x="82729" y="6988"/>
                    <a:pt x="465742" y="2150"/>
                  </a:cubicBezTo>
                  <a:cubicBezTo>
                    <a:pt x="848755" y="-2688"/>
                    <a:pt x="1935968" y="2150"/>
                    <a:pt x="2328657" y="2150"/>
                  </a:cubicBezTo>
                  <a:cubicBezTo>
                    <a:pt x="2721346" y="2150"/>
                    <a:pt x="2794399" y="438061"/>
                    <a:pt x="2794399" y="695283"/>
                  </a:cubicBezTo>
                  <a:lnTo>
                    <a:pt x="2794399" y="2429033"/>
                  </a:lnTo>
                  <a:cubicBezTo>
                    <a:pt x="2794399" y="2686255"/>
                    <a:pt x="2585879" y="2894775"/>
                    <a:pt x="2328657" y="2894775"/>
                  </a:cubicBezTo>
                  <a:lnTo>
                    <a:pt x="465742" y="2894775"/>
                  </a:lnTo>
                  <a:cubicBezTo>
                    <a:pt x="208520" y="2894775"/>
                    <a:pt x="0" y="2686255"/>
                    <a:pt x="0" y="2429033"/>
                  </a:cubicBezTo>
                  <a:lnTo>
                    <a:pt x="0" y="690444"/>
                  </a:lnTo>
                  <a:close/>
                </a:path>
              </a:pathLst>
            </a:custGeom>
            <a:solidFill>
              <a:schemeClr val="accent4">
                <a:lumMod val="90000"/>
                <a:lumOff val="10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12" name="Rounded Rectangle 11">
              <a:extLst>
                <a:ext uri="{FF2B5EF4-FFF2-40B4-BE49-F238E27FC236}">
                  <a16:creationId xmlns:a16="http://schemas.microsoft.com/office/drawing/2014/main" id="{CFEDC825-9000-044E-1086-4B38D5EC1ADC}"/>
                </a:ext>
              </a:extLst>
            </p:cNvPr>
            <p:cNvSpPr/>
            <p:nvPr/>
          </p:nvSpPr>
          <p:spPr>
            <a:xfrm>
              <a:off x="7442696" y="3468601"/>
              <a:ext cx="2794399" cy="2794399"/>
            </a:xfrm>
            <a:prstGeom prst="roundRect">
              <a:avLst/>
            </a:prstGeom>
            <a:solidFill>
              <a:schemeClr val="accent4"/>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flatTx/>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LARGE</a:t>
              </a:r>
              <a:br>
                <a:rPr kumimoji="0" lang="en-US" sz="1600" b="0" i="0" u="none" strike="noStrike" kern="1200" cap="none" spc="100" normalizeH="0" baseline="0" noProof="0">
                  <a:ln>
                    <a:noFill/>
                  </a:ln>
                  <a:solidFill>
                    <a:srgbClr val="FFFFFF"/>
                  </a:solidFill>
                  <a:effectLst/>
                  <a:uLnTx/>
                  <a:uFillTx/>
                  <a:latin typeface="Anova Bold"/>
                  <a:ea typeface="+mn-ea"/>
                  <a:cs typeface="+mn-cs"/>
                </a:rPr>
              </a:br>
              <a:r>
                <a:rPr kumimoji="0" lang="en-US" sz="1600" b="0" i="0" u="none" strike="noStrike" kern="1200" cap="none" spc="100" normalizeH="0" baseline="0" noProof="0">
                  <a:ln>
                    <a:noFill/>
                  </a:ln>
                  <a:solidFill>
                    <a:srgbClr val="FFFFFF"/>
                  </a:solidFill>
                  <a:effectLst/>
                  <a:uLnTx/>
                  <a:uFillTx/>
                  <a:latin typeface="Anova Bold"/>
                  <a:ea typeface="+mn-ea"/>
                  <a:cs typeface="+mn-cs"/>
                </a:rPr>
                <a:t>LANGUAGE MODEL</a:t>
              </a:r>
            </a:p>
          </p:txBody>
        </p:sp>
        <p:grpSp>
          <p:nvGrpSpPr>
            <p:cNvPr id="13" name="Group 12">
              <a:extLst>
                <a:ext uri="{FF2B5EF4-FFF2-40B4-BE49-F238E27FC236}">
                  <a16:creationId xmlns:a16="http://schemas.microsoft.com/office/drawing/2014/main" id="{175A8F6B-DE89-2892-F8B2-D9161ECE5F8D}"/>
                </a:ext>
              </a:extLst>
            </p:cNvPr>
            <p:cNvGrpSpPr/>
            <p:nvPr/>
          </p:nvGrpSpPr>
          <p:grpSpPr>
            <a:xfrm>
              <a:off x="7843472" y="4291717"/>
              <a:ext cx="1983115" cy="1649195"/>
              <a:chOff x="5907442" y="7087458"/>
              <a:chExt cx="1983115" cy="1649195"/>
            </a:xfrm>
          </p:grpSpPr>
          <p:cxnSp>
            <p:nvCxnSpPr>
              <p:cNvPr id="14" name="Straight Connector 13">
                <a:extLst>
                  <a:ext uri="{FF2B5EF4-FFF2-40B4-BE49-F238E27FC236}">
                    <a16:creationId xmlns:a16="http://schemas.microsoft.com/office/drawing/2014/main" id="{53A9D090-39C1-35DE-77E1-E64914EB8A26}"/>
                  </a:ext>
                </a:extLst>
              </p:cNvPr>
              <p:cNvCxnSpPr>
                <a:cxnSpLocks/>
              </p:cNvCxnSpPr>
              <p:nvPr/>
            </p:nvCxnSpPr>
            <p:spPr>
              <a:xfrm>
                <a:off x="6759721" y="7216842"/>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612A731A-D1CD-CFFC-98F6-D1AF1C5D97F5}"/>
                  </a:ext>
                </a:extLst>
              </p:cNvPr>
              <p:cNvCxnSpPr>
                <a:cxnSpLocks/>
              </p:cNvCxnSpPr>
              <p:nvPr/>
            </p:nvCxnSpPr>
            <p:spPr>
              <a:xfrm>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AB5852A-C9F9-0494-836B-00DD03D095C1}"/>
                  </a:ext>
                </a:extLst>
              </p:cNvPr>
              <p:cNvCxnSpPr>
                <a:cxnSpLocks/>
              </p:cNvCxnSpPr>
              <p:nvPr/>
            </p:nvCxnSpPr>
            <p:spPr>
              <a:xfrm flipH="1">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B2A785C7-5AB0-1D54-7550-B8DC89CA335F}"/>
                  </a:ext>
                </a:extLst>
              </p:cNvPr>
              <p:cNvCxnSpPr>
                <a:cxnSpLocks/>
              </p:cNvCxnSpPr>
              <p:nvPr/>
            </p:nvCxnSpPr>
            <p:spPr>
              <a:xfrm>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8937CFB-A023-6764-4B8B-6FA49D8C0F09}"/>
                  </a:ext>
                </a:extLst>
              </p:cNvPr>
              <p:cNvCxnSpPr>
                <a:cxnSpLocks/>
              </p:cNvCxnSpPr>
              <p:nvPr/>
            </p:nvCxnSpPr>
            <p:spPr>
              <a:xfrm flipH="1"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C7C6996-69A2-E0CA-FB22-AD7624A5469A}"/>
                  </a:ext>
                </a:extLst>
              </p:cNvPr>
              <p:cNvCxnSpPr>
                <a:cxnSpLocks/>
              </p:cNvCxnSpPr>
              <p:nvPr/>
            </p:nvCxnSpPr>
            <p:spPr>
              <a:xfrm flipH="1">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1DB61C4-FE01-F18D-444D-DB605DB74A68}"/>
                  </a:ext>
                </a:extLst>
              </p:cNvPr>
              <p:cNvCxnSpPr>
                <a:cxnSpLocks/>
              </p:cNvCxnSpPr>
              <p:nvPr/>
            </p:nvCxnSpPr>
            <p:spPr>
              <a:xfrm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7BAA3329-ECC1-A232-50C5-CD204A435EC4}"/>
                  </a:ext>
                </a:extLst>
              </p:cNvPr>
              <p:cNvCxnSpPr>
                <a:cxnSpLocks/>
              </p:cNvCxnSpPr>
              <p:nvPr/>
            </p:nvCxnSpPr>
            <p:spPr>
              <a:xfrm>
                <a:off x="6759721" y="7680305"/>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7D53CDB-D0EF-8CC0-54BE-926008254733}"/>
                  </a:ext>
                </a:extLst>
              </p:cNvPr>
              <p:cNvCxnSpPr>
                <a:cxnSpLocks/>
              </p:cNvCxnSpPr>
              <p:nvPr/>
            </p:nvCxnSpPr>
            <p:spPr>
              <a:xfrm>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F383B9C-2865-ED92-E798-E7C97D00A8BA}"/>
                  </a:ext>
                </a:extLst>
              </p:cNvPr>
              <p:cNvCxnSpPr>
                <a:cxnSpLocks/>
              </p:cNvCxnSpPr>
              <p:nvPr/>
            </p:nvCxnSpPr>
            <p:spPr>
              <a:xfrm flipH="1" flipV="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F076617-818E-3A74-1186-6D2D30F3C6AB}"/>
                  </a:ext>
                </a:extLst>
              </p:cNvPr>
              <p:cNvCxnSpPr>
                <a:cxnSpLocks/>
              </p:cNvCxnSpPr>
              <p:nvPr/>
            </p:nvCxnSpPr>
            <p:spPr>
              <a:xfrm flipH="1">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2EEFB67-D258-B7AC-0E27-15375583B09A}"/>
                  </a:ext>
                </a:extLst>
              </p:cNvPr>
              <p:cNvCxnSpPr>
                <a:cxnSpLocks/>
              </p:cNvCxnSpPr>
              <p:nvPr/>
            </p:nvCxnSpPr>
            <p:spPr>
              <a:xfrm flipH="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2F6CC9E-60B0-15D5-8A74-2474DA2433ED}"/>
                  </a:ext>
                </a:extLst>
              </p:cNvPr>
              <p:cNvCxnSpPr>
                <a:cxnSpLocks/>
              </p:cNvCxnSpPr>
              <p:nvPr/>
            </p:nvCxnSpPr>
            <p:spPr>
              <a:xfrm>
                <a:off x="6759721" y="8143767"/>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78FA778D-80E9-FE8B-C8C3-E2B4A505C4A2}"/>
                  </a:ext>
                </a:extLst>
              </p:cNvPr>
              <p:cNvCxnSpPr>
                <a:cxnSpLocks/>
              </p:cNvCxnSpPr>
              <p:nvPr/>
            </p:nvCxnSpPr>
            <p:spPr>
              <a:xfrm>
                <a:off x="6759721" y="8607230"/>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348DAB58-C30B-90F7-6DA0-7D1084CC1B3B}"/>
                  </a:ext>
                </a:extLst>
              </p:cNvPr>
              <p:cNvCxnSpPr>
                <a:cxnSpLocks/>
              </p:cNvCxnSpPr>
              <p:nvPr/>
            </p:nvCxnSpPr>
            <p:spPr>
              <a:xfrm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52E1042-10B4-E188-6DA8-9BF7DA3FD084}"/>
                  </a:ext>
                </a:extLst>
              </p:cNvPr>
              <p:cNvCxnSpPr>
                <a:cxnSpLocks/>
              </p:cNvCxnSpPr>
              <p:nvPr/>
            </p:nvCxnSpPr>
            <p:spPr>
              <a:xfrm flipH="1"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43F63E8-9F8D-2464-1663-1DD0CADB82AC}"/>
                  </a:ext>
                </a:extLst>
              </p:cNvPr>
              <p:cNvCxnSpPr>
                <a:cxnSpLocks/>
              </p:cNvCxnSpPr>
              <p:nvPr/>
            </p:nvCxnSpPr>
            <p:spPr>
              <a:xfrm flipV="1">
                <a:off x="6183496"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048B775-6A82-620E-3CD2-6C79C651391E}"/>
                  </a:ext>
                </a:extLst>
              </p:cNvPr>
              <p:cNvCxnSpPr>
                <a:cxnSpLocks/>
              </p:cNvCxnSpPr>
              <p:nvPr/>
            </p:nvCxnSpPr>
            <p:spPr>
              <a:xfrm>
                <a:off x="6183496"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28A8151B-8246-5D21-2DF1-16FB4FD3AC87}"/>
                  </a:ext>
                </a:extLst>
              </p:cNvPr>
              <p:cNvCxnSpPr>
                <a:cxnSpLocks/>
              </p:cNvCxnSpPr>
              <p:nvPr/>
            </p:nvCxnSpPr>
            <p:spPr>
              <a:xfrm flipV="1">
                <a:off x="6183496"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A642CE1-EBD5-B49E-73D2-BC1A4986868E}"/>
                  </a:ext>
                </a:extLst>
              </p:cNvPr>
              <p:cNvCxnSpPr>
                <a:cxnSpLocks/>
              </p:cNvCxnSpPr>
              <p:nvPr/>
            </p:nvCxnSpPr>
            <p:spPr>
              <a:xfrm>
                <a:off x="6183496" y="791155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D6D9164-1137-3F4E-6C06-F49D1B334322}"/>
                  </a:ext>
                </a:extLst>
              </p:cNvPr>
              <p:cNvCxnSpPr>
                <a:cxnSpLocks/>
              </p:cNvCxnSpPr>
              <p:nvPr/>
            </p:nvCxnSpPr>
            <p:spPr>
              <a:xfrm flipV="1">
                <a:off x="6183496"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5349DCC-AC80-875D-108A-45EB4F9CD984}"/>
                  </a:ext>
                </a:extLst>
              </p:cNvPr>
              <p:cNvCxnSpPr>
                <a:cxnSpLocks/>
              </p:cNvCxnSpPr>
              <p:nvPr/>
            </p:nvCxnSpPr>
            <p:spPr>
              <a:xfrm>
                <a:off x="6183496"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D1F3B064-5FBD-2EA8-BCD7-76E015A1BEFE}"/>
                  </a:ext>
                </a:extLst>
              </p:cNvPr>
              <p:cNvCxnSpPr>
                <a:cxnSpLocks/>
              </p:cNvCxnSpPr>
              <p:nvPr/>
            </p:nvCxnSpPr>
            <p:spPr>
              <a:xfrm flipH="1">
                <a:off x="6183496"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1D248713-6249-ECDD-6120-73569AA4E45A}"/>
                  </a:ext>
                </a:extLst>
              </p:cNvPr>
              <p:cNvCxnSpPr>
                <a:cxnSpLocks/>
              </p:cNvCxnSpPr>
              <p:nvPr/>
            </p:nvCxnSpPr>
            <p:spPr>
              <a:xfrm flipH="1">
                <a:off x="6183496"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9C11601B-BF22-8C49-0EE5-68B979F1DE52}"/>
                  </a:ext>
                </a:extLst>
              </p:cNvPr>
              <p:cNvCxnSpPr>
                <a:cxnSpLocks/>
              </p:cNvCxnSpPr>
              <p:nvPr/>
            </p:nvCxnSpPr>
            <p:spPr>
              <a:xfrm flipH="1" flipV="1">
                <a:off x="6183496"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631ADCA-622E-2192-16EC-D14F3908EC7C}"/>
                  </a:ext>
                </a:extLst>
              </p:cNvPr>
              <p:cNvCxnSpPr>
                <a:cxnSpLocks/>
              </p:cNvCxnSpPr>
              <p:nvPr/>
            </p:nvCxnSpPr>
            <p:spPr>
              <a:xfrm flipH="1">
                <a:off x="6183496"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DAEF27B-6E3C-DC6B-47C0-AE5E67E4B72A}"/>
                  </a:ext>
                </a:extLst>
              </p:cNvPr>
              <p:cNvCxnSpPr>
                <a:cxnSpLocks/>
              </p:cNvCxnSpPr>
              <p:nvPr/>
            </p:nvCxnSpPr>
            <p:spPr>
              <a:xfrm flipH="1" flipV="1">
                <a:off x="6183496"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987A48C-8697-438B-6CB6-B7D56E82B9B5}"/>
                  </a:ext>
                </a:extLst>
              </p:cNvPr>
              <p:cNvCxnSpPr>
                <a:cxnSpLocks/>
              </p:cNvCxnSpPr>
              <p:nvPr/>
            </p:nvCxnSpPr>
            <p:spPr>
              <a:xfrm flipH="1" flipV="1">
                <a:off x="7331579"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2CC9A4DC-04EA-5269-0BFB-0431C7BF9D8C}"/>
                  </a:ext>
                </a:extLst>
              </p:cNvPr>
              <p:cNvCxnSpPr>
                <a:cxnSpLocks/>
              </p:cNvCxnSpPr>
              <p:nvPr/>
            </p:nvCxnSpPr>
            <p:spPr>
              <a:xfrm flipH="1">
                <a:off x="7331579"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EAA87DA9-6447-1549-D47F-3C902B30DAE4}"/>
                  </a:ext>
                </a:extLst>
              </p:cNvPr>
              <p:cNvCxnSpPr>
                <a:cxnSpLocks/>
              </p:cNvCxnSpPr>
              <p:nvPr/>
            </p:nvCxnSpPr>
            <p:spPr>
              <a:xfrm flipH="1" flipV="1">
                <a:off x="7331579"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3DC17615-ECE2-B9EC-1DF7-659133DFDFB5}"/>
                  </a:ext>
                </a:extLst>
              </p:cNvPr>
              <p:cNvCxnSpPr>
                <a:cxnSpLocks/>
              </p:cNvCxnSpPr>
              <p:nvPr/>
            </p:nvCxnSpPr>
            <p:spPr>
              <a:xfrm flipH="1">
                <a:off x="7331579" y="7912515"/>
                <a:ext cx="282924"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AB432F69-1E07-BDA9-BB11-6F6A7D55909D}"/>
                  </a:ext>
                </a:extLst>
              </p:cNvPr>
              <p:cNvCxnSpPr>
                <a:cxnSpLocks/>
              </p:cNvCxnSpPr>
              <p:nvPr/>
            </p:nvCxnSpPr>
            <p:spPr>
              <a:xfrm flipH="1" flipV="1">
                <a:off x="7331579"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6426AB8-97FA-CF7D-6F34-2BADEAD83672}"/>
                  </a:ext>
                </a:extLst>
              </p:cNvPr>
              <p:cNvCxnSpPr>
                <a:cxnSpLocks/>
              </p:cNvCxnSpPr>
              <p:nvPr/>
            </p:nvCxnSpPr>
            <p:spPr>
              <a:xfrm flipH="1">
                <a:off x="7331579"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906F891-2903-6E7C-1F75-628519192DDF}"/>
                  </a:ext>
                </a:extLst>
              </p:cNvPr>
              <p:cNvCxnSpPr>
                <a:cxnSpLocks/>
              </p:cNvCxnSpPr>
              <p:nvPr/>
            </p:nvCxnSpPr>
            <p:spPr>
              <a:xfrm>
                <a:off x="7331579"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1A384190-4D53-D2C3-BF6E-83284C0A489D}"/>
                  </a:ext>
                </a:extLst>
              </p:cNvPr>
              <p:cNvCxnSpPr>
                <a:cxnSpLocks/>
              </p:cNvCxnSpPr>
              <p:nvPr/>
            </p:nvCxnSpPr>
            <p:spPr>
              <a:xfrm>
                <a:off x="7331579"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4C86B69E-0163-982B-53D4-34A8AA089E13}"/>
                  </a:ext>
                </a:extLst>
              </p:cNvPr>
              <p:cNvCxnSpPr>
                <a:cxnSpLocks/>
              </p:cNvCxnSpPr>
              <p:nvPr/>
            </p:nvCxnSpPr>
            <p:spPr>
              <a:xfrm flipV="1">
                <a:off x="7331579"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C8ABBE34-3506-8286-8A9E-1C3BDEF05760}"/>
                  </a:ext>
                </a:extLst>
              </p:cNvPr>
              <p:cNvCxnSpPr>
                <a:cxnSpLocks/>
              </p:cNvCxnSpPr>
              <p:nvPr/>
            </p:nvCxnSpPr>
            <p:spPr>
              <a:xfrm>
                <a:off x="7331579"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F5CBB43B-56F2-E09E-FDAA-5590BE175744}"/>
                  </a:ext>
                </a:extLst>
              </p:cNvPr>
              <p:cNvCxnSpPr>
                <a:cxnSpLocks/>
              </p:cNvCxnSpPr>
              <p:nvPr/>
            </p:nvCxnSpPr>
            <p:spPr>
              <a:xfrm flipV="1">
                <a:off x="7331579"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52" name="Oval 51">
                <a:extLst>
                  <a:ext uri="{FF2B5EF4-FFF2-40B4-BE49-F238E27FC236}">
                    <a16:creationId xmlns:a16="http://schemas.microsoft.com/office/drawing/2014/main" id="{B96CBA41-9C33-E306-52CC-EDFE5E7EB83A}"/>
                  </a:ext>
                </a:extLst>
              </p:cNvPr>
              <p:cNvSpPr>
                <a:spLocks noChangeAspect="1"/>
              </p:cNvSpPr>
              <p:nvPr/>
            </p:nvSpPr>
            <p:spPr>
              <a:xfrm>
                <a:off x="590744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3" name="Oval 52">
                <a:extLst>
                  <a:ext uri="{FF2B5EF4-FFF2-40B4-BE49-F238E27FC236}">
                    <a16:creationId xmlns:a16="http://schemas.microsoft.com/office/drawing/2014/main" id="{F1C3EBF4-BC2F-2165-E63D-19244E9EAD30}"/>
                  </a:ext>
                </a:extLst>
              </p:cNvPr>
              <p:cNvSpPr>
                <a:spLocks noChangeAspect="1"/>
              </p:cNvSpPr>
              <p:nvPr/>
            </p:nvSpPr>
            <p:spPr>
              <a:xfrm>
                <a:off x="5907442"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4" name="Oval 53">
                <a:extLst>
                  <a:ext uri="{FF2B5EF4-FFF2-40B4-BE49-F238E27FC236}">
                    <a16:creationId xmlns:a16="http://schemas.microsoft.com/office/drawing/2014/main" id="{6631902E-8283-B3A1-83B3-B9CF183F2ECF}"/>
                  </a:ext>
                </a:extLst>
              </p:cNvPr>
              <p:cNvSpPr>
                <a:spLocks noChangeAspect="1"/>
              </p:cNvSpPr>
              <p:nvPr/>
            </p:nvSpPr>
            <p:spPr>
              <a:xfrm>
                <a:off x="5907442"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5" name="Oval 54">
                <a:extLst>
                  <a:ext uri="{FF2B5EF4-FFF2-40B4-BE49-F238E27FC236}">
                    <a16:creationId xmlns:a16="http://schemas.microsoft.com/office/drawing/2014/main" id="{5578A7C0-05E9-A41B-4179-E88B0CC65DC0}"/>
                  </a:ext>
                </a:extLst>
              </p:cNvPr>
              <p:cNvSpPr>
                <a:spLocks noChangeAspect="1"/>
              </p:cNvSpPr>
              <p:nvPr/>
            </p:nvSpPr>
            <p:spPr>
              <a:xfrm>
                <a:off x="763175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6" name="Oval 55">
                <a:extLst>
                  <a:ext uri="{FF2B5EF4-FFF2-40B4-BE49-F238E27FC236}">
                    <a16:creationId xmlns:a16="http://schemas.microsoft.com/office/drawing/2014/main" id="{C2D06A07-03A8-5C9D-58B7-8FAEAC84D411}"/>
                  </a:ext>
                </a:extLst>
              </p:cNvPr>
              <p:cNvSpPr>
                <a:spLocks noChangeAspect="1"/>
              </p:cNvSpPr>
              <p:nvPr/>
            </p:nvSpPr>
            <p:spPr>
              <a:xfrm>
                <a:off x="7631753"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7" name="Oval 56">
                <a:extLst>
                  <a:ext uri="{FF2B5EF4-FFF2-40B4-BE49-F238E27FC236}">
                    <a16:creationId xmlns:a16="http://schemas.microsoft.com/office/drawing/2014/main" id="{BBF294A8-B3F4-AF74-C25C-5591B7694D6E}"/>
                  </a:ext>
                </a:extLst>
              </p:cNvPr>
              <p:cNvSpPr>
                <a:spLocks noChangeAspect="1"/>
              </p:cNvSpPr>
              <p:nvPr/>
            </p:nvSpPr>
            <p:spPr>
              <a:xfrm>
                <a:off x="7631754"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8" name="Oval 57">
                <a:extLst>
                  <a:ext uri="{FF2B5EF4-FFF2-40B4-BE49-F238E27FC236}">
                    <a16:creationId xmlns:a16="http://schemas.microsoft.com/office/drawing/2014/main" id="{C92EFBFE-2500-FB6B-8525-5AB23CC44F73}"/>
                  </a:ext>
                </a:extLst>
              </p:cNvPr>
              <p:cNvSpPr>
                <a:spLocks noChangeAspect="1"/>
              </p:cNvSpPr>
              <p:nvPr/>
            </p:nvSpPr>
            <p:spPr>
              <a:xfrm>
                <a:off x="7055526"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9" name="Oval 58">
                <a:extLst>
                  <a:ext uri="{FF2B5EF4-FFF2-40B4-BE49-F238E27FC236}">
                    <a16:creationId xmlns:a16="http://schemas.microsoft.com/office/drawing/2014/main" id="{44200969-61EB-7721-2B20-1E2FE82C755B}"/>
                  </a:ext>
                </a:extLst>
              </p:cNvPr>
              <p:cNvSpPr>
                <a:spLocks noChangeAspect="1"/>
              </p:cNvSpPr>
              <p:nvPr/>
            </p:nvSpPr>
            <p:spPr>
              <a:xfrm>
                <a:off x="7055526"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0" name="Oval 59">
                <a:extLst>
                  <a:ext uri="{FF2B5EF4-FFF2-40B4-BE49-F238E27FC236}">
                    <a16:creationId xmlns:a16="http://schemas.microsoft.com/office/drawing/2014/main" id="{55D482F6-297B-C73C-7B70-1C3A3E62BC4E}"/>
                  </a:ext>
                </a:extLst>
              </p:cNvPr>
              <p:cNvSpPr>
                <a:spLocks noChangeAspect="1"/>
              </p:cNvSpPr>
              <p:nvPr/>
            </p:nvSpPr>
            <p:spPr>
              <a:xfrm>
                <a:off x="7055526"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1" name="Oval 60">
                <a:extLst>
                  <a:ext uri="{FF2B5EF4-FFF2-40B4-BE49-F238E27FC236}">
                    <a16:creationId xmlns:a16="http://schemas.microsoft.com/office/drawing/2014/main" id="{8C44CEE9-236A-D7A2-6AD8-6186BDC029AE}"/>
                  </a:ext>
                </a:extLst>
              </p:cNvPr>
              <p:cNvSpPr>
                <a:spLocks noChangeAspect="1"/>
              </p:cNvSpPr>
              <p:nvPr/>
            </p:nvSpPr>
            <p:spPr>
              <a:xfrm>
                <a:off x="7055526"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2" name="Oval 61">
                <a:extLst>
                  <a:ext uri="{FF2B5EF4-FFF2-40B4-BE49-F238E27FC236}">
                    <a16:creationId xmlns:a16="http://schemas.microsoft.com/office/drawing/2014/main" id="{51E6C698-1F15-D6D5-1B87-04E5CC87AC5E}"/>
                  </a:ext>
                </a:extLst>
              </p:cNvPr>
              <p:cNvSpPr>
                <a:spLocks noChangeAspect="1"/>
              </p:cNvSpPr>
              <p:nvPr/>
            </p:nvSpPr>
            <p:spPr>
              <a:xfrm>
                <a:off x="6483668"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3" name="Oval 62">
                <a:extLst>
                  <a:ext uri="{FF2B5EF4-FFF2-40B4-BE49-F238E27FC236}">
                    <a16:creationId xmlns:a16="http://schemas.microsoft.com/office/drawing/2014/main" id="{B7E15C68-3D5E-5329-5562-6D56FE135D41}"/>
                  </a:ext>
                </a:extLst>
              </p:cNvPr>
              <p:cNvSpPr>
                <a:spLocks noChangeAspect="1"/>
              </p:cNvSpPr>
              <p:nvPr/>
            </p:nvSpPr>
            <p:spPr>
              <a:xfrm>
                <a:off x="6483668"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4" name="Oval 63">
                <a:extLst>
                  <a:ext uri="{FF2B5EF4-FFF2-40B4-BE49-F238E27FC236}">
                    <a16:creationId xmlns:a16="http://schemas.microsoft.com/office/drawing/2014/main" id="{336A8E35-A78A-A309-96BD-F497B9970D79}"/>
                  </a:ext>
                </a:extLst>
              </p:cNvPr>
              <p:cNvSpPr>
                <a:spLocks noChangeAspect="1"/>
              </p:cNvSpPr>
              <p:nvPr/>
            </p:nvSpPr>
            <p:spPr>
              <a:xfrm>
                <a:off x="6483668"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5" name="Oval 64">
                <a:extLst>
                  <a:ext uri="{FF2B5EF4-FFF2-40B4-BE49-F238E27FC236}">
                    <a16:creationId xmlns:a16="http://schemas.microsoft.com/office/drawing/2014/main" id="{DF31DD82-2145-ED70-CAC5-D3763B8FF822}"/>
                  </a:ext>
                </a:extLst>
              </p:cNvPr>
              <p:cNvSpPr>
                <a:spLocks noChangeAspect="1"/>
              </p:cNvSpPr>
              <p:nvPr/>
            </p:nvSpPr>
            <p:spPr>
              <a:xfrm>
                <a:off x="6483668"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spTree>
    <p:extLst>
      <p:ext uri="{BB962C8B-B14F-4D97-AF65-F5344CB8AC3E}">
        <p14:creationId xmlns:p14="http://schemas.microsoft.com/office/powerpoint/2010/main" val="4195596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74">
            <a:extLst>
              <a:ext uri="{FF2B5EF4-FFF2-40B4-BE49-F238E27FC236}">
                <a16:creationId xmlns:a16="http://schemas.microsoft.com/office/drawing/2014/main" id="{BBE73980-4078-03EF-7186-DD1BD11CE9AC}"/>
              </a:ext>
            </a:extLst>
          </p:cNvPr>
          <p:cNvSpPr/>
          <p:nvPr/>
        </p:nvSpPr>
        <p:spPr>
          <a:xfrm>
            <a:off x="1290596" y="3950383"/>
            <a:ext cx="3741029" cy="1043345"/>
          </a:xfrm>
          <a:prstGeom prst="rect">
            <a:avLst/>
          </a:prstGeom>
          <a:solidFill>
            <a:schemeClr val="accent4">
              <a:lumMod val="75000"/>
              <a:lumOff val="25000"/>
            </a:schemeClr>
          </a:solidFill>
          <a:ln w="25400" cap="rnd">
            <a:solidFill>
              <a:schemeClr val="accent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6" name="Rounded Rectangle 75">
            <a:extLst>
              <a:ext uri="{FF2B5EF4-FFF2-40B4-BE49-F238E27FC236}">
                <a16:creationId xmlns:a16="http://schemas.microsoft.com/office/drawing/2014/main" id="{DEB4127F-C72C-A561-AA8D-E91C3EE27440}"/>
              </a:ext>
            </a:extLst>
          </p:cNvPr>
          <p:cNvSpPr/>
          <p:nvPr/>
        </p:nvSpPr>
        <p:spPr>
          <a:xfrm>
            <a:off x="7712450" y="6281002"/>
            <a:ext cx="2629894" cy="618767"/>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Summary</a:t>
            </a:r>
          </a:p>
        </p:txBody>
      </p:sp>
      <p:grpSp>
        <p:nvGrpSpPr>
          <p:cNvPr id="77" name="Group 76">
            <a:extLst>
              <a:ext uri="{FF2B5EF4-FFF2-40B4-BE49-F238E27FC236}">
                <a16:creationId xmlns:a16="http://schemas.microsoft.com/office/drawing/2014/main" id="{2522E8BE-FF7C-F7C9-45E5-1A4FE9EAF2FF}"/>
              </a:ext>
            </a:extLst>
          </p:cNvPr>
          <p:cNvGrpSpPr/>
          <p:nvPr/>
        </p:nvGrpSpPr>
        <p:grpSpPr>
          <a:xfrm>
            <a:off x="1487923" y="2419743"/>
            <a:ext cx="3239588" cy="25444199"/>
            <a:chOff x="13757848" y="2169190"/>
            <a:chExt cx="3239588" cy="25444199"/>
          </a:xfrm>
        </p:grpSpPr>
        <p:grpSp>
          <p:nvGrpSpPr>
            <p:cNvPr id="78" name="Group 77">
              <a:extLst>
                <a:ext uri="{FF2B5EF4-FFF2-40B4-BE49-F238E27FC236}">
                  <a16:creationId xmlns:a16="http://schemas.microsoft.com/office/drawing/2014/main" id="{B690930E-169E-2ADA-68F3-F100867D18D3}"/>
                </a:ext>
              </a:extLst>
            </p:cNvPr>
            <p:cNvGrpSpPr/>
            <p:nvPr/>
          </p:nvGrpSpPr>
          <p:grpSpPr>
            <a:xfrm>
              <a:off x="13757848" y="2169190"/>
              <a:ext cx="3239588" cy="3005109"/>
              <a:chOff x="13757848" y="2169190"/>
              <a:chExt cx="3239588" cy="3005109"/>
            </a:xfrm>
          </p:grpSpPr>
          <p:grpSp>
            <p:nvGrpSpPr>
              <p:cNvPr id="345" name="Group 344">
                <a:extLst>
                  <a:ext uri="{FF2B5EF4-FFF2-40B4-BE49-F238E27FC236}">
                    <a16:creationId xmlns:a16="http://schemas.microsoft.com/office/drawing/2014/main" id="{BAC174C7-46A3-8AFB-2000-7F5F36B4635B}"/>
                  </a:ext>
                </a:extLst>
              </p:cNvPr>
              <p:cNvGrpSpPr/>
              <p:nvPr/>
            </p:nvGrpSpPr>
            <p:grpSpPr>
              <a:xfrm>
                <a:off x="13816078" y="2169190"/>
                <a:ext cx="3096088" cy="707825"/>
                <a:chOff x="13816078" y="2169190"/>
                <a:chExt cx="3096088" cy="707825"/>
              </a:xfrm>
            </p:grpSpPr>
            <p:sp>
              <p:nvSpPr>
                <p:cNvPr id="372" name="Rounded Rectangle 371">
                  <a:extLst>
                    <a:ext uri="{FF2B5EF4-FFF2-40B4-BE49-F238E27FC236}">
                      <a16:creationId xmlns:a16="http://schemas.microsoft.com/office/drawing/2014/main" id="{065FBB79-E002-BD0C-5E86-8563AF7572F3}"/>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73" name="Group 372">
                  <a:extLst>
                    <a:ext uri="{FF2B5EF4-FFF2-40B4-BE49-F238E27FC236}">
                      <a16:creationId xmlns:a16="http://schemas.microsoft.com/office/drawing/2014/main" id="{0B0BFFFE-DC93-4991-7B04-80F5C3D8E6FD}"/>
                    </a:ext>
                  </a:extLst>
                </p:cNvPr>
                <p:cNvGrpSpPr/>
                <p:nvPr/>
              </p:nvGrpSpPr>
              <p:grpSpPr>
                <a:xfrm>
                  <a:off x="14631247" y="2345047"/>
                  <a:ext cx="2132754" cy="339866"/>
                  <a:chOff x="3344204" y="2330315"/>
                  <a:chExt cx="1972263" cy="339866"/>
                </a:xfrm>
              </p:grpSpPr>
              <p:cxnSp>
                <p:nvCxnSpPr>
                  <p:cNvPr id="375" name="Straight Connector 374">
                    <a:extLst>
                      <a:ext uri="{FF2B5EF4-FFF2-40B4-BE49-F238E27FC236}">
                        <a16:creationId xmlns:a16="http://schemas.microsoft.com/office/drawing/2014/main" id="{222D7E74-1AF9-E449-ADC4-ED85633558C7}"/>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8D0C5169-B0AB-E3CA-21E6-86B1A9041580}"/>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A54BE095-E811-A766-A073-C12C5E3EB0B1}"/>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4A60DB9C-D809-DD9D-2617-493629C05D2F}"/>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A003BFC6-8BAB-7987-CED3-898CFA946BF7}"/>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2FF8595E-C8D9-E4B5-C039-885AF5B4564A}"/>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9A3C3A67-1985-5FBD-DF6A-CA1E1C58334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74" name="TextBox 373">
                  <a:extLst>
                    <a:ext uri="{FF2B5EF4-FFF2-40B4-BE49-F238E27FC236}">
                      <a16:creationId xmlns:a16="http://schemas.microsoft.com/office/drawing/2014/main" id="{9F7A36F8-3889-B01A-733E-48DD12694B57}"/>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a:t>
                  </a:r>
                </a:p>
              </p:txBody>
            </p:sp>
          </p:grpSp>
          <p:grpSp>
            <p:nvGrpSpPr>
              <p:cNvPr id="346" name="Group 345">
                <a:extLst>
                  <a:ext uri="{FF2B5EF4-FFF2-40B4-BE49-F238E27FC236}">
                    <a16:creationId xmlns:a16="http://schemas.microsoft.com/office/drawing/2014/main" id="{D626F8B8-BB56-E5F8-DCDA-FDC87DA4B024}"/>
                  </a:ext>
                </a:extLst>
              </p:cNvPr>
              <p:cNvGrpSpPr/>
              <p:nvPr/>
            </p:nvGrpSpPr>
            <p:grpSpPr>
              <a:xfrm>
                <a:off x="13816078" y="3243610"/>
                <a:ext cx="3096088" cy="707825"/>
                <a:chOff x="13816078" y="3243610"/>
                <a:chExt cx="3096088" cy="707825"/>
              </a:xfrm>
            </p:grpSpPr>
            <p:sp>
              <p:nvSpPr>
                <p:cNvPr id="361" name="Rounded Rectangle 360">
                  <a:extLst>
                    <a:ext uri="{FF2B5EF4-FFF2-40B4-BE49-F238E27FC236}">
                      <a16:creationId xmlns:a16="http://schemas.microsoft.com/office/drawing/2014/main" id="{3B3D0B59-A400-9CEA-FE1C-C90BADAD7C6C}"/>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62" name="Group 361">
                  <a:extLst>
                    <a:ext uri="{FF2B5EF4-FFF2-40B4-BE49-F238E27FC236}">
                      <a16:creationId xmlns:a16="http://schemas.microsoft.com/office/drawing/2014/main" id="{03BD8B72-3BF2-2C91-1743-1709FF310290}"/>
                    </a:ext>
                  </a:extLst>
                </p:cNvPr>
                <p:cNvGrpSpPr/>
                <p:nvPr/>
              </p:nvGrpSpPr>
              <p:grpSpPr>
                <a:xfrm>
                  <a:off x="14631247" y="3419467"/>
                  <a:ext cx="2132754" cy="339866"/>
                  <a:chOff x="3344204" y="2330315"/>
                  <a:chExt cx="1972263" cy="339866"/>
                </a:xfrm>
              </p:grpSpPr>
              <p:cxnSp>
                <p:nvCxnSpPr>
                  <p:cNvPr id="364" name="Straight Connector 363">
                    <a:extLst>
                      <a:ext uri="{FF2B5EF4-FFF2-40B4-BE49-F238E27FC236}">
                        <a16:creationId xmlns:a16="http://schemas.microsoft.com/office/drawing/2014/main" id="{9CAE0350-D093-7B47-E464-B91F323933AC}"/>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56145A44-E0A1-DDFC-9781-FF0223F43786}"/>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576548C2-236A-2B03-0A01-3A3ECB4A9B83}"/>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CD4ED883-6917-1BDD-0551-9E2F9796C401}"/>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C76BA7F8-BAB5-41E6-2BF6-7026AEA4258D}"/>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19B3A278-7D87-28F9-7F1F-57D385A742F5}"/>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05C5DC92-6343-641C-3E30-201363A71E7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654072DB-5642-9B82-16ED-8147553679DC}"/>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63" name="TextBox 362">
                  <a:extLst>
                    <a:ext uri="{FF2B5EF4-FFF2-40B4-BE49-F238E27FC236}">
                      <a16:creationId xmlns:a16="http://schemas.microsoft.com/office/drawing/2014/main" id="{EFD82516-B901-508F-63F9-9AFD953AB244}"/>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a:t>
                  </a:r>
                </a:p>
              </p:txBody>
            </p:sp>
          </p:grpSp>
          <p:cxnSp>
            <p:nvCxnSpPr>
              <p:cNvPr id="347" name="Straight Connector 346">
                <a:extLst>
                  <a:ext uri="{FF2B5EF4-FFF2-40B4-BE49-F238E27FC236}">
                    <a16:creationId xmlns:a16="http://schemas.microsoft.com/office/drawing/2014/main" id="{EAC55EC1-02B8-D338-034A-2F8DFFD4FE69}"/>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348" name="Group 347">
                <a:extLst>
                  <a:ext uri="{FF2B5EF4-FFF2-40B4-BE49-F238E27FC236}">
                    <a16:creationId xmlns:a16="http://schemas.microsoft.com/office/drawing/2014/main" id="{C0E23553-B42E-90D0-0BFD-04B3ED8CD056}"/>
                  </a:ext>
                </a:extLst>
              </p:cNvPr>
              <p:cNvGrpSpPr/>
              <p:nvPr/>
            </p:nvGrpSpPr>
            <p:grpSpPr>
              <a:xfrm>
                <a:off x="13816078" y="4288638"/>
                <a:ext cx="3096088" cy="707825"/>
                <a:chOff x="13816078" y="4288638"/>
                <a:chExt cx="3096088" cy="707825"/>
              </a:xfrm>
            </p:grpSpPr>
            <p:sp>
              <p:nvSpPr>
                <p:cNvPr id="351" name="Rounded Rectangle 350">
                  <a:extLst>
                    <a:ext uri="{FF2B5EF4-FFF2-40B4-BE49-F238E27FC236}">
                      <a16:creationId xmlns:a16="http://schemas.microsoft.com/office/drawing/2014/main" id="{5994C16D-B4CB-F44C-CEF6-EABB266DA014}"/>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52" name="Group 351">
                  <a:extLst>
                    <a:ext uri="{FF2B5EF4-FFF2-40B4-BE49-F238E27FC236}">
                      <a16:creationId xmlns:a16="http://schemas.microsoft.com/office/drawing/2014/main" id="{EBA82B7C-A481-86D6-2FD8-A7CAB33CFE17}"/>
                    </a:ext>
                  </a:extLst>
                </p:cNvPr>
                <p:cNvGrpSpPr/>
                <p:nvPr/>
              </p:nvGrpSpPr>
              <p:grpSpPr>
                <a:xfrm>
                  <a:off x="14631247" y="4464495"/>
                  <a:ext cx="2132754" cy="339866"/>
                  <a:chOff x="3344204" y="2330315"/>
                  <a:chExt cx="1972263" cy="339866"/>
                </a:xfrm>
              </p:grpSpPr>
              <p:cxnSp>
                <p:nvCxnSpPr>
                  <p:cNvPr id="354" name="Straight Connector 353">
                    <a:extLst>
                      <a:ext uri="{FF2B5EF4-FFF2-40B4-BE49-F238E27FC236}">
                        <a16:creationId xmlns:a16="http://schemas.microsoft.com/office/drawing/2014/main" id="{C423F404-3E44-AD88-AB9B-130147E6D944}"/>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01B10EEB-7B0E-2DF2-EF5D-7D596B27F493}"/>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1107B111-29B4-2A2A-2DF2-612A15FF0D17}"/>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BF500494-B4E7-C7EA-E9C6-2F489C758FF3}"/>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A0F60889-6079-5799-10BA-1D3939CCEC04}"/>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BBCD4A44-A443-9BCE-C4E7-D94EFE4E43CE}"/>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689D3F1D-8593-033C-DD4D-78B1AAC81255}"/>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53" name="TextBox 352">
                  <a:extLst>
                    <a:ext uri="{FF2B5EF4-FFF2-40B4-BE49-F238E27FC236}">
                      <a16:creationId xmlns:a16="http://schemas.microsoft.com/office/drawing/2014/main" id="{EA43A48D-BA02-B6BD-87FF-CED6B1C194C9}"/>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3</a:t>
                  </a:r>
                </a:p>
              </p:txBody>
            </p:sp>
          </p:grpSp>
          <p:cxnSp>
            <p:nvCxnSpPr>
              <p:cNvPr id="349" name="Straight Connector 348">
                <a:extLst>
                  <a:ext uri="{FF2B5EF4-FFF2-40B4-BE49-F238E27FC236}">
                    <a16:creationId xmlns:a16="http://schemas.microsoft.com/office/drawing/2014/main" id="{EE8511A5-F6F8-8FA8-D747-A0A58B6E41E4}"/>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50" name="Straight Connector 349">
                <a:extLst>
                  <a:ext uri="{FF2B5EF4-FFF2-40B4-BE49-F238E27FC236}">
                    <a16:creationId xmlns:a16="http://schemas.microsoft.com/office/drawing/2014/main" id="{007BBC60-B69E-86FB-2013-A58A4AEE3674}"/>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79" name="Group 78">
              <a:extLst>
                <a:ext uri="{FF2B5EF4-FFF2-40B4-BE49-F238E27FC236}">
                  <a16:creationId xmlns:a16="http://schemas.microsoft.com/office/drawing/2014/main" id="{B154389C-A2F9-C011-BFF5-9E83FA16B9B2}"/>
                </a:ext>
              </a:extLst>
            </p:cNvPr>
            <p:cNvGrpSpPr/>
            <p:nvPr/>
          </p:nvGrpSpPr>
          <p:grpSpPr>
            <a:xfrm>
              <a:off x="13757848" y="5374774"/>
              <a:ext cx="3239588" cy="3005109"/>
              <a:chOff x="13757848" y="2169190"/>
              <a:chExt cx="3239588" cy="3005109"/>
            </a:xfrm>
          </p:grpSpPr>
          <p:grpSp>
            <p:nvGrpSpPr>
              <p:cNvPr id="308" name="Group 307">
                <a:extLst>
                  <a:ext uri="{FF2B5EF4-FFF2-40B4-BE49-F238E27FC236}">
                    <a16:creationId xmlns:a16="http://schemas.microsoft.com/office/drawing/2014/main" id="{B5E32BC7-C627-063F-9B7D-FC679FA90435}"/>
                  </a:ext>
                </a:extLst>
              </p:cNvPr>
              <p:cNvGrpSpPr/>
              <p:nvPr/>
            </p:nvGrpSpPr>
            <p:grpSpPr>
              <a:xfrm>
                <a:off x="13816078" y="2169190"/>
                <a:ext cx="3096088" cy="707825"/>
                <a:chOff x="13816078" y="2169190"/>
                <a:chExt cx="3096088" cy="707825"/>
              </a:xfrm>
            </p:grpSpPr>
            <p:sp>
              <p:nvSpPr>
                <p:cNvPr id="335" name="Rounded Rectangle 334">
                  <a:extLst>
                    <a:ext uri="{FF2B5EF4-FFF2-40B4-BE49-F238E27FC236}">
                      <a16:creationId xmlns:a16="http://schemas.microsoft.com/office/drawing/2014/main" id="{B354B105-67C2-537E-64C9-7938F3BF701A}"/>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36" name="Group 335">
                  <a:extLst>
                    <a:ext uri="{FF2B5EF4-FFF2-40B4-BE49-F238E27FC236}">
                      <a16:creationId xmlns:a16="http://schemas.microsoft.com/office/drawing/2014/main" id="{2788FAB7-85E7-802D-F791-1AD350B5E0DB}"/>
                    </a:ext>
                  </a:extLst>
                </p:cNvPr>
                <p:cNvGrpSpPr/>
                <p:nvPr/>
              </p:nvGrpSpPr>
              <p:grpSpPr>
                <a:xfrm>
                  <a:off x="14631247" y="2345047"/>
                  <a:ext cx="2132754" cy="339866"/>
                  <a:chOff x="3344204" y="2330315"/>
                  <a:chExt cx="1972263" cy="339866"/>
                </a:xfrm>
              </p:grpSpPr>
              <p:cxnSp>
                <p:nvCxnSpPr>
                  <p:cNvPr id="338" name="Straight Connector 337">
                    <a:extLst>
                      <a:ext uri="{FF2B5EF4-FFF2-40B4-BE49-F238E27FC236}">
                        <a16:creationId xmlns:a16="http://schemas.microsoft.com/office/drawing/2014/main" id="{1F08EA39-C6E5-4E23-7BF1-0136F278B4D9}"/>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2B2F2778-3307-6EE9-D5F8-724F0BDFEED4}"/>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CEC96814-BC4B-CCA4-ACC2-CDE7CDEB9AB5}"/>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A1863404-AA47-9C30-D7A7-9F93F4911710}"/>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5C494660-FAFE-F671-5536-C13C81D64B15}"/>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BEF992D5-5081-DAB2-EF9B-0C551472FEAE}"/>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53271FDE-68A4-4723-C37B-C2DD464AF19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37" name="TextBox 336">
                  <a:extLst>
                    <a:ext uri="{FF2B5EF4-FFF2-40B4-BE49-F238E27FC236}">
                      <a16:creationId xmlns:a16="http://schemas.microsoft.com/office/drawing/2014/main" id="{5132533E-7024-DBCF-7CA3-79167DA84BA3}"/>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4</a:t>
                  </a:r>
                </a:p>
              </p:txBody>
            </p:sp>
          </p:grpSp>
          <p:grpSp>
            <p:nvGrpSpPr>
              <p:cNvPr id="309" name="Group 308">
                <a:extLst>
                  <a:ext uri="{FF2B5EF4-FFF2-40B4-BE49-F238E27FC236}">
                    <a16:creationId xmlns:a16="http://schemas.microsoft.com/office/drawing/2014/main" id="{F431B856-9B10-F0EF-F1CB-AA9149F6E1F3}"/>
                  </a:ext>
                </a:extLst>
              </p:cNvPr>
              <p:cNvGrpSpPr/>
              <p:nvPr/>
            </p:nvGrpSpPr>
            <p:grpSpPr>
              <a:xfrm>
                <a:off x="13816078" y="3243610"/>
                <a:ext cx="3096088" cy="707825"/>
                <a:chOff x="13816078" y="3243610"/>
                <a:chExt cx="3096088" cy="707825"/>
              </a:xfrm>
            </p:grpSpPr>
            <p:sp>
              <p:nvSpPr>
                <p:cNvPr id="324" name="Rounded Rectangle 323">
                  <a:extLst>
                    <a:ext uri="{FF2B5EF4-FFF2-40B4-BE49-F238E27FC236}">
                      <a16:creationId xmlns:a16="http://schemas.microsoft.com/office/drawing/2014/main" id="{917E700C-0F86-C3C1-3BBC-A1B6199AADF6}"/>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25" name="Group 324">
                  <a:extLst>
                    <a:ext uri="{FF2B5EF4-FFF2-40B4-BE49-F238E27FC236}">
                      <a16:creationId xmlns:a16="http://schemas.microsoft.com/office/drawing/2014/main" id="{689BDD90-D774-9471-67CF-DE888C16FBA7}"/>
                    </a:ext>
                  </a:extLst>
                </p:cNvPr>
                <p:cNvGrpSpPr/>
                <p:nvPr/>
              </p:nvGrpSpPr>
              <p:grpSpPr>
                <a:xfrm>
                  <a:off x="14631247" y="3419467"/>
                  <a:ext cx="2132754" cy="339866"/>
                  <a:chOff x="3344204" y="2330315"/>
                  <a:chExt cx="1972263" cy="339866"/>
                </a:xfrm>
              </p:grpSpPr>
              <p:cxnSp>
                <p:nvCxnSpPr>
                  <p:cNvPr id="327" name="Straight Connector 326">
                    <a:extLst>
                      <a:ext uri="{FF2B5EF4-FFF2-40B4-BE49-F238E27FC236}">
                        <a16:creationId xmlns:a16="http://schemas.microsoft.com/office/drawing/2014/main" id="{4B00187F-0C94-2B2B-B08D-2A7A660D9C06}"/>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28B17374-41AD-BECE-85C1-52A16AE38662}"/>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1AFA0360-DBD5-0B4E-4009-725B6AE35E96}"/>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0" name="Straight Connector 329">
                    <a:extLst>
                      <a:ext uri="{FF2B5EF4-FFF2-40B4-BE49-F238E27FC236}">
                        <a16:creationId xmlns:a16="http://schemas.microsoft.com/office/drawing/2014/main" id="{04E22627-2062-E216-4C17-BAF09B72550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1" name="Straight Connector 330">
                    <a:extLst>
                      <a:ext uri="{FF2B5EF4-FFF2-40B4-BE49-F238E27FC236}">
                        <a16:creationId xmlns:a16="http://schemas.microsoft.com/office/drawing/2014/main" id="{FC3FD60A-EAF2-B12A-0567-6E3AD7ACD332}"/>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2" name="Straight Connector 331">
                    <a:extLst>
                      <a:ext uri="{FF2B5EF4-FFF2-40B4-BE49-F238E27FC236}">
                        <a16:creationId xmlns:a16="http://schemas.microsoft.com/office/drawing/2014/main" id="{58B1E096-0854-CB2C-332E-2D57359A8289}"/>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3" name="Straight Connector 332">
                    <a:extLst>
                      <a:ext uri="{FF2B5EF4-FFF2-40B4-BE49-F238E27FC236}">
                        <a16:creationId xmlns:a16="http://schemas.microsoft.com/office/drawing/2014/main" id="{1A6443E1-F44C-917A-9005-F9D1DFD58163}"/>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4" name="Straight Connector 333">
                    <a:extLst>
                      <a:ext uri="{FF2B5EF4-FFF2-40B4-BE49-F238E27FC236}">
                        <a16:creationId xmlns:a16="http://schemas.microsoft.com/office/drawing/2014/main" id="{9B2BD53B-1DA7-669F-CF7C-1608FB24B4AE}"/>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26" name="TextBox 325">
                  <a:extLst>
                    <a:ext uri="{FF2B5EF4-FFF2-40B4-BE49-F238E27FC236}">
                      <a16:creationId xmlns:a16="http://schemas.microsoft.com/office/drawing/2014/main" id="{D6B32908-6359-4128-D22D-87EC05619669}"/>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5</a:t>
                  </a:r>
                </a:p>
              </p:txBody>
            </p:sp>
          </p:grpSp>
          <p:cxnSp>
            <p:nvCxnSpPr>
              <p:cNvPr id="310" name="Straight Connector 309">
                <a:extLst>
                  <a:ext uri="{FF2B5EF4-FFF2-40B4-BE49-F238E27FC236}">
                    <a16:creationId xmlns:a16="http://schemas.microsoft.com/office/drawing/2014/main" id="{CE839B83-3779-D595-ECBA-1A8807A087D3}"/>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311" name="Group 310">
                <a:extLst>
                  <a:ext uri="{FF2B5EF4-FFF2-40B4-BE49-F238E27FC236}">
                    <a16:creationId xmlns:a16="http://schemas.microsoft.com/office/drawing/2014/main" id="{34522B99-42C9-AEDE-D201-679D10657CEA}"/>
                  </a:ext>
                </a:extLst>
              </p:cNvPr>
              <p:cNvGrpSpPr/>
              <p:nvPr/>
            </p:nvGrpSpPr>
            <p:grpSpPr>
              <a:xfrm>
                <a:off x="13816078" y="4288638"/>
                <a:ext cx="3096088" cy="707825"/>
                <a:chOff x="13816078" y="4288638"/>
                <a:chExt cx="3096088" cy="707825"/>
              </a:xfrm>
            </p:grpSpPr>
            <p:sp>
              <p:nvSpPr>
                <p:cNvPr id="314" name="Rounded Rectangle 313">
                  <a:extLst>
                    <a:ext uri="{FF2B5EF4-FFF2-40B4-BE49-F238E27FC236}">
                      <a16:creationId xmlns:a16="http://schemas.microsoft.com/office/drawing/2014/main" id="{3363525B-FE59-9818-EF36-A4F75AAE17F7}"/>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15" name="Group 314">
                  <a:extLst>
                    <a:ext uri="{FF2B5EF4-FFF2-40B4-BE49-F238E27FC236}">
                      <a16:creationId xmlns:a16="http://schemas.microsoft.com/office/drawing/2014/main" id="{42DFB7CF-6C92-28B3-2B7F-EF3B2188D604}"/>
                    </a:ext>
                  </a:extLst>
                </p:cNvPr>
                <p:cNvGrpSpPr/>
                <p:nvPr/>
              </p:nvGrpSpPr>
              <p:grpSpPr>
                <a:xfrm>
                  <a:off x="14631247" y="4464495"/>
                  <a:ext cx="2132754" cy="339866"/>
                  <a:chOff x="3344204" y="2330315"/>
                  <a:chExt cx="1972263" cy="339866"/>
                </a:xfrm>
              </p:grpSpPr>
              <p:cxnSp>
                <p:nvCxnSpPr>
                  <p:cNvPr id="317" name="Straight Connector 316">
                    <a:extLst>
                      <a:ext uri="{FF2B5EF4-FFF2-40B4-BE49-F238E27FC236}">
                        <a16:creationId xmlns:a16="http://schemas.microsoft.com/office/drawing/2014/main" id="{00A74B4D-C4DF-2A66-C5DB-C259602910E5}"/>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2E980074-C8B8-6D66-12A1-C4224DF3D974}"/>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063B2D91-DD76-E37A-03C4-DAD328538990}"/>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0C3AC94D-6A13-9EB9-2B1D-20363620578C}"/>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84FE8537-CC26-89CD-2BEC-357E82E4EEE2}"/>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004EE9E6-4894-0DDB-3577-82AA6601DFE9}"/>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220DC378-5C40-2F1B-A919-206B0AFE36FC}"/>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16" name="TextBox 315">
                  <a:extLst>
                    <a:ext uri="{FF2B5EF4-FFF2-40B4-BE49-F238E27FC236}">
                      <a16:creationId xmlns:a16="http://schemas.microsoft.com/office/drawing/2014/main" id="{5D60485F-DE7A-D5B4-A311-58762BE89B92}"/>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6</a:t>
                  </a:r>
                </a:p>
              </p:txBody>
            </p:sp>
          </p:grpSp>
          <p:cxnSp>
            <p:nvCxnSpPr>
              <p:cNvPr id="312" name="Straight Connector 311">
                <a:extLst>
                  <a:ext uri="{FF2B5EF4-FFF2-40B4-BE49-F238E27FC236}">
                    <a16:creationId xmlns:a16="http://schemas.microsoft.com/office/drawing/2014/main" id="{4B96BCDF-154B-8F22-E644-173BF97B7368}"/>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13" name="Straight Connector 312">
                <a:extLst>
                  <a:ext uri="{FF2B5EF4-FFF2-40B4-BE49-F238E27FC236}">
                    <a16:creationId xmlns:a16="http://schemas.microsoft.com/office/drawing/2014/main" id="{174DDD77-8B41-65DB-679F-E1F3241A6892}"/>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0" name="Group 79">
              <a:extLst>
                <a:ext uri="{FF2B5EF4-FFF2-40B4-BE49-F238E27FC236}">
                  <a16:creationId xmlns:a16="http://schemas.microsoft.com/office/drawing/2014/main" id="{3FB97BD4-AACB-ADD2-D07C-214B4014AE51}"/>
                </a:ext>
              </a:extLst>
            </p:cNvPr>
            <p:cNvGrpSpPr/>
            <p:nvPr/>
          </p:nvGrpSpPr>
          <p:grpSpPr>
            <a:xfrm>
              <a:off x="13757848" y="8580358"/>
              <a:ext cx="3239588" cy="3005109"/>
              <a:chOff x="13757848" y="2169190"/>
              <a:chExt cx="3239588" cy="3005109"/>
            </a:xfrm>
          </p:grpSpPr>
          <p:grpSp>
            <p:nvGrpSpPr>
              <p:cNvPr id="271" name="Group 270">
                <a:extLst>
                  <a:ext uri="{FF2B5EF4-FFF2-40B4-BE49-F238E27FC236}">
                    <a16:creationId xmlns:a16="http://schemas.microsoft.com/office/drawing/2014/main" id="{08A3DD78-4439-7094-E653-DD110C95C274}"/>
                  </a:ext>
                </a:extLst>
              </p:cNvPr>
              <p:cNvGrpSpPr/>
              <p:nvPr/>
            </p:nvGrpSpPr>
            <p:grpSpPr>
              <a:xfrm>
                <a:off x="13816078" y="2169190"/>
                <a:ext cx="3096088" cy="707825"/>
                <a:chOff x="13816078" y="2169190"/>
                <a:chExt cx="3096088" cy="707825"/>
              </a:xfrm>
            </p:grpSpPr>
            <p:sp>
              <p:nvSpPr>
                <p:cNvPr id="298" name="Rounded Rectangle 297">
                  <a:extLst>
                    <a:ext uri="{FF2B5EF4-FFF2-40B4-BE49-F238E27FC236}">
                      <a16:creationId xmlns:a16="http://schemas.microsoft.com/office/drawing/2014/main" id="{66ADDCB3-1844-89DA-2287-F1ED84A58E08}"/>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99" name="Group 298">
                  <a:extLst>
                    <a:ext uri="{FF2B5EF4-FFF2-40B4-BE49-F238E27FC236}">
                      <a16:creationId xmlns:a16="http://schemas.microsoft.com/office/drawing/2014/main" id="{D3DCACF2-ABD9-9080-9352-E20634586F66}"/>
                    </a:ext>
                  </a:extLst>
                </p:cNvPr>
                <p:cNvGrpSpPr/>
                <p:nvPr/>
              </p:nvGrpSpPr>
              <p:grpSpPr>
                <a:xfrm>
                  <a:off x="14631247" y="2345047"/>
                  <a:ext cx="2132754" cy="339866"/>
                  <a:chOff x="3344204" y="2330315"/>
                  <a:chExt cx="1972263" cy="339866"/>
                </a:xfrm>
              </p:grpSpPr>
              <p:cxnSp>
                <p:nvCxnSpPr>
                  <p:cNvPr id="301" name="Straight Connector 300">
                    <a:extLst>
                      <a:ext uri="{FF2B5EF4-FFF2-40B4-BE49-F238E27FC236}">
                        <a16:creationId xmlns:a16="http://schemas.microsoft.com/office/drawing/2014/main" id="{1254A449-E2DD-765F-B98B-9872E73FA666}"/>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80019719-BF68-47C3-21F4-818216B8C529}"/>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05AB5EC1-31B9-34F8-A130-1B29937CAA3E}"/>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28DFA591-C9A3-B720-3D30-DC037C6104BA}"/>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4036F09B-E932-EAEF-716B-96DA78B78F57}"/>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540E71DD-0AD0-1DBE-DE17-9F49DF7AFE3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A97BEFE5-9398-F88F-0286-16B8A48AB571}"/>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00" name="TextBox 299">
                  <a:extLst>
                    <a:ext uri="{FF2B5EF4-FFF2-40B4-BE49-F238E27FC236}">
                      <a16:creationId xmlns:a16="http://schemas.microsoft.com/office/drawing/2014/main" id="{0CE28165-09B4-B06E-1919-44C30F5875E9}"/>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7</a:t>
                  </a:r>
                </a:p>
              </p:txBody>
            </p:sp>
          </p:grpSp>
          <p:grpSp>
            <p:nvGrpSpPr>
              <p:cNvPr id="272" name="Group 271">
                <a:extLst>
                  <a:ext uri="{FF2B5EF4-FFF2-40B4-BE49-F238E27FC236}">
                    <a16:creationId xmlns:a16="http://schemas.microsoft.com/office/drawing/2014/main" id="{727235A3-FE54-AA93-D493-493E27D10696}"/>
                  </a:ext>
                </a:extLst>
              </p:cNvPr>
              <p:cNvGrpSpPr/>
              <p:nvPr/>
            </p:nvGrpSpPr>
            <p:grpSpPr>
              <a:xfrm>
                <a:off x="13816078" y="3243610"/>
                <a:ext cx="3096088" cy="707825"/>
                <a:chOff x="13816078" y="3243610"/>
                <a:chExt cx="3096088" cy="707825"/>
              </a:xfrm>
            </p:grpSpPr>
            <p:sp>
              <p:nvSpPr>
                <p:cNvPr id="287" name="Rounded Rectangle 286">
                  <a:extLst>
                    <a:ext uri="{FF2B5EF4-FFF2-40B4-BE49-F238E27FC236}">
                      <a16:creationId xmlns:a16="http://schemas.microsoft.com/office/drawing/2014/main" id="{EA9E7D6D-007A-F530-D27E-CDAD9A83A07C}"/>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88" name="Group 287">
                  <a:extLst>
                    <a:ext uri="{FF2B5EF4-FFF2-40B4-BE49-F238E27FC236}">
                      <a16:creationId xmlns:a16="http://schemas.microsoft.com/office/drawing/2014/main" id="{C3280E88-86F9-A219-760B-267F4FDA805D}"/>
                    </a:ext>
                  </a:extLst>
                </p:cNvPr>
                <p:cNvGrpSpPr/>
                <p:nvPr/>
              </p:nvGrpSpPr>
              <p:grpSpPr>
                <a:xfrm>
                  <a:off x="14631247" y="3419467"/>
                  <a:ext cx="2132754" cy="339866"/>
                  <a:chOff x="3344204" y="2330315"/>
                  <a:chExt cx="1972263" cy="339866"/>
                </a:xfrm>
              </p:grpSpPr>
              <p:cxnSp>
                <p:nvCxnSpPr>
                  <p:cNvPr id="290" name="Straight Connector 289">
                    <a:extLst>
                      <a:ext uri="{FF2B5EF4-FFF2-40B4-BE49-F238E27FC236}">
                        <a16:creationId xmlns:a16="http://schemas.microsoft.com/office/drawing/2014/main" id="{9C1A5ABA-30E5-0C1F-22ED-91557FC3F244}"/>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A5DAEAEA-60DA-F8C9-3595-6C340FA781B8}"/>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608398FB-4076-44FB-E6FF-5785C434CBC3}"/>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247E76C6-BD7B-113B-791C-72DE26204736}"/>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73934722-E29B-758D-DCF5-1E3DAE6FF524}"/>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A9125ACB-BA80-2406-CDDB-2FF2E4FB4EF8}"/>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70EF8B4B-2895-556F-A401-4F475FADFFA7}"/>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10059D90-4541-6436-5F11-0676F4E059E8}"/>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89" name="TextBox 288">
                  <a:extLst>
                    <a:ext uri="{FF2B5EF4-FFF2-40B4-BE49-F238E27FC236}">
                      <a16:creationId xmlns:a16="http://schemas.microsoft.com/office/drawing/2014/main" id="{9CA56F5E-99B0-0496-1CB3-4E74CFD863F9}"/>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8</a:t>
                  </a:r>
                </a:p>
              </p:txBody>
            </p:sp>
          </p:grpSp>
          <p:cxnSp>
            <p:nvCxnSpPr>
              <p:cNvPr id="273" name="Straight Connector 272">
                <a:extLst>
                  <a:ext uri="{FF2B5EF4-FFF2-40B4-BE49-F238E27FC236}">
                    <a16:creationId xmlns:a16="http://schemas.microsoft.com/office/drawing/2014/main" id="{1D0E32D2-2075-F619-E003-909019235734}"/>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74" name="Group 273">
                <a:extLst>
                  <a:ext uri="{FF2B5EF4-FFF2-40B4-BE49-F238E27FC236}">
                    <a16:creationId xmlns:a16="http://schemas.microsoft.com/office/drawing/2014/main" id="{495DEFEA-B979-454A-0780-0D2D2019BF8B}"/>
                  </a:ext>
                </a:extLst>
              </p:cNvPr>
              <p:cNvGrpSpPr/>
              <p:nvPr/>
            </p:nvGrpSpPr>
            <p:grpSpPr>
              <a:xfrm>
                <a:off x="13816078" y="4288638"/>
                <a:ext cx="3096088" cy="707825"/>
                <a:chOff x="13816078" y="4288638"/>
                <a:chExt cx="3096088" cy="707825"/>
              </a:xfrm>
            </p:grpSpPr>
            <p:sp>
              <p:nvSpPr>
                <p:cNvPr id="277" name="Rounded Rectangle 276">
                  <a:extLst>
                    <a:ext uri="{FF2B5EF4-FFF2-40B4-BE49-F238E27FC236}">
                      <a16:creationId xmlns:a16="http://schemas.microsoft.com/office/drawing/2014/main" id="{BFA15E4D-791C-21E3-DD14-9995AC0F08AA}"/>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78" name="Group 277">
                  <a:extLst>
                    <a:ext uri="{FF2B5EF4-FFF2-40B4-BE49-F238E27FC236}">
                      <a16:creationId xmlns:a16="http://schemas.microsoft.com/office/drawing/2014/main" id="{E5A3BE72-540C-C907-E566-7719FDB04679}"/>
                    </a:ext>
                  </a:extLst>
                </p:cNvPr>
                <p:cNvGrpSpPr/>
                <p:nvPr/>
              </p:nvGrpSpPr>
              <p:grpSpPr>
                <a:xfrm>
                  <a:off x="14631247" y="4464495"/>
                  <a:ext cx="2132754" cy="339866"/>
                  <a:chOff x="3344204" y="2330315"/>
                  <a:chExt cx="1972263" cy="339866"/>
                </a:xfrm>
              </p:grpSpPr>
              <p:cxnSp>
                <p:nvCxnSpPr>
                  <p:cNvPr id="280" name="Straight Connector 279">
                    <a:extLst>
                      <a:ext uri="{FF2B5EF4-FFF2-40B4-BE49-F238E27FC236}">
                        <a16:creationId xmlns:a16="http://schemas.microsoft.com/office/drawing/2014/main" id="{34EF8C4D-B31A-78DA-DA18-BDD47F309BA9}"/>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1" name="Straight Connector 280">
                    <a:extLst>
                      <a:ext uri="{FF2B5EF4-FFF2-40B4-BE49-F238E27FC236}">
                        <a16:creationId xmlns:a16="http://schemas.microsoft.com/office/drawing/2014/main" id="{6C7B365E-717D-1010-3C36-D743919EE54B}"/>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2" name="Straight Connector 281">
                    <a:extLst>
                      <a:ext uri="{FF2B5EF4-FFF2-40B4-BE49-F238E27FC236}">
                        <a16:creationId xmlns:a16="http://schemas.microsoft.com/office/drawing/2014/main" id="{7DC08E95-F0AD-A993-D2E0-B715FB3D407C}"/>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3" name="Straight Connector 282">
                    <a:extLst>
                      <a:ext uri="{FF2B5EF4-FFF2-40B4-BE49-F238E27FC236}">
                        <a16:creationId xmlns:a16="http://schemas.microsoft.com/office/drawing/2014/main" id="{06F8795B-CAB1-2233-4408-E996D54ADAA9}"/>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4" name="Straight Connector 283">
                    <a:extLst>
                      <a:ext uri="{FF2B5EF4-FFF2-40B4-BE49-F238E27FC236}">
                        <a16:creationId xmlns:a16="http://schemas.microsoft.com/office/drawing/2014/main" id="{61851731-992A-E23B-DCD0-AB1D4D0433D3}"/>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E01BC4C7-0244-C5A7-FEEF-63C42C36B7C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7A184382-FF41-D56E-C733-488C03AE86E6}"/>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79" name="TextBox 278">
                  <a:extLst>
                    <a:ext uri="{FF2B5EF4-FFF2-40B4-BE49-F238E27FC236}">
                      <a16:creationId xmlns:a16="http://schemas.microsoft.com/office/drawing/2014/main" id="{FE73025B-BE9A-6C6D-4346-3F64ECB7AAF1}"/>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9</a:t>
                  </a:r>
                </a:p>
              </p:txBody>
            </p:sp>
          </p:grpSp>
          <p:cxnSp>
            <p:nvCxnSpPr>
              <p:cNvPr id="275" name="Straight Connector 274">
                <a:extLst>
                  <a:ext uri="{FF2B5EF4-FFF2-40B4-BE49-F238E27FC236}">
                    <a16:creationId xmlns:a16="http://schemas.microsoft.com/office/drawing/2014/main" id="{0E39E87A-4E1D-F0DC-9899-7BD02DABC8ED}"/>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76" name="Straight Connector 275">
                <a:extLst>
                  <a:ext uri="{FF2B5EF4-FFF2-40B4-BE49-F238E27FC236}">
                    <a16:creationId xmlns:a16="http://schemas.microsoft.com/office/drawing/2014/main" id="{9C0DE621-8130-2C8D-2042-8386EE0C09B0}"/>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1" name="Group 80">
              <a:extLst>
                <a:ext uri="{FF2B5EF4-FFF2-40B4-BE49-F238E27FC236}">
                  <a16:creationId xmlns:a16="http://schemas.microsoft.com/office/drawing/2014/main" id="{6C8353B1-C9BB-982A-BEEE-6D7CC722E9DB}"/>
                </a:ext>
              </a:extLst>
            </p:cNvPr>
            <p:cNvGrpSpPr/>
            <p:nvPr/>
          </p:nvGrpSpPr>
          <p:grpSpPr>
            <a:xfrm>
              <a:off x="13757848" y="11785942"/>
              <a:ext cx="3239588" cy="3005109"/>
              <a:chOff x="13757848" y="2169190"/>
              <a:chExt cx="3239588" cy="3005109"/>
            </a:xfrm>
          </p:grpSpPr>
          <p:grpSp>
            <p:nvGrpSpPr>
              <p:cNvPr id="234" name="Group 233">
                <a:extLst>
                  <a:ext uri="{FF2B5EF4-FFF2-40B4-BE49-F238E27FC236}">
                    <a16:creationId xmlns:a16="http://schemas.microsoft.com/office/drawing/2014/main" id="{A3C037EE-0105-F475-241D-FA057A2A7F99}"/>
                  </a:ext>
                </a:extLst>
              </p:cNvPr>
              <p:cNvGrpSpPr/>
              <p:nvPr/>
            </p:nvGrpSpPr>
            <p:grpSpPr>
              <a:xfrm>
                <a:off x="13816078" y="2169190"/>
                <a:ext cx="3096088" cy="707825"/>
                <a:chOff x="13816078" y="2169190"/>
                <a:chExt cx="3096088" cy="707825"/>
              </a:xfrm>
            </p:grpSpPr>
            <p:sp>
              <p:nvSpPr>
                <p:cNvPr id="261" name="Rounded Rectangle 260">
                  <a:extLst>
                    <a:ext uri="{FF2B5EF4-FFF2-40B4-BE49-F238E27FC236}">
                      <a16:creationId xmlns:a16="http://schemas.microsoft.com/office/drawing/2014/main" id="{C17FD687-E5CA-2E89-123E-92D51AA6BF25}"/>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62" name="Group 261">
                  <a:extLst>
                    <a:ext uri="{FF2B5EF4-FFF2-40B4-BE49-F238E27FC236}">
                      <a16:creationId xmlns:a16="http://schemas.microsoft.com/office/drawing/2014/main" id="{D889229C-EED9-77D7-A665-23F00C9F2808}"/>
                    </a:ext>
                  </a:extLst>
                </p:cNvPr>
                <p:cNvGrpSpPr/>
                <p:nvPr/>
              </p:nvGrpSpPr>
              <p:grpSpPr>
                <a:xfrm>
                  <a:off x="14631247" y="2345047"/>
                  <a:ext cx="2132754" cy="339866"/>
                  <a:chOff x="3344204" y="2330315"/>
                  <a:chExt cx="1972263" cy="339866"/>
                </a:xfrm>
              </p:grpSpPr>
              <p:cxnSp>
                <p:nvCxnSpPr>
                  <p:cNvPr id="264" name="Straight Connector 263">
                    <a:extLst>
                      <a:ext uri="{FF2B5EF4-FFF2-40B4-BE49-F238E27FC236}">
                        <a16:creationId xmlns:a16="http://schemas.microsoft.com/office/drawing/2014/main" id="{4E43ACFA-04CF-B5F1-F12C-D01DE350A18F}"/>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3C6658E6-61FF-7389-5DF9-CAB72A3498D9}"/>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30DE55A6-EB3A-21C5-7813-2FD1021FD07F}"/>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670C4BC7-63D5-50CC-1386-B47D8164C8A1}"/>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B0523D51-01FE-2132-6F46-D2F6BD54B2D5}"/>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C9F7F7DE-70B8-7F68-EBF8-B926F4F119E5}"/>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B7D9BE0E-EB35-05F5-DDBF-362173FA6DCF}"/>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63" name="TextBox 262">
                  <a:extLst>
                    <a:ext uri="{FF2B5EF4-FFF2-40B4-BE49-F238E27FC236}">
                      <a16:creationId xmlns:a16="http://schemas.microsoft.com/office/drawing/2014/main" id="{54F68B42-1EDC-9AA4-3494-6C5DE916D29D}"/>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0</a:t>
                  </a:r>
                </a:p>
              </p:txBody>
            </p:sp>
          </p:grpSp>
          <p:grpSp>
            <p:nvGrpSpPr>
              <p:cNvPr id="235" name="Group 234">
                <a:extLst>
                  <a:ext uri="{FF2B5EF4-FFF2-40B4-BE49-F238E27FC236}">
                    <a16:creationId xmlns:a16="http://schemas.microsoft.com/office/drawing/2014/main" id="{935D37B1-1AA6-B59E-A75F-03737847DEEA}"/>
                  </a:ext>
                </a:extLst>
              </p:cNvPr>
              <p:cNvGrpSpPr/>
              <p:nvPr/>
            </p:nvGrpSpPr>
            <p:grpSpPr>
              <a:xfrm>
                <a:off x="13816078" y="3243610"/>
                <a:ext cx="3096088" cy="707825"/>
                <a:chOff x="13816078" y="3243610"/>
                <a:chExt cx="3096088" cy="707825"/>
              </a:xfrm>
            </p:grpSpPr>
            <p:sp>
              <p:nvSpPr>
                <p:cNvPr id="250" name="Rounded Rectangle 249">
                  <a:extLst>
                    <a:ext uri="{FF2B5EF4-FFF2-40B4-BE49-F238E27FC236}">
                      <a16:creationId xmlns:a16="http://schemas.microsoft.com/office/drawing/2014/main" id="{DD63A182-18EE-A636-5851-E750B28E7855}"/>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51" name="Group 250">
                  <a:extLst>
                    <a:ext uri="{FF2B5EF4-FFF2-40B4-BE49-F238E27FC236}">
                      <a16:creationId xmlns:a16="http://schemas.microsoft.com/office/drawing/2014/main" id="{E2CED6CE-3EAA-B8A1-5692-E537C42F5642}"/>
                    </a:ext>
                  </a:extLst>
                </p:cNvPr>
                <p:cNvGrpSpPr/>
                <p:nvPr/>
              </p:nvGrpSpPr>
              <p:grpSpPr>
                <a:xfrm>
                  <a:off x="14631247" y="3419467"/>
                  <a:ext cx="2132754" cy="339866"/>
                  <a:chOff x="3344204" y="2330315"/>
                  <a:chExt cx="1972263" cy="339866"/>
                </a:xfrm>
              </p:grpSpPr>
              <p:cxnSp>
                <p:nvCxnSpPr>
                  <p:cNvPr id="253" name="Straight Connector 252">
                    <a:extLst>
                      <a:ext uri="{FF2B5EF4-FFF2-40B4-BE49-F238E27FC236}">
                        <a16:creationId xmlns:a16="http://schemas.microsoft.com/office/drawing/2014/main" id="{5BCC890E-F629-ED58-FC43-B0962EB05988}"/>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4" name="Straight Connector 253">
                    <a:extLst>
                      <a:ext uri="{FF2B5EF4-FFF2-40B4-BE49-F238E27FC236}">
                        <a16:creationId xmlns:a16="http://schemas.microsoft.com/office/drawing/2014/main" id="{D1447134-6F0B-45DB-E81F-09F8565DDDF8}"/>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5" name="Straight Connector 254">
                    <a:extLst>
                      <a:ext uri="{FF2B5EF4-FFF2-40B4-BE49-F238E27FC236}">
                        <a16:creationId xmlns:a16="http://schemas.microsoft.com/office/drawing/2014/main" id="{F90DDFD0-61CA-7C2F-CC68-59135B8A1576}"/>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6" name="Straight Connector 255">
                    <a:extLst>
                      <a:ext uri="{FF2B5EF4-FFF2-40B4-BE49-F238E27FC236}">
                        <a16:creationId xmlns:a16="http://schemas.microsoft.com/office/drawing/2014/main" id="{D0BC39B3-BE67-4608-34D1-161D6ACE5F3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7" name="Straight Connector 256">
                    <a:extLst>
                      <a:ext uri="{FF2B5EF4-FFF2-40B4-BE49-F238E27FC236}">
                        <a16:creationId xmlns:a16="http://schemas.microsoft.com/office/drawing/2014/main" id="{C33A5469-FCE1-FB68-3D63-5CFF29F245DB}"/>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0ACC916F-B64B-21A2-18F2-761DFAFBBC6E}"/>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430AEBF6-440D-1999-4EAD-69426E2DCA63}"/>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044CC1C3-9234-1B56-290A-F0CC34C90BCD}"/>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52" name="TextBox 251">
                  <a:extLst>
                    <a:ext uri="{FF2B5EF4-FFF2-40B4-BE49-F238E27FC236}">
                      <a16:creationId xmlns:a16="http://schemas.microsoft.com/office/drawing/2014/main" id="{F27D40F3-7A93-065C-CB45-E9CF5DC37DD1}"/>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1</a:t>
                  </a:r>
                </a:p>
              </p:txBody>
            </p:sp>
          </p:grpSp>
          <p:cxnSp>
            <p:nvCxnSpPr>
              <p:cNvPr id="236" name="Straight Connector 235">
                <a:extLst>
                  <a:ext uri="{FF2B5EF4-FFF2-40B4-BE49-F238E27FC236}">
                    <a16:creationId xmlns:a16="http://schemas.microsoft.com/office/drawing/2014/main" id="{93D45EC2-B259-EB3D-A316-5C0B7DA5B3C2}"/>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37" name="Group 236">
                <a:extLst>
                  <a:ext uri="{FF2B5EF4-FFF2-40B4-BE49-F238E27FC236}">
                    <a16:creationId xmlns:a16="http://schemas.microsoft.com/office/drawing/2014/main" id="{942D4D25-9330-4F6A-862C-48F74B3DC915}"/>
                  </a:ext>
                </a:extLst>
              </p:cNvPr>
              <p:cNvGrpSpPr/>
              <p:nvPr/>
            </p:nvGrpSpPr>
            <p:grpSpPr>
              <a:xfrm>
                <a:off x="13816078" y="4288638"/>
                <a:ext cx="3096088" cy="707825"/>
                <a:chOff x="13816078" y="4288638"/>
                <a:chExt cx="3096088" cy="707825"/>
              </a:xfrm>
            </p:grpSpPr>
            <p:sp>
              <p:nvSpPr>
                <p:cNvPr id="240" name="Rounded Rectangle 239">
                  <a:extLst>
                    <a:ext uri="{FF2B5EF4-FFF2-40B4-BE49-F238E27FC236}">
                      <a16:creationId xmlns:a16="http://schemas.microsoft.com/office/drawing/2014/main" id="{F447107F-5D2E-EB64-178E-D9132443AFA5}"/>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41" name="Group 240">
                  <a:extLst>
                    <a:ext uri="{FF2B5EF4-FFF2-40B4-BE49-F238E27FC236}">
                      <a16:creationId xmlns:a16="http://schemas.microsoft.com/office/drawing/2014/main" id="{8A41E88E-DCD5-9172-B373-0663EC13C8CA}"/>
                    </a:ext>
                  </a:extLst>
                </p:cNvPr>
                <p:cNvGrpSpPr/>
                <p:nvPr/>
              </p:nvGrpSpPr>
              <p:grpSpPr>
                <a:xfrm>
                  <a:off x="14631247" y="4464495"/>
                  <a:ext cx="2132754" cy="339866"/>
                  <a:chOff x="3344204" y="2330315"/>
                  <a:chExt cx="1972263" cy="339866"/>
                </a:xfrm>
              </p:grpSpPr>
              <p:cxnSp>
                <p:nvCxnSpPr>
                  <p:cNvPr id="243" name="Straight Connector 242">
                    <a:extLst>
                      <a:ext uri="{FF2B5EF4-FFF2-40B4-BE49-F238E27FC236}">
                        <a16:creationId xmlns:a16="http://schemas.microsoft.com/office/drawing/2014/main" id="{B5CAC39A-B431-AAC6-7224-95DC072EBCD5}"/>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5F7E8D5C-7B23-7772-9DCC-69543EB451F9}"/>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7767A139-0C6D-37DC-47C4-24CF1AF15810}"/>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E933EA3E-1EC8-9135-1A20-8FEED14C14EA}"/>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87F4B9EC-CDA9-848E-E8C2-E645B818032B}"/>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99CD1AAF-0073-A449-75F6-A79FE5956376}"/>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F4CBA7B3-F89C-8DAC-BD84-47ABA51133A0}"/>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42" name="TextBox 241">
                  <a:extLst>
                    <a:ext uri="{FF2B5EF4-FFF2-40B4-BE49-F238E27FC236}">
                      <a16:creationId xmlns:a16="http://schemas.microsoft.com/office/drawing/2014/main" id="{F60AE58E-7DA5-0719-8D71-80BE8199E66E}"/>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2</a:t>
                  </a:r>
                </a:p>
              </p:txBody>
            </p:sp>
          </p:grpSp>
          <p:cxnSp>
            <p:nvCxnSpPr>
              <p:cNvPr id="238" name="Straight Connector 237">
                <a:extLst>
                  <a:ext uri="{FF2B5EF4-FFF2-40B4-BE49-F238E27FC236}">
                    <a16:creationId xmlns:a16="http://schemas.microsoft.com/office/drawing/2014/main" id="{558C2C54-693B-1831-01A0-BD6394E7DD19}"/>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39" name="Straight Connector 238">
                <a:extLst>
                  <a:ext uri="{FF2B5EF4-FFF2-40B4-BE49-F238E27FC236}">
                    <a16:creationId xmlns:a16="http://schemas.microsoft.com/office/drawing/2014/main" id="{19DF1166-AAB7-1CE3-A106-4883B0C202EE}"/>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2" name="Group 81">
              <a:extLst>
                <a:ext uri="{FF2B5EF4-FFF2-40B4-BE49-F238E27FC236}">
                  <a16:creationId xmlns:a16="http://schemas.microsoft.com/office/drawing/2014/main" id="{A7FAEC00-954D-1C37-30C1-E8B19380D545}"/>
                </a:ext>
              </a:extLst>
            </p:cNvPr>
            <p:cNvGrpSpPr/>
            <p:nvPr/>
          </p:nvGrpSpPr>
          <p:grpSpPr>
            <a:xfrm>
              <a:off x="13757848" y="14991526"/>
              <a:ext cx="3239588" cy="3005109"/>
              <a:chOff x="13757848" y="2169190"/>
              <a:chExt cx="3239588" cy="3005109"/>
            </a:xfrm>
          </p:grpSpPr>
          <p:grpSp>
            <p:nvGrpSpPr>
              <p:cNvPr id="197" name="Group 196">
                <a:extLst>
                  <a:ext uri="{FF2B5EF4-FFF2-40B4-BE49-F238E27FC236}">
                    <a16:creationId xmlns:a16="http://schemas.microsoft.com/office/drawing/2014/main" id="{37E3C2AF-550A-B00A-12CF-FF89C79ADEA4}"/>
                  </a:ext>
                </a:extLst>
              </p:cNvPr>
              <p:cNvGrpSpPr/>
              <p:nvPr/>
            </p:nvGrpSpPr>
            <p:grpSpPr>
              <a:xfrm>
                <a:off x="13816078" y="2169190"/>
                <a:ext cx="3096088" cy="707825"/>
                <a:chOff x="13816078" y="2169190"/>
                <a:chExt cx="3096088" cy="707825"/>
              </a:xfrm>
            </p:grpSpPr>
            <p:sp>
              <p:nvSpPr>
                <p:cNvPr id="224" name="Rounded Rectangle 223">
                  <a:extLst>
                    <a:ext uri="{FF2B5EF4-FFF2-40B4-BE49-F238E27FC236}">
                      <a16:creationId xmlns:a16="http://schemas.microsoft.com/office/drawing/2014/main" id="{C07595BB-4640-42CC-AB47-F7861AAFFB0D}"/>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25" name="Group 224">
                  <a:extLst>
                    <a:ext uri="{FF2B5EF4-FFF2-40B4-BE49-F238E27FC236}">
                      <a16:creationId xmlns:a16="http://schemas.microsoft.com/office/drawing/2014/main" id="{741729CC-4A84-42D4-2105-A6A4C8BA6D46}"/>
                    </a:ext>
                  </a:extLst>
                </p:cNvPr>
                <p:cNvGrpSpPr/>
                <p:nvPr/>
              </p:nvGrpSpPr>
              <p:grpSpPr>
                <a:xfrm>
                  <a:off x="14631247" y="2345047"/>
                  <a:ext cx="2132754" cy="339866"/>
                  <a:chOff x="3344204" y="2330315"/>
                  <a:chExt cx="1972263" cy="339866"/>
                </a:xfrm>
              </p:grpSpPr>
              <p:cxnSp>
                <p:nvCxnSpPr>
                  <p:cNvPr id="227" name="Straight Connector 226">
                    <a:extLst>
                      <a:ext uri="{FF2B5EF4-FFF2-40B4-BE49-F238E27FC236}">
                        <a16:creationId xmlns:a16="http://schemas.microsoft.com/office/drawing/2014/main" id="{102519FE-6922-7B04-5722-1225783CC900}"/>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022FE35E-7ED9-D615-B7F6-388283176012}"/>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255A7C64-0F77-968A-C32C-8DEA30C86C62}"/>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AB7FAD7E-BC79-5C0C-A355-F55EE9EFCCE9}"/>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656E713D-F708-AC22-4C20-95D284A7D24F}"/>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72FB0286-502A-59D7-9ECB-786E44CF4B03}"/>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F51AE52-047B-1820-DF3E-F02BF46FD61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26" name="TextBox 225">
                  <a:extLst>
                    <a:ext uri="{FF2B5EF4-FFF2-40B4-BE49-F238E27FC236}">
                      <a16:creationId xmlns:a16="http://schemas.microsoft.com/office/drawing/2014/main" id="{5BC4654A-92F4-E60A-98C8-4F502473EBC6}"/>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3</a:t>
                  </a:r>
                </a:p>
              </p:txBody>
            </p:sp>
          </p:grpSp>
          <p:grpSp>
            <p:nvGrpSpPr>
              <p:cNvPr id="198" name="Group 197">
                <a:extLst>
                  <a:ext uri="{FF2B5EF4-FFF2-40B4-BE49-F238E27FC236}">
                    <a16:creationId xmlns:a16="http://schemas.microsoft.com/office/drawing/2014/main" id="{A47DE50A-6AF1-7609-4AFD-73DBE8AF086B}"/>
                  </a:ext>
                </a:extLst>
              </p:cNvPr>
              <p:cNvGrpSpPr/>
              <p:nvPr/>
            </p:nvGrpSpPr>
            <p:grpSpPr>
              <a:xfrm>
                <a:off x="13816078" y="3243610"/>
                <a:ext cx="3096088" cy="707825"/>
                <a:chOff x="13816078" y="3243610"/>
                <a:chExt cx="3096088" cy="707825"/>
              </a:xfrm>
            </p:grpSpPr>
            <p:sp>
              <p:nvSpPr>
                <p:cNvPr id="213" name="Rounded Rectangle 212">
                  <a:extLst>
                    <a:ext uri="{FF2B5EF4-FFF2-40B4-BE49-F238E27FC236}">
                      <a16:creationId xmlns:a16="http://schemas.microsoft.com/office/drawing/2014/main" id="{022B511A-5468-F99B-069B-935353469190}"/>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14" name="Group 213">
                  <a:extLst>
                    <a:ext uri="{FF2B5EF4-FFF2-40B4-BE49-F238E27FC236}">
                      <a16:creationId xmlns:a16="http://schemas.microsoft.com/office/drawing/2014/main" id="{FA7C50A7-B70B-FD68-2D97-4C6F0AFC5FE3}"/>
                    </a:ext>
                  </a:extLst>
                </p:cNvPr>
                <p:cNvGrpSpPr/>
                <p:nvPr/>
              </p:nvGrpSpPr>
              <p:grpSpPr>
                <a:xfrm>
                  <a:off x="14631247" y="3419467"/>
                  <a:ext cx="2132754" cy="339866"/>
                  <a:chOff x="3344204" y="2330315"/>
                  <a:chExt cx="1972263" cy="339866"/>
                </a:xfrm>
              </p:grpSpPr>
              <p:cxnSp>
                <p:nvCxnSpPr>
                  <p:cNvPr id="216" name="Straight Connector 215">
                    <a:extLst>
                      <a:ext uri="{FF2B5EF4-FFF2-40B4-BE49-F238E27FC236}">
                        <a16:creationId xmlns:a16="http://schemas.microsoft.com/office/drawing/2014/main" id="{102E9F62-6B30-80A4-F66C-BF8515F449EC}"/>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7" name="Straight Connector 216">
                    <a:extLst>
                      <a:ext uri="{FF2B5EF4-FFF2-40B4-BE49-F238E27FC236}">
                        <a16:creationId xmlns:a16="http://schemas.microsoft.com/office/drawing/2014/main" id="{E1E3E612-DBAE-EDA0-4622-97E58132930A}"/>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8" name="Straight Connector 217">
                    <a:extLst>
                      <a:ext uri="{FF2B5EF4-FFF2-40B4-BE49-F238E27FC236}">
                        <a16:creationId xmlns:a16="http://schemas.microsoft.com/office/drawing/2014/main" id="{8097315B-9391-072D-F8C6-1427350609A7}"/>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DA6A022C-FEB9-75CA-DAD0-DF2B1CA0A40D}"/>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0" name="Straight Connector 219">
                    <a:extLst>
                      <a:ext uri="{FF2B5EF4-FFF2-40B4-BE49-F238E27FC236}">
                        <a16:creationId xmlns:a16="http://schemas.microsoft.com/office/drawing/2014/main" id="{7E20FC95-5E54-7F12-D7CA-80B9DA92AEFB}"/>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C5B1CA82-D551-3D82-00D7-3AF2EF2F81AA}"/>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FFACB805-6756-44BD-16E6-57E5771EB0A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E718C8DC-982F-42CB-AE71-19334BA9B310}"/>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15" name="TextBox 214">
                  <a:extLst>
                    <a:ext uri="{FF2B5EF4-FFF2-40B4-BE49-F238E27FC236}">
                      <a16:creationId xmlns:a16="http://schemas.microsoft.com/office/drawing/2014/main" id="{80F56D04-8517-CAE9-C01F-3E0034AFED4B}"/>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4</a:t>
                  </a:r>
                </a:p>
              </p:txBody>
            </p:sp>
          </p:grpSp>
          <p:cxnSp>
            <p:nvCxnSpPr>
              <p:cNvPr id="199" name="Straight Connector 198">
                <a:extLst>
                  <a:ext uri="{FF2B5EF4-FFF2-40B4-BE49-F238E27FC236}">
                    <a16:creationId xmlns:a16="http://schemas.microsoft.com/office/drawing/2014/main" id="{C7A11A3C-368D-8C33-95AD-08F9B02B306B}"/>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00" name="Group 199">
                <a:extLst>
                  <a:ext uri="{FF2B5EF4-FFF2-40B4-BE49-F238E27FC236}">
                    <a16:creationId xmlns:a16="http://schemas.microsoft.com/office/drawing/2014/main" id="{84206760-74EC-CB66-1F09-76D25F598379}"/>
                  </a:ext>
                </a:extLst>
              </p:cNvPr>
              <p:cNvGrpSpPr/>
              <p:nvPr/>
            </p:nvGrpSpPr>
            <p:grpSpPr>
              <a:xfrm>
                <a:off x="13816078" y="4288638"/>
                <a:ext cx="3096088" cy="707825"/>
                <a:chOff x="13816078" y="4288638"/>
                <a:chExt cx="3096088" cy="707825"/>
              </a:xfrm>
            </p:grpSpPr>
            <p:sp>
              <p:nvSpPr>
                <p:cNvPr id="203" name="Rounded Rectangle 202">
                  <a:extLst>
                    <a:ext uri="{FF2B5EF4-FFF2-40B4-BE49-F238E27FC236}">
                      <a16:creationId xmlns:a16="http://schemas.microsoft.com/office/drawing/2014/main" id="{9123BC77-F217-344A-6126-E2994C54CE89}"/>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04" name="Group 203">
                  <a:extLst>
                    <a:ext uri="{FF2B5EF4-FFF2-40B4-BE49-F238E27FC236}">
                      <a16:creationId xmlns:a16="http://schemas.microsoft.com/office/drawing/2014/main" id="{91ADFCBC-311A-DE9A-796E-17670AAB6328}"/>
                    </a:ext>
                  </a:extLst>
                </p:cNvPr>
                <p:cNvGrpSpPr/>
                <p:nvPr/>
              </p:nvGrpSpPr>
              <p:grpSpPr>
                <a:xfrm>
                  <a:off x="14631247" y="4464495"/>
                  <a:ext cx="2132754" cy="339866"/>
                  <a:chOff x="3344204" y="2330315"/>
                  <a:chExt cx="1972263" cy="339866"/>
                </a:xfrm>
              </p:grpSpPr>
              <p:cxnSp>
                <p:nvCxnSpPr>
                  <p:cNvPr id="206" name="Straight Connector 205">
                    <a:extLst>
                      <a:ext uri="{FF2B5EF4-FFF2-40B4-BE49-F238E27FC236}">
                        <a16:creationId xmlns:a16="http://schemas.microsoft.com/office/drawing/2014/main" id="{CEFA22A0-8697-01BE-C933-54164BC1CF3A}"/>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7" name="Straight Connector 206">
                    <a:extLst>
                      <a:ext uri="{FF2B5EF4-FFF2-40B4-BE49-F238E27FC236}">
                        <a16:creationId xmlns:a16="http://schemas.microsoft.com/office/drawing/2014/main" id="{5FF23869-89F9-1215-AC47-0EE78EB928D6}"/>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3327DFEE-0A3C-825F-5F57-4B02C2AFA5AD}"/>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9" name="Straight Connector 208">
                    <a:extLst>
                      <a:ext uri="{FF2B5EF4-FFF2-40B4-BE49-F238E27FC236}">
                        <a16:creationId xmlns:a16="http://schemas.microsoft.com/office/drawing/2014/main" id="{824EAC05-6311-5F67-E79A-DEC4812FF1D4}"/>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2CDEF830-DCE3-EFA2-BBE2-D95498FA604B}"/>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335EB55A-92B2-834F-782A-CFDABA79CC0F}"/>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5DD1F6DC-BB05-FE3C-5BD4-1B2D5E42EE25}"/>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05" name="TextBox 204">
                  <a:extLst>
                    <a:ext uri="{FF2B5EF4-FFF2-40B4-BE49-F238E27FC236}">
                      <a16:creationId xmlns:a16="http://schemas.microsoft.com/office/drawing/2014/main" id="{36889E1B-0D88-33F3-0A2A-AB59F9B9C8ED}"/>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5</a:t>
                  </a:r>
                </a:p>
              </p:txBody>
            </p:sp>
          </p:grpSp>
          <p:cxnSp>
            <p:nvCxnSpPr>
              <p:cNvPr id="201" name="Straight Connector 200">
                <a:extLst>
                  <a:ext uri="{FF2B5EF4-FFF2-40B4-BE49-F238E27FC236}">
                    <a16:creationId xmlns:a16="http://schemas.microsoft.com/office/drawing/2014/main" id="{8CBA8CB2-098A-FAEE-B44A-3558738EB4DD}"/>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02" name="Straight Connector 201">
                <a:extLst>
                  <a:ext uri="{FF2B5EF4-FFF2-40B4-BE49-F238E27FC236}">
                    <a16:creationId xmlns:a16="http://schemas.microsoft.com/office/drawing/2014/main" id="{5B0A08F2-DF49-D544-5F04-92C73AFD996F}"/>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3" name="Group 82">
              <a:extLst>
                <a:ext uri="{FF2B5EF4-FFF2-40B4-BE49-F238E27FC236}">
                  <a16:creationId xmlns:a16="http://schemas.microsoft.com/office/drawing/2014/main" id="{15B4E239-0066-9A39-151C-72B89371150C}"/>
                </a:ext>
              </a:extLst>
            </p:cNvPr>
            <p:cNvGrpSpPr/>
            <p:nvPr/>
          </p:nvGrpSpPr>
          <p:grpSpPr>
            <a:xfrm>
              <a:off x="13757848" y="18197110"/>
              <a:ext cx="3239588" cy="3005109"/>
              <a:chOff x="13757848" y="2169190"/>
              <a:chExt cx="3239588" cy="3005109"/>
            </a:xfrm>
          </p:grpSpPr>
          <p:grpSp>
            <p:nvGrpSpPr>
              <p:cNvPr id="160" name="Group 159">
                <a:extLst>
                  <a:ext uri="{FF2B5EF4-FFF2-40B4-BE49-F238E27FC236}">
                    <a16:creationId xmlns:a16="http://schemas.microsoft.com/office/drawing/2014/main" id="{9896BE03-2A95-5EBC-A061-9D639D41CA49}"/>
                  </a:ext>
                </a:extLst>
              </p:cNvPr>
              <p:cNvGrpSpPr/>
              <p:nvPr/>
            </p:nvGrpSpPr>
            <p:grpSpPr>
              <a:xfrm>
                <a:off x="13816078" y="2169190"/>
                <a:ext cx="3096088" cy="707825"/>
                <a:chOff x="13816078" y="2169190"/>
                <a:chExt cx="3096088" cy="707825"/>
              </a:xfrm>
            </p:grpSpPr>
            <p:sp>
              <p:nvSpPr>
                <p:cNvPr id="187" name="Rounded Rectangle 186">
                  <a:extLst>
                    <a:ext uri="{FF2B5EF4-FFF2-40B4-BE49-F238E27FC236}">
                      <a16:creationId xmlns:a16="http://schemas.microsoft.com/office/drawing/2014/main" id="{04C75BBD-DA9C-9247-99FB-5373AB198D07}"/>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88" name="Group 187">
                  <a:extLst>
                    <a:ext uri="{FF2B5EF4-FFF2-40B4-BE49-F238E27FC236}">
                      <a16:creationId xmlns:a16="http://schemas.microsoft.com/office/drawing/2014/main" id="{7BCC36F1-7421-6DF9-6DAD-8F4427132740}"/>
                    </a:ext>
                  </a:extLst>
                </p:cNvPr>
                <p:cNvGrpSpPr/>
                <p:nvPr/>
              </p:nvGrpSpPr>
              <p:grpSpPr>
                <a:xfrm>
                  <a:off x="14631247" y="2345047"/>
                  <a:ext cx="2132754" cy="339866"/>
                  <a:chOff x="3344204" y="2330315"/>
                  <a:chExt cx="1972263" cy="339866"/>
                </a:xfrm>
              </p:grpSpPr>
              <p:cxnSp>
                <p:nvCxnSpPr>
                  <p:cNvPr id="190" name="Straight Connector 189">
                    <a:extLst>
                      <a:ext uri="{FF2B5EF4-FFF2-40B4-BE49-F238E27FC236}">
                        <a16:creationId xmlns:a16="http://schemas.microsoft.com/office/drawing/2014/main" id="{8DA7B4DC-535E-CB6E-0BB8-2F9CC680F78F}"/>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C04FFD87-35E8-DE28-5614-2D952AF34F52}"/>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AE4A71A9-B75A-BD4C-9CBC-5164E7A6D9F7}"/>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23404E45-8664-DC09-A990-27113F3E38D2}"/>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06B751C4-AE8B-8AFA-DE35-5598753053A2}"/>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7644D4AE-4FE0-C2BB-2D62-B46EE0CF056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BD6A5D78-5DAF-DDC6-9A8C-57E9309A2FEA}"/>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89" name="TextBox 188">
                  <a:extLst>
                    <a:ext uri="{FF2B5EF4-FFF2-40B4-BE49-F238E27FC236}">
                      <a16:creationId xmlns:a16="http://schemas.microsoft.com/office/drawing/2014/main" id="{DE81AEFF-ED40-70F9-82B0-BBDCF573F88A}"/>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6</a:t>
                  </a:r>
                </a:p>
              </p:txBody>
            </p:sp>
          </p:grpSp>
          <p:grpSp>
            <p:nvGrpSpPr>
              <p:cNvPr id="161" name="Group 160">
                <a:extLst>
                  <a:ext uri="{FF2B5EF4-FFF2-40B4-BE49-F238E27FC236}">
                    <a16:creationId xmlns:a16="http://schemas.microsoft.com/office/drawing/2014/main" id="{8926BC96-0B8F-8EBA-1790-AD2D423F1386}"/>
                  </a:ext>
                </a:extLst>
              </p:cNvPr>
              <p:cNvGrpSpPr/>
              <p:nvPr/>
            </p:nvGrpSpPr>
            <p:grpSpPr>
              <a:xfrm>
                <a:off x="13816078" y="3243610"/>
                <a:ext cx="3096088" cy="707825"/>
                <a:chOff x="13816078" y="3243610"/>
                <a:chExt cx="3096088" cy="707825"/>
              </a:xfrm>
            </p:grpSpPr>
            <p:sp>
              <p:nvSpPr>
                <p:cNvPr id="176" name="Rounded Rectangle 175">
                  <a:extLst>
                    <a:ext uri="{FF2B5EF4-FFF2-40B4-BE49-F238E27FC236}">
                      <a16:creationId xmlns:a16="http://schemas.microsoft.com/office/drawing/2014/main" id="{EF93382D-DF9D-F493-C510-808E926A683F}"/>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77" name="Group 176">
                  <a:extLst>
                    <a:ext uri="{FF2B5EF4-FFF2-40B4-BE49-F238E27FC236}">
                      <a16:creationId xmlns:a16="http://schemas.microsoft.com/office/drawing/2014/main" id="{4FE918A0-475D-6632-876C-7FF08B8F8085}"/>
                    </a:ext>
                  </a:extLst>
                </p:cNvPr>
                <p:cNvGrpSpPr/>
                <p:nvPr/>
              </p:nvGrpSpPr>
              <p:grpSpPr>
                <a:xfrm>
                  <a:off x="14631247" y="3419467"/>
                  <a:ext cx="2132754" cy="339866"/>
                  <a:chOff x="3344204" y="2330315"/>
                  <a:chExt cx="1972263" cy="339866"/>
                </a:xfrm>
              </p:grpSpPr>
              <p:cxnSp>
                <p:nvCxnSpPr>
                  <p:cNvPr id="179" name="Straight Connector 178">
                    <a:extLst>
                      <a:ext uri="{FF2B5EF4-FFF2-40B4-BE49-F238E27FC236}">
                        <a16:creationId xmlns:a16="http://schemas.microsoft.com/office/drawing/2014/main" id="{C3C00297-DB06-836C-BDA3-AD68717AB305}"/>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E9AA0493-BFE7-56B3-C076-FF5ABEFA3D6B}"/>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12F6F3E9-4B4C-D48D-92B7-4FEF718B530D}"/>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4B09BD68-D1FC-5966-F92B-71F4F10E72FF}"/>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A97B9F30-725E-BB0D-5E51-A3FC751CB404}"/>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8270E527-E34F-8348-703C-0D5634B95EFC}"/>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690FDE2C-9575-4E4B-D61C-9EDB37A1F52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7AB9D9D4-133D-2821-3B6C-206C9C006988}"/>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78" name="TextBox 177">
                  <a:extLst>
                    <a:ext uri="{FF2B5EF4-FFF2-40B4-BE49-F238E27FC236}">
                      <a16:creationId xmlns:a16="http://schemas.microsoft.com/office/drawing/2014/main" id="{042DFDD1-D8A7-0DD8-B28A-15BADB11996D}"/>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7</a:t>
                  </a:r>
                </a:p>
              </p:txBody>
            </p:sp>
          </p:grpSp>
          <p:cxnSp>
            <p:nvCxnSpPr>
              <p:cNvPr id="162" name="Straight Connector 161">
                <a:extLst>
                  <a:ext uri="{FF2B5EF4-FFF2-40B4-BE49-F238E27FC236}">
                    <a16:creationId xmlns:a16="http://schemas.microsoft.com/office/drawing/2014/main" id="{0ACA341F-FC9B-4F61-C8E6-5FE4339B25DA}"/>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63" name="Group 162">
                <a:extLst>
                  <a:ext uri="{FF2B5EF4-FFF2-40B4-BE49-F238E27FC236}">
                    <a16:creationId xmlns:a16="http://schemas.microsoft.com/office/drawing/2014/main" id="{3ADD2F03-DBD1-D5B5-F08A-A087770A2C9B}"/>
                  </a:ext>
                </a:extLst>
              </p:cNvPr>
              <p:cNvGrpSpPr/>
              <p:nvPr/>
            </p:nvGrpSpPr>
            <p:grpSpPr>
              <a:xfrm>
                <a:off x="13816078" y="4288638"/>
                <a:ext cx="3096088" cy="707825"/>
                <a:chOff x="13816078" y="4288638"/>
                <a:chExt cx="3096088" cy="707825"/>
              </a:xfrm>
            </p:grpSpPr>
            <p:sp>
              <p:nvSpPr>
                <p:cNvPr id="166" name="Rounded Rectangle 165">
                  <a:extLst>
                    <a:ext uri="{FF2B5EF4-FFF2-40B4-BE49-F238E27FC236}">
                      <a16:creationId xmlns:a16="http://schemas.microsoft.com/office/drawing/2014/main" id="{0FD77E3B-266A-4614-9379-0555D8E753DD}"/>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67" name="Group 166">
                  <a:extLst>
                    <a:ext uri="{FF2B5EF4-FFF2-40B4-BE49-F238E27FC236}">
                      <a16:creationId xmlns:a16="http://schemas.microsoft.com/office/drawing/2014/main" id="{E84C9FF8-0732-4423-E046-A807ED420429}"/>
                    </a:ext>
                  </a:extLst>
                </p:cNvPr>
                <p:cNvGrpSpPr/>
                <p:nvPr/>
              </p:nvGrpSpPr>
              <p:grpSpPr>
                <a:xfrm>
                  <a:off x="14631247" y="4464495"/>
                  <a:ext cx="2132754" cy="339866"/>
                  <a:chOff x="3344204" y="2330315"/>
                  <a:chExt cx="1972263" cy="339866"/>
                </a:xfrm>
              </p:grpSpPr>
              <p:cxnSp>
                <p:nvCxnSpPr>
                  <p:cNvPr id="169" name="Straight Connector 168">
                    <a:extLst>
                      <a:ext uri="{FF2B5EF4-FFF2-40B4-BE49-F238E27FC236}">
                        <a16:creationId xmlns:a16="http://schemas.microsoft.com/office/drawing/2014/main" id="{AC5F50EB-9CC1-D510-ED67-EC363B77F7D3}"/>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0" name="Straight Connector 169">
                    <a:extLst>
                      <a:ext uri="{FF2B5EF4-FFF2-40B4-BE49-F238E27FC236}">
                        <a16:creationId xmlns:a16="http://schemas.microsoft.com/office/drawing/2014/main" id="{1E4D0F27-EC88-0001-08B6-C1C102F03680}"/>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3AD2650B-9D51-12AD-5850-A852132D6F2F}"/>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1BF69D2F-07CE-3042-987D-B183150D6904}"/>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00DCC0A2-71B3-77CC-11FA-73C5A12504EC}"/>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38250B83-7BE4-B90A-3637-4F826822C5F7}"/>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B754C355-86FA-4820-02F1-CAC90F85FEFE}"/>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68" name="TextBox 167">
                  <a:extLst>
                    <a:ext uri="{FF2B5EF4-FFF2-40B4-BE49-F238E27FC236}">
                      <a16:creationId xmlns:a16="http://schemas.microsoft.com/office/drawing/2014/main" id="{DBB7E4D9-00F7-EA0E-BE2D-BFED2BF068AC}"/>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8</a:t>
                  </a:r>
                </a:p>
              </p:txBody>
            </p:sp>
          </p:grpSp>
          <p:cxnSp>
            <p:nvCxnSpPr>
              <p:cNvPr id="164" name="Straight Connector 163">
                <a:extLst>
                  <a:ext uri="{FF2B5EF4-FFF2-40B4-BE49-F238E27FC236}">
                    <a16:creationId xmlns:a16="http://schemas.microsoft.com/office/drawing/2014/main" id="{AC1A9ED9-EA2D-C7AC-FBAF-96E1C3A2B32D}"/>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65" name="Straight Connector 164">
                <a:extLst>
                  <a:ext uri="{FF2B5EF4-FFF2-40B4-BE49-F238E27FC236}">
                    <a16:creationId xmlns:a16="http://schemas.microsoft.com/office/drawing/2014/main" id="{CF2F4900-EA0E-230B-791B-60367122619E}"/>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4" name="Group 83">
              <a:extLst>
                <a:ext uri="{FF2B5EF4-FFF2-40B4-BE49-F238E27FC236}">
                  <a16:creationId xmlns:a16="http://schemas.microsoft.com/office/drawing/2014/main" id="{A462790D-C14C-45FE-AFC2-EE0A46075E51}"/>
                </a:ext>
              </a:extLst>
            </p:cNvPr>
            <p:cNvGrpSpPr/>
            <p:nvPr/>
          </p:nvGrpSpPr>
          <p:grpSpPr>
            <a:xfrm>
              <a:off x="13757848" y="21402694"/>
              <a:ext cx="3239588" cy="3005109"/>
              <a:chOff x="13757848" y="2169190"/>
              <a:chExt cx="3239588" cy="3005109"/>
            </a:xfrm>
          </p:grpSpPr>
          <p:grpSp>
            <p:nvGrpSpPr>
              <p:cNvPr id="123" name="Group 122">
                <a:extLst>
                  <a:ext uri="{FF2B5EF4-FFF2-40B4-BE49-F238E27FC236}">
                    <a16:creationId xmlns:a16="http://schemas.microsoft.com/office/drawing/2014/main" id="{6544CCB3-9530-252B-9AC9-DACD3AF52FCB}"/>
                  </a:ext>
                </a:extLst>
              </p:cNvPr>
              <p:cNvGrpSpPr/>
              <p:nvPr/>
            </p:nvGrpSpPr>
            <p:grpSpPr>
              <a:xfrm>
                <a:off x="13816078" y="2169190"/>
                <a:ext cx="3096088" cy="707825"/>
                <a:chOff x="13816078" y="2169190"/>
                <a:chExt cx="3096088" cy="707825"/>
              </a:xfrm>
            </p:grpSpPr>
            <p:sp>
              <p:nvSpPr>
                <p:cNvPr id="150" name="Rounded Rectangle 149">
                  <a:extLst>
                    <a:ext uri="{FF2B5EF4-FFF2-40B4-BE49-F238E27FC236}">
                      <a16:creationId xmlns:a16="http://schemas.microsoft.com/office/drawing/2014/main" id="{2EDF6D41-87F7-CA38-50A4-B96A421A5A65}"/>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51" name="Group 150">
                  <a:extLst>
                    <a:ext uri="{FF2B5EF4-FFF2-40B4-BE49-F238E27FC236}">
                      <a16:creationId xmlns:a16="http://schemas.microsoft.com/office/drawing/2014/main" id="{FA7289E9-B26D-383C-6AA8-97A23EBF3CAC}"/>
                    </a:ext>
                  </a:extLst>
                </p:cNvPr>
                <p:cNvGrpSpPr/>
                <p:nvPr/>
              </p:nvGrpSpPr>
              <p:grpSpPr>
                <a:xfrm>
                  <a:off x="14631247" y="2345047"/>
                  <a:ext cx="2132754" cy="339866"/>
                  <a:chOff x="3344204" y="2330315"/>
                  <a:chExt cx="1972263" cy="339866"/>
                </a:xfrm>
              </p:grpSpPr>
              <p:cxnSp>
                <p:nvCxnSpPr>
                  <p:cNvPr id="153" name="Straight Connector 152">
                    <a:extLst>
                      <a:ext uri="{FF2B5EF4-FFF2-40B4-BE49-F238E27FC236}">
                        <a16:creationId xmlns:a16="http://schemas.microsoft.com/office/drawing/2014/main" id="{11B73D0C-5F13-EC29-4827-0227AE36F94D}"/>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961E188F-D8BC-EBF0-8B3F-7393D3F6975A}"/>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5FA8C877-AF7E-854F-DA18-C290A1A89292}"/>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1C3FD1F-A18A-115E-4D47-C14F47514F3F}"/>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C864A3E9-B21D-13D4-A095-66AC2D384F35}"/>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03EAA558-F154-B517-159E-AC3E4066AEB6}"/>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B11C425C-6CEC-E9E1-549F-9B77A2BA8CC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52" name="TextBox 151">
                  <a:extLst>
                    <a:ext uri="{FF2B5EF4-FFF2-40B4-BE49-F238E27FC236}">
                      <a16:creationId xmlns:a16="http://schemas.microsoft.com/office/drawing/2014/main" id="{1836A0DA-837C-F159-1D25-3DFE63FC44C4}"/>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9</a:t>
                  </a:r>
                </a:p>
              </p:txBody>
            </p:sp>
          </p:grpSp>
          <p:grpSp>
            <p:nvGrpSpPr>
              <p:cNvPr id="124" name="Group 123">
                <a:extLst>
                  <a:ext uri="{FF2B5EF4-FFF2-40B4-BE49-F238E27FC236}">
                    <a16:creationId xmlns:a16="http://schemas.microsoft.com/office/drawing/2014/main" id="{687F1969-A493-7ADB-38AF-B5FC06D22251}"/>
                  </a:ext>
                </a:extLst>
              </p:cNvPr>
              <p:cNvGrpSpPr/>
              <p:nvPr/>
            </p:nvGrpSpPr>
            <p:grpSpPr>
              <a:xfrm>
                <a:off x="13816078" y="3243610"/>
                <a:ext cx="3096088" cy="707825"/>
                <a:chOff x="13816078" y="3243610"/>
                <a:chExt cx="3096088" cy="707825"/>
              </a:xfrm>
            </p:grpSpPr>
            <p:sp>
              <p:nvSpPr>
                <p:cNvPr id="139" name="Rounded Rectangle 138">
                  <a:extLst>
                    <a:ext uri="{FF2B5EF4-FFF2-40B4-BE49-F238E27FC236}">
                      <a16:creationId xmlns:a16="http://schemas.microsoft.com/office/drawing/2014/main" id="{C0197B6F-1B5F-144D-20D0-AE697275841E}"/>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40" name="Group 139">
                  <a:extLst>
                    <a:ext uri="{FF2B5EF4-FFF2-40B4-BE49-F238E27FC236}">
                      <a16:creationId xmlns:a16="http://schemas.microsoft.com/office/drawing/2014/main" id="{A80A3EFB-2F51-E963-34D7-12F7387F287B}"/>
                    </a:ext>
                  </a:extLst>
                </p:cNvPr>
                <p:cNvGrpSpPr/>
                <p:nvPr/>
              </p:nvGrpSpPr>
              <p:grpSpPr>
                <a:xfrm>
                  <a:off x="14631247" y="3419467"/>
                  <a:ext cx="2132754" cy="339866"/>
                  <a:chOff x="3344204" y="2330315"/>
                  <a:chExt cx="1972263" cy="339866"/>
                </a:xfrm>
              </p:grpSpPr>
              <p:cxnSp>
                <p:nvCxnSpPr>
                  <p:cNvPr id="142" name="Straight Connector 141">
                    <a:extLst>
                      <a:ext uri="{FF2B5EF4-FFF2-40B4-BE49-F238E27FC236}">
                        <a16:creationId xmlns:a16="http://schemas.microsoft.com/office/drawing/2014/main" id="{9545A045-86C8-F88F-D8C4-2C1983B0AD11}"/>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5E72B997-33F3-BF86-FB4A-BF401BCB8CA2}"/>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6202BA2B-7D44-D7F6-B8F1-2B63B5403088}"/>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7888BFAB-635D-6E3B-9EA0-02D3C7B1FB1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6" name="Straight Connector 145">
                    <a:extLst>
                      <a:ext uri="{FF2B5EF4-FFF2-40B4-BE49-F238E27FC236}">
                        <a16:creationId xmlns:a16="http://schemas.microsoft.com/office/drawing/2014/main" id="{320FC746-CA91-F7B2-0E95-8184E6F42D8A}"/>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84FCAF18-535B-BAEE-A4AB-D26A0A977B43}"/>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DA5AA10E-5C01-0D08-7AF8-F7A1A70EBE8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104E12B1-4FD5-76E7-3A10-5F0C4C4785C2}"/>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41" name="TextBox 140">
                  <a:extLst>
                    <a:ext uri="{FF2B5EF4-FFF2-40B4-BE49-F238E27FC236}">
                      <a16:creationId xmlns:a16="http://schemas.microsoft.com/office/drawing/2014/main" id="{35923D40-A961-24C6-B799-E787F31AA9E7}"/>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0</a:t>
                  </a:r>
                </a:p>
              </p:txBody>
            </p:sp>
          </p:grpSp>
          <p:cxnSp>
            <p:nvCxnSpPr>
              <p:cNvPr id="125" name="Straight Connector 124">
                <a:extLst>
                  <a:ext uri="{FF2B5EF4-FFF2-40B4-BE49-F238E27FC236}">
                    <a16:creationId xmlns:a16="http://schemas.microsoft.com/office/drawing/2014/main" id="{26808964-74F4-9A3D-C86E-CBB0425767AB}"/>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26" name="Group 125">
                <a:extLst>
                  <a:ext uri="{FF2B5EF4-FFF2-40B4-BE49-F238E27FC236}">
                    <a16:creationId xmlns:a16="http://schemas.microsoft.com/office/drawing/2014/main" id="{82F31838-119B-41EC-A3CA-876612267015}"/>
                  </a:ext>
                </a:extLst>
              </p:cNvPr>
              <p:cNvGrpSpPr/>
              <p:nvPr/>
            </p:nvGrpSpPr>
            <p:grpSpPr>
              <a:xfrm>
                <a:off x="13816078" y="4288638"/>
                <a:ext cx="3096088" cy="707825"/>
                <a:chOff x="13816078" y="4288638"/>
                <a:chExt cx="3096088" cy="707825"/>
              </a:xfrm>
            </p:grpSpPr>
            <p:sp>
              <p:nvSpPr>
                <p:cNvPr id="129" name="Rounded Rectangle 128">
                  <a:extLst>
                    <a:ext uri="{FF2B5EF4-FFF2-40B4-BE49-F238E27FC236}">
                      <a16:creationId xmlns:a16="http://schemas.microsoft.com/office/drawing/2014/main" id="{EA30C5D1-E38F-CE1E-35EE-B3CC0FF36AF1}"/>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30" name="Group 129">
                  <a:extLst>
                    <a:ext uri="{FF2B5EF4-FFF2-40B4-BE49-F238E27FC236}">
                      <a16:creationId xmlns:a16="http://schemas.microsoft.com/office/drawing/2014/main" id="{A877F754-0781-0E4A-6C89-907343F0B567}"/>
                    </a:ext>
                  </a:extLst>
                </p:cNvPr>
                <p:cNvGrpSpPr/>
                <p:nvPr/>
              </p:nvGrpSpPr>
              <p:grpSpPr>
                <a:xfrm>
                  <a:off x="14631247" y="4464495"/>
                  <a:ext cx="2132754" cy="339866"/>
                  <a:chOff x="3344204" y="2330315"/>
                  <a:chExt cx="1972263" cy="339866"/>
                </a:xfrm>
              </p:grpSpPr>
              <p:cxnSp>
                <p:nvCxnSpPr>
                  <p:cNvPr id="132" name="Straight Connector 131">
                    <a:extLst>
                      <a:ext uri="{FF2B5EF4-FFF2-40B4-BE49-F238E27FC236}">
                        <a16:creationId xmlns:a16="http://schemas.microsoft.com/office/drawing/2014/main" id="{EFB5BD46-1F7E-C7CA-5A5C-3B268B0EA761}"/>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2B0B4C77-3FD9-BF3A-1E81-7E9156CB7A8F}"/>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F6A62831-0D5E-8782-972D-A685CA109C17}"/>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D16C5F72-8310-48BC-8EDF-8C523493096F}"/>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116E21EE-F25B-B8A0-31A9-453494DCB43F}"/>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286EBF9-3D04-09CD-98B9-9410D31C49D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C6898BB4-B152-0ECA-884F-14369ECAF507}"/>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31" name="TextBox 130">
                  <a:extLst>
                    <a:ext uri="{FF2B5EF4-FFF2-40B4-BE49-F238E27FC236}">
                      <a16:creationId xmlns:a16="http://schemas.microsoft.com/office/drawing/2014/main" id="{B449D9AD-218C-80BD-4CC9-BD1706882F2E}"/>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1</a:t>
                  </a:r>
                </a:p>
              </p:txBody>
            </p:sp>
          </p:grpSp>
          <p:cxnSp>
            <p:nvCxnSpPr>
              <p:cNvPr id="127" name="Straight Connector 126">
                <a:extLst>
                  <a:ext uri="{FF2B5EF4-FFF2-40B4-BE49-F238E27FC236}">
                    <a16:creationId xmlns:a16="http://schemas.microsoft.com/office/drawing/2014/main" id="{E4418DBB-F1ED-FA14-E353-E331AC5529C9}"/>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28" name="Straight Connector 127">
                <a:extLst>
                  <a:ext uri="{FF2B5EF4-FFF2-40B4-BE49-F238E27FC236}">
                    <a16:creationId xmlns:a16="http://schemas.microsoft.com/office/drawing/2014/main" id="{A51C29E4-07B5-7417-AC63-0E71A32596D5}"/>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85" name="Group 84">
              <a:extLst>
                <a:ext uri="{FF2B5EF4-FFF2-40B4-BE49-F238E27FC236}">
                  <a16:creationId xmlns:a16="http://schemas.microsoft.com/office/drawing/2014/main" id="{7056A349-B641-E94F-D0D3-D1935468A8FE}"/>
                </a:ext>
              </a:extLst>
            </p:cNvPr>
            <p:cNvGrpSpPr/>
            <p:nvPr/>
          </p:nvGrpSpPr>
          <p:grpSpPr>
            <a:xfrm>
              <a:off x="13757848" y="24608280"/>
              <a:ext cx="3239588" cy="3005109"/>
              <a:chOff x="13757848" y="2169190"/>
              <a:chExt cx="3239588" cy="3005109"/>
            </a:xfrm>
          </p:grpSpPr>
          <p:grpSp>
            <p:nvGrpSpPr>
              <p:cNvPr id="86" name="Group 85">
                <a:extLst>
                  <a:ext uri="{FF2B5EF4-FFF2-40B4-BE49-F238E27FC236}">
                    <a16:creationId xmlns:a16="http://schemas.microsoft.com/office/drawing/2014/main" id="{969DE26E-2F98-E617-F61F-E692C087831F}"/>
                  </a:ext>
                </a:extLst>
              </p:cNvPr>
              <p:cNvGrpSpPr/>
              <p:nvPr/>
            </p:nvGrpSpPr>
            <p:grpSpPr>
              <a:xfrm>
                <a:off x="13816078" y="2169190"/>
                <a:ext cx="3096088" cy="707825"/>
                <a:chOff x="13816078" y="2169190"/>
                <a:chExt cx="3096088" cy="707825"/>
              </a:xfrm>
            </p:grpSpPr>
            <p:sp>
              <p:nvSpPr>
                <p:cNvPr id="113" name="Rounded Rectangle 112">
                  <a:extLst>
                    <a:ext uri="{FF2B5EF4-FFF2-40B4-BE49-F238E27FC236}">
                      <a16:creationId xmlns:a16="http://schemas.microsoft.com/office/drawing/2014/main" id="{173BCA2B-40A7-4F6D-521A-975500E45C3B}"/>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14" name="Group 113">
                  <a:extLst>
                    <a:ext uri="{FF2B5EF4-FFF2-40B4-BE49-F238E27FC236}">
                      <a16:creationId xmlns:a16="http://schemas.microsoft.com/office/drawing/2014/main" id="{0D9C8C36-1330-48CD-4FD1-9E31FC850009}"/>
                    </a:ext>
                  </a:extLst>
                </p:cNvPr>
                <p:cNvGrpSpPr/>
                <p:nvPr/>
              </p:nvGrpSpPr>
              <p:grpSpPr>
                <a:xfrm>
                  <a:off x="14631247" y="2345047"/>
                  <a:ext cx="2132754" cy="339866"/>
                  <a:chOff x="3344204" y="2330315"/>
                  <a:chExt cx="1972263" cy="339866"/>
                </a:xfrm>
              </p:grpSpPr>
              <p:cxnSp>
                <p:nvCxnSpPr>
                  <p:cNvPr id="116" name="Straight Connector 115">
                    <a:extLst>
                      <a:ext uri="{FF2B5EF4-FFF2-40B4-BE49-F238E27FC236}">
                        <a16:creationId xmlns:a16="http://schemas.microsoft.com/office/drawing/2014/main" id="{AE784BB5-9B93-862A-6F8F-39FBF56C9773}"/>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B2A8E25A-0A32-ADE7-32C1-8ADFBCCB52AF}"/>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176EE013-ACD0-5675-EC77-53ECE7C197B5}"/>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7B14F348-0812-F411-3CED-48A5C8161DF8}"/>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383F6E58-EDC8-B272-DAD7-1294A16DF206}"/>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2B72DA4B-4733-1893-CB44-DC90738EA567}"/>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FBF1F675-733B-05AA-ECF7-37A9DAB67E5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15" name="TextBox 114">
                  <a:extLst>
                    <a:ext uri="{FF2B5EF4-FFF2-40B4-BE49-F238E27FC236}">
                      <a16:creationId xmlns:a16="http://schemas.microsoft.com/office/drawing/2014/main" id="{A59EA11B-F5BD-2255-C977-EC8170F04C50}"/>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2</a:t>
                  </a:r>
                </a:p>
              </p:txBody>
            </p:sp>
          </p:grpSp>
          <p:grpSp>
            <p:nvGrpSpPr>
              <p:cNvPr id="87" name="Group 86">
                <a:extLst>
                  <a:ext uri="{FF2B5EF4-FFF2-40B4-BE49-F238E27FC236}">
                    <a16:creationId xmlns:a16="http://schemas.microsoft.com/office/drawing/2014/main" id="{C3144699-2869-9629-345C-182A179ADAAA}"/>
                  </a:ext>
                </a:extLst>
              </p:cNvPr>
              <p:cNvGrpSpPr/>
              <p:nvPr/>
            </p:nvGrpSpPr>
            <p:grpSpPr>
              <a:xfrm>
                <a:off x="13816078" y="3243610"/>
                <a:ext cx="3096088" cy="707825"/>
                <a:chOff x="13816078" y="3243610"/>
                <a:chExt cx="3096088" cy="707825"/>
              </a:xfrm>
            </p:grpSpPr>
            <p:sp>
              <p:nvSpPr>
                <p:cNvPr id="102" name="Rounded Rectangle 101">
                  <a:extLst>
                    <a:ext uri="{FF2B5EF4-FFF2-40B4-BE49-F238E27FC236}">
                      <a16:creationId xmlns:a16="http://schemas.microsoft.com/office/drawing/2014/main" id="{E521F6DF-102A-05E4-D7BE-EACF3B60DA7E}"/>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03" name="Group 102">
                  <a:extLst>
                    <a:ext uri="{FF2B5EF4-FFF2-40B4-BE49-F238E27FC236}">
                      <a16:creationId xmlns:a16="http://schemas.microsoft.com/office/drawing/2014/main" id="{607239A8-435B-8DDE-7CE9-872124BA3F41}"/>
                    </a:ext>
                  </a:extLst>
                </p:cNvPr>
                <p:cNvGrpSpPr/>
                <p:nvPr/>
              </p:nvGrpSpPr>
              <p:grpSpPr>
                <a:xfrm>
                  <a:off x="14631247" y="3419467"/>
                  <a:ext cx="2132754" cy="339866"/>
                  <a:chOff x="3344204" y="2330315"/>
                  <a:chExt cx="1972263" cy="339866"/>
                </a:xfrm>
              </p:grpSpPr>
              <p:cxnSp>
                <p:nvCxnSpPr>
                  <p:cNvPr id="105" name="Straight Connector 104">
                    <a:extLst>
                      <a:ext uri="{FF2B5EF4-FFF2-40B4-BE49-F238E27FC236}">
                        <a16:creationId xmlns:a16="http://schemas.microsoft.com/office/drawing/2014/main" id="{D26A1332-82D1-70D6-C67D-C0B4BC885DA0}"/>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ABAD0A34-3BD7-61A6-7DCF-131E8E713CF0}"/>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775DA49-32F9-E3F2-23CA-F7DEAAD7713D}"/>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36E9D3D8-E90E-1ACF-3B4A-3E38257715E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2A6236B0-FE67-B452-2AFD-1A071242FC3A}"/>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708355CB-09C1-BA4B-230C-288D9BA8F260}"/>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EB2F39E3-87F8-587F-3E29-04216D10DCE8}"/>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BE13B6A-C7BA-8EA5-1E45-C36DBB29501E}"/>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04" name="TextBox 103">
                  <a:extLst>
                    <a:ext uri="{FF2B5EF4-FFF2-40B4-BE49-F238E27FC236}">
                      <a16:creationId xmlns:a16="http://schemas.microsoft.com/office/drawing/2014/main" id="{229FA67B-4DFE-F4E7-C0AA-4AAE4D006239}"/>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3</a:t>
                  </a:r>
                </a:p>
              </p:txBody>
            </p:sp>
          </p:grpSp>
          <p:cxnSp>
            <p:nvCxnSpPr>
              <p:cNvPr id="88" name="Straight Connector 87">
                <a:extLst>
                  <a:ext uri="{FF2B5EF4-FFF2-40B4-BE49-F238E27FC236}">
                    <a16:creationId xmlns:a16="http://schemas.microsoft.com/office/drawing/2014/main" id="{C3805950-C9AB-24CD-C17A-1829AF2D67F8}"/>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89" name="Group 88">
                <a:extLst>
                  <a:ext uri="{FF2B5EF4-FFF2-40B4-BE49-F238E27FC236}">
                    <a16:creationId xmlns:a16="http://schemas.microsoft.com/office/drawing/2014/main" id="{D348E887-C1B4-F079-2979-AFBA5DEE75AD}"/>
                  </a:ext>
                </a:extLst>
              </p:cNvPr>
              <p:cNvGrpSpPr/>
              <p:nvPr/>
            </p:nvGrpSpPr>
            <p:grpSpPr>
              <a:xfrm>
                <a:off x="13816078" y="4288638"/>
                <a:ext cx="3096088" cy="707825"/>
                <a:chOff x="13816078" y="4288638"/>
                <a:chExt cx="3096088" cy="707825"/>
              </a:xfrm>
            </p:grpSpPr>
            <p:sp>
              <p:nvSpPr>
                <p:cNvPr id="92" name="Rounded Rectangle 91">
                  <a:extLst>
                    <a:ext uri="{FF2B5EF4-FFF2-40B4-BE49-F238E27FC236}">
                      <a16:creationId xmlns:a16="http://schemas.microsoft.com/office/drawing/2014/main" id="{AC3A5615-87E3-54A5-EE57-F14C4EDF99FA}"/>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93" name="Group 92">
                  <a:extLst>
                    <a:ext uri="{FF2B5EF4-FFF2-40B4-BE49-F238E27FC236}">
                      <a16:creationId xmlns:a16="http://schemas.microsoft.com/office/drawing/2014/main" id="{2E4D01E2-0342-F5AF-DE37-0EDD6B0A4FC8}"/>
                    </a:ext>
                  </a:extLst>
                </p:cNvPr>
                <p:cNvGrpSpPr/>
                <p:nvPr/>
              </p:nvGrpSpPr>
              <p:grpSpPr>
                <a:xfrm>
                  <a:off x="14631247" y="4464495"/>
                  <a:ext cx="2132754" cy="339866"/>
                  <a:chOff x="3344204" y="2330315"/>
                  <a:chExt cx="1972263" cy="339866"/>
                </a:xfrm>
              </p:grpSpPr>
              <p:cxnSp>
                <p:nvCxnSpPr>
                  <p:cNvPr id="95" name="Straight Connector 94">
                    <a:extLst>
                      <a:ext uri="{FF2B5EF4-FFF2-40B4-BE49-F238E27FC236}">
                        <a16:creationId xmlns:a16="http://schemas.microsoft.com/office/drawing/2014/main" id="{F04F4B40-CF3F-FAFF-EF09-4C434C89E55D}"/>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A2FBD327-8F25-BD09-2FAA-84ABAA47E3FC}"/>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3879DC7F-E7A1-9732-781D-656666AB7A44}"/>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24536213-A94F-F677-B99E-439607FFD8B3}"/>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36469916-B82B-7220-BD38-7032AC222732}"/>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580C895D-5D1A-A28B-0153-2724742E46CA}"/>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9FCA1E9C-4BF9-5DAC-E80E-F6ACC13F9E4B}"/>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94" name="TextBox 93">
                  <a:extLst>
                    <a:ext uri="{FF2B5EF4-FFF2-40B4-BE49-F238E27FC236}">
                      <a16:creationId xmlns:a16="http://schemas.microsoft.com/office/drawing/2014/main" id="{9C87E53F-A240-CA80-C28C-23AF11AE485F}"/>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4</a:t>
                  </a:r>
                </a:p>
              </p:txBody>
            </p:sp>
          </p:grpSp>
          <p:cxnSp>
            <p:nvCxnSpPr>
              <p:cNvPr id="90" name="Straight Connector 89">
                <a:extLst>
                  <a:ext uri="{FF2B5EF4-FFF2-40B4-BE49-F238E27FC236}">
                    <a16:creationId xmlns:a16="http://schemas.microsoft.com/office/drawing/2014/main" id="{15A8A83A-1EA5-70D6-4C03-D2906E9A0772}"/>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91" name="Straight Connector 90">
                <a:extLst>
                  <a:ext uri="{FF2B5EF4-FFF2-40B4-BE49-F238E27FC236}">
                    <a16:creationId xmlns:a16="http://schemas.microsoft.com/office/drawing/2014/main" id="{04EC2FF1-A237-9AFF-8C6B-1F7502406068}"/>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382" name="Group 381">
            <a:extLst>
              <a:ext uri="{FF2B5EF4-FFF2-40B4-BE49-F238E27FC236}">
                <a16:creationId xmlns:a16="http://schemas.microsoft.com/office/drawing/2014/main" id="{D1A83076-067A-BCC8-1417-11A09EC025D3}"/>
              </a:ext>
            </a:extLst>
          </p:cNvPr>
          <p:cNvGrpSpPr/>
          <p:nvPr/>
        </p:nvGrpSpPr>
        <p:grpSpPr>
          <a:xfrm>
            <a:off x="1324508" y="1149512"/>
            <a:ext cx="3563547" cy="7947435"/>
            <a:chOff x="1324571" y="1724348"/>
            <a:chExt cx="3563547" cy="7947435"/>
          </a:xfrm>
        </p:grpSpPr>
        <p:sp>
          <p:nvSpPr>
            <p:cNvPr id="383" name="Rounded Rectangle 382">
              <a:extLst>
                <a:ext uri="{FF2B5EF4-FFF2-40B4-BE49-F238E27FC236}">
                  <a16:creationId xmlns:a16="http://schemas.microsoft.com/office/drawing/2014/main" id="{5F396E8D-8CA3-B3F1-0AA5-1325C78342B9}"/>
                </a:ext>
              </a:extLst>
            </p:cNvPr>
            <p:cNvSpPr/>
            <p:nvPr/>
          </p:nvSpPr>
          <p:spPr>
            <a:xfrm>
              <a:off x="1324571" y="1724349"/>
              <a:ext cx="3563547" cy="7947434"/>
            </a:xfrm>
            <a:prstGeom prst="roundRect">
              <a:avLst>
                <a:gd name="adj" fmla="val 7160"/>
              </a:avLst>
            </a:prstGeom>
            <a:noFill/>
            <a:ln w="2540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4" name="Rounded Rectangle 383">
              <a:extLst>
                <a:ext uri="{FF2B5EF4-FFF2-40B4-BE49-F238E27FC236}">
                  <a16:creationId xmlns:a16="http://schemas.microsoft.com/office/drawing/2014/main" id="{331635B1-F13F-728F-C864-1A40EA89E43A}"/>
                </a:ext>
              </a:extLst>
            </p:cNvPr>
            <p:cNvSpPr/>
            <p:nvPr/>
          </p:nvSpPr>
          <p:spPr>
            <a:xfrm>
              <a:off x="1324571" y="1724348"/>
              <a:ext cx="3563547" cy="1026770"/>
            </a:xfrm>
            <a:prstGeom prst="roundRect">
              <a:avLst>
                <a:gd name="adj" fmla="val 20484"/>
              </a:avLst>
            </a:prstGeom>
            <a:solidFill>
              <a:schemeClr val="accent5"/>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nova Bold"/>
                  <a:ea typeface="+mn-ea"/>
                  <a:cs typeface="+mn-cs"/>
                </a:rPr>
                <a:t>Customer ID</a:t>
              </a:r>
            </a:p>
          </p:txBody>
        </p:sp>
      </p:grpSp>
      <p:cxnSp>
        <p:nvCxnSpPr>
          <p:cNvPr id="385" name="Straight Arrow Connector 384">
            <a:extLst>
              <a:ext uri="{FF2B5EF4-FFF2-40B4-BE49-F238E27FC236}">
                <a16:creationId xmlns:a16="http://schemas.microsoft.com/office/drawing/2014/main" id="{FF67E281-57C7-FD9E-FEC0-99D5724C4FBC}"/>
              </a:ext>
            </a:extLst>
          </p:cNvPr>
          <p:cNvCxnSpPr>
            <a:cxnSpLocks/>
          </p:cNvCxnSpPr>
          <p:nvPr/>
        </p:nvCxnSpPr>
        <p:spPr>
          <a:xfrm>
            <a:off x="5252404" y="4549269"/>
            <a:ext cx="2170124" cy="0"/>
          </a:xfrm>
          <a:prstGeom prst="straightConnector1">
            <a:avLst/>
          </a:prstGeom>
          <a:ln w="63500">
            <a:solidFill>
              <a:schemeClr val="accent2"/>
            </a:solidFill>
            <a:tailEnd type="arrow" w="lg" len="sm"/>
          </a:ln>
        </p:spPr>
        <p:style>
          <a:lnRef idx="1">
            <a:schemeClr val="accent1"/>
          </a:lnRef>
          <a:fillRef idx="0">
            <a:schemeClr val="accent1"/>
          </a:fillRef>
          <a:effectRef idx="0">
            <a:schemeClr val="accent1"/>
          </a:effectRef>
          <a:fontRef idx="minor">
            <a:schemeClr val="tx1"/>
          </a:fontRef>
        </p:style>
      </p:cxnSp>
      <p:grpSp>
        <p:nvGrpSpPr>
          <p:cNvPr id="386" name="Group 385">
            <a:extLst>
              <a:ext uri="{FF2B5EF4-FFF2-40B4-BE49-F238E27FC236}">
                <a16:creationId xmlns:a16="http://schemas.microsoft.com/office/drawing/2014/main" id="{51EB4998-02B9-9D37-4675-3491EB97D508}"/>
              </a:ext>
            </a:extLst>
          </p:cNvPr>
          <p:cNvGrpSpPr/>
          <p:nvPr/>
        </p:nvGrpSpPr>
        <p:grpSpPr>
          <a:xfrm>
            <a:off x="5179301" y="3961558"/>
            <a:ext cx="2302893" cy="1050599"/>
            <a:chOff x="3198909" y="1826416"/>
            <a:chExt cx="2302893" cy="1050599"/>
          </a:xfrm>
        </p:grpSpPr>
        <p:sp>
          <p:nvSpPr>
            <p:cNvPr id="387" name="Rounded Rectangle 386">
              <a:extLst>
                <a:ext uri="{FF2B5EF4-FFF2-40B4-BE49-F238E27FC236}">
                  <a16:creationId xmlns:a16="http://schemas.microsoft.com/office/drawing/2014/main" id="{2ADDE9D4-13D8-1BB8-787F-CE1CFC9E0D4B}"/>
                </a:ext>
              </a:extLst>
            </p:cNvPr>
            <p:cNvSpPr/>
            <p:nvPr/>
          </p:nvSpPr>
          <p:spPr>
            <a:xfrm>
              <a:off x="3198909" y="1826416"/>
              <a:ext cx="2302893" cy="1050599"/>
            </a:xfrm>
            <a:prstGeom prst="roundRect">
              <a:avLst/>
            </a:prstGeom>
            <a:solidFill>
              <a:schemeClr val="tx2"/>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COMPLAINT</a:t>
              </a:r>
            </a:p>
          </p:txBody>
        </p:sp>
        <p:grpSp>
          <p:nvGrpSpPr>
            <p:cNvPr id="388" name="Group 387">
              <a:extLst>
                <a:ext uri="{FF2B5EF4-FFF2-40B4-BE49-F238E27FC236}">
                  <a16:creationId xmlns:a16="http://schemas.microsoft.com/office/drawing/2014/main" id="{804F8CF5-52EF-0319-B721-B638DC373308}"/>
                </a:ext>
              </a:extLst>
            </p:cNvPr>
            <p:cNvGrpSpPr/>
            <p:nvPr/>
          </p:nvGrpSpPr>
          <p:grpSpPr>
            <a:xfrm>
              <a:off x="3344204" y="2330315"/>
              <a:ext cx="1972263" cy="339866"/>
              <a:chOff x="3344204" y="2330315"/>
              <a:chExt cx="1972263" cy="339866"/>
            </a:xfrm>
          </p:grpSpPr>
          <p:cxnSp>
            <p:nvCxnSpPr>
              <p:cNvPr id="389" name="Straight Connector 388">
                <a:extLst>
                  <a:ext uri="{FF2B5EF4-FFF2-40B4-BE49-F238E27FC236}">
                    <a16:creationId xmlns:a16="http://schemas.microsoft.com/office/drawing/2014/main" id="{A64256B4-5FF5-11D1-5D5D-5C54EDCD6FA7}"/>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4ED796CD-AF68-A86E-D9C2-67970DC73914}"/>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4CE693E3-1592-FCDA-B441-E5F2886BFBF5}"/>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0115E151-0318-82E5-2D6A-0A045532F942}"/>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760272E6-2BF3-651A-C2AB-1F1D20F6F03E}"/>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64CE34AC-0DD4-F5D6-2E1F-C7EE9CB23CB3}"/>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0EF93F88-B1A2-71CE-4034-EF6877AE6DC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396" name="Group 395">
            <a:extLst>
              <a:ext uri="{FF2B5EF4-FFF2-40B4-BE49-F238E27FC236}">
                <a16:creationId xmlns:a16="http://schemas.microsoft.com/office/drawing/2014/main" id="{C22EEB08-7900-52BB-91E8-F9B5AA428709}"/>
              </a:ext>
            </a:extLst>
          </p:cNvPr>
          <p:cNvGrpSpPr/>
          <p:nvPr/>
        </p:nvGrpSpPr>
        <p:grpSpPr>
          <a:xfrm>
            <a:off x="7612863" y="2932703"/>
            <a:ext cx="2794399" cy="3078562"/>
            <a:chOff x="7442696" y="3184438"/>
            <a:chExt cx="2794399" cy="3078562"/>
          </a:xfrm>
        </p:grpSpPr>
        <p:sp>
          <p:nvSpPr>
            <p:cNvPr id="397" name="Rounded Rectangle 284">
              <a:extLst>
                <a:ext uri="{FF2B5EF4-FFF2-40B4-BE49-F238E27FC236}">
                  <a16:creationId xmlns:a16="http://schemas.microsoft.com/office/drawing/2014/main" id="{95E5B29A-FCFA-BC7C-343C-940343F9974B}"/>
                </a:ext>
              </a:extLst>
            </p:cNvPr>
            <p:cNvSpPr/>
            <p:nvPr/>
          </p:nvSpPr>
          <p:spPr>
            <a:xfrm>
              <a:off x="7442696" y="3184438"/>
              <a:ext cx="2794399" cy="2894775"/>
            </a:xfrm>
            <a:custGeom>
              <a:avLst/>
              <a:gdLst>
                <a:gd name="connsiteX0" fmla="*/ 0 w 2794399"/>
                <a:gd name="connsiteY0" fmla="*/ 465742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465742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693133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399" h="2894775">
                  <a:moveTo>
                    <a:pt x="0" y="690444"/>
                  </a:moveTo>
                  <a:cubicBezTo>
                    <a:pt x="0" y="433222"/>
                    <a:pt x="82729" y="6988"/>
                    <a:pt x="465742" y="2150"/>
                  </a:cubicBezTo>
                  <a:cubicBezTo>
                    <a:pt x="848755" y="-2688"/>
                    <a:pt x="1935968" y="2150"/>
                    <a:pt x="2328657" y="2150"/>
                  </a:cubicBezTo>
                  <a:cubicBezTo>
                    <a:pt x="2721346" y="2150"/>
                    <a:pt x="2794399" y="438061"/>
                    <a:pt x="2794399" y="695283"/>
                  </a:cubicBezTo>
                  <a:lnTo>
                    <a:pt x="2794399" y="2429033"/>
                  </a:lnTo>
                  <a:cubicBezTo>
                    <a:pt x="2794399" y="2686255"/>
                    <a:pt x="2585879" y="2894775"/>
                    <a:pt x="2328657" y="2894775"/>
                  </a:cubicBezTo>
                  <a:lnTo>
                    <a:pt x="465742" y="2894775"/>
                  </a:lnTo>
                  <a:cubicBezTo>
                    <a:pt x="208520" y="2894775"/>
                    <a:pt x="0" y="2686255"/>
                    <a:pt x="0" y="2429033"/>
                  </a:cubicBezTo>
                  <a:lnTo>
                    <a:pt x="0" y="690444"/>
                  </a:lnTo>
                  <a:close/>
                </a:path>
              </a:pathLst>
            </a:custGeom>
            <a:solidFill>
              <a:schemeClr val="accent4">
                <a:lumMod val="90000"/>
                <a:lumOff val="10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98" name="Rounded Rectangle 397">
              <a:extLst>
                <a:ext uri="{FF2B5EF4-FFF2-40B4-BE49-F238E27FC236}">
                  <a16:creationId xmlns:a16="http://schemas.microsoft.com/office/drawing/2014/main" id="{44EB8928-5534-347C-1913-DF229DB3595B}"/>
                </a:ext>
              </a:extLst>
            </p:cNvPr>
            <p:cNvSpPr/>
            <p:nvPr/>
          </p:nvSpPr>
          <p:spPr>
            <a:xfrm>
              <a:off x="7442696" y="3468601"/>
              <a:ext cx="2794399" cy="2794399"/>
            </a:xfrm>
            <a:prstGeom prst="roundRect">
              <a:avLst/>
            </a:prstGeom>
            <a:solidFill>
              <a:schemeClr val="accent4"/>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flatTx/>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LARGE</a:t>
              </a:r>
              <a:br>
                <a:rPr kumimoji="0" lang="en-US" sz="1600" b="0" i="0" u="none" strike="noStrike" kern="1200" cap="none" spc="100" normalizeH="0" baseline="0" noProof="0">
                  <a:ln>
                    <a:noFill/>
                  </a:ln>
                  <a:solidFill>
                    <a:srgbClr val="FFFFFF"/>
                  </a:solidFill>
                  <a:effectLst/>
                  <a:uLnTx/>
                  <a:uFillTx/>
                  <a:latin typeface="Anova Bold"/>
                  <a:ea typeface="+mn-ea"/>
                  <a:cs typeface="+mn-cs"/>
                </a:rPr>
              </a:br>
              <a:r>
                <a:rPr kumimoji="0" lang="en-US" sz="1600" b="0" i="0" u="none" strike="noStrike" kern="1200" cap="none" spc="100" normalizeH="0" baseline="0" noProof="0">
                  <a:ln>
                    <a:noFill/>
                  </a:ln>
                  <a:solidFill>
                    <a:srgbClr val="FFFFFF"/>
                  </a:solidFill>
                  <a:effectLst/>
                  <a:uLnTx/>
                  <a:uFillTx/>
                  <a:latin typeface="Anova Bold"/>
                  <a:ea typeface="+mn-ea"/>
                  <a:cs typeface="+mn-cs"/>
                </a:rPr>
                <a:t>LANGUAGE MODEL</a:t>
              </a:r>
            </a:p>
          </p:txBody>
        </p:sp>
        <p:grpSp>
          <p:nvGrpSpPr>
            <p:cNvPr id="399" name="Group 398">
              <a:extLst>
                <a:ext uri="{FF2B5EF4-FFF2-40B4-BE49-F238E27FC236}">
                  <a16:creationId xmlns:a16="http://schemas.microsoft.com/office/drawing/2014/main" id="{E5279F6D-B1A8-6CF3-99BE-5CC8B3CCAEB6}"/>
                </a:ext>
              </a:extLst>
            </p:cNvPr>
            <p:cNvGrpSpPr/>
            <p:nvPr/>
          </p:nvGrpSpPr>
          <p:grpSpPr>
            <a:xfrm>
              <a:off x="7843472" y="4291717"/>
              <a:ext cx="1983115" cy="1649195"/>
              <a:chOff x="5907442" y="7087458"/>
              <a:chExt cx="1983115" cy="1649195"/>
            </a:xfrm>
          </p:grpSpPr>
          <p:cxnSp>
            <p:nvCxnSpPr>
              <p:cNvPr id="400" name="Straight Connector 399">
                <a:extLst>
                  <a:ext uri="{FF2B5EF4-FFF2-40B4-BE49-F238E27FC236}">
                    <a16:creationId xmlns:a16="http://schemas.microsoft.com/office/drawing/2014/main" id="{07C847F3-8A58-B2BA-3975-AA0E58A98DF1}"/>
                  </a:ext>
                </a:extLst>
              </p:cNvPr>
              <p:cNvCxnSpPr>
                <a:cxnSpLocks/>
              </p:cNvCxnSpPr>
              <p:nvPr/>
            </p:nvCxnSpPr>
            <p:spPr>
              <a:xfrm>
                <a:off x="6759721" y="7216842"/>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27DB073A-E0AF-C242-B32A-C8487657E597}"/>
                  </a:ext>
                </a:extLst>
              </p:cNvPr>
              <p:cNvCxnSpPr>
                <a:cxnSpLocks/>
              </p:cNvCxnSpPr>
              <p:nvPr/>
            </p:nvCxnSpPr>
            <p:spPr>
              <a:xfrm>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2" name="Straight Connector 401">
                <a:extLst>
                  <a:ext uri="{FF2B5EF4-FFF2-40B4-BE49-F238E27FC236}">
                    <a16:creationId xmlns:a16="http://schemas.microsoft.com/office/drawing/2014/main" id="{4E42361B-A336-4AD4-9A16-25789105C3F3}"/>
                  </a:ext>
                </a:extLst>
              </p:cNvPr>
              <p:cNvCxnSpPr>
                <a:cxnSpLocks/>
              </p:cNvCxnSpPr>
              <p:nvPr/>
            </p:nvCxnSpPr>
            <p:spPr>
              <a:xfrm flipH="1">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3" name="Straight Connector 402">
                <a:extLst>
                  <a:ext uri="{FF2B5EF4-FFF2-40B4-BE49-F238E27FC236}">
                    <a16:creationId xmlns:a16="http://schemas.microsoft.com/office/drawing/2014/main" id="{7C3D8556-D82D-A770-E1A4-58668FB92A1B}"/>
                  </a:ext>
                </a:extLst>
              </p:cNvPr>
              <p:cNvCxnSpPr>
                <a:cxnSpLocks/>
              </p:cNvCxnSpPr>
              <p:nvPr/>
            </p:nvCxnSpPr>
            <p:spPr>
              <a:xfrm>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4" name="Straight Connector 403">
                <a:extLst>
                  <a:ext uri="{FF2B5EF4-FFF2-40B4-BE49-F238E27FC236}">
                    <a16:creationId xmlns:a16="http://schemas.microsoft.com/office/drawing/2014/main" id="{5F180C7D-E37B-C8AA-C67F-BC8AEAEE3444}"/>
                  </a:ext>
                </a:extLst>
              </p:cNvPr>
              <p:cNvCxnSpPr>
                <a:cxnSpLocks/>
              </p:cNvCxnSpPr>
              <p:nvPr/>
            </p:nvCxnSpPr>
            <p:spPr>
              <a:xfrm flipH="1"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5" name="Straight Connector 404">
                <a:extLst>
                  <a:ext uri="{FF2B5EF4-FFF2-40B4-BE49-F238E27FC236}">
                    <a16:creationId xmlns:a16="http://schemas.microsoft.com/office/drawing/2014/main" id="{86FB49F0-66A8-9E53-308E-9342C74FCE03}"/>
                  </a:ext>
                </a:extLst>
              </p:cNvPr>
              <p:cNvCxnSpPr>
                <a:cxnSpLocks/>
              </p:cNvCxnSpPr>
              <p:nvPr/>
            </p:nvCxnSpPr>
            <p:spPr>
              <a:xfrm flipH="1">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6" name="Straight Connector 405">
                <a:extLst>
                  <a:ext uri="{FF2B5EF4-FFF2-40B4-BE49-F238E27FC236}">
                    <a16:creationId xmlns:a16="http://schemas.microsoft.com/office/drawing/2014/main" id="{504D24CE-1F62-730C-BE6A-68A3987E8F89}"/>
                  </a:ext>
                </a:extLst>
              </p:cNvPr>
              <p:cNvCxnSpPr>
                <a:cxnSpLocks/>
              </p:cNvCxnSpPr>
              <p:nvPr/>
            </p:nvCxnSpPr>
            <p:spPr>
              <a:xfrm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7" name="Straight Connector 406">
                <a:extLst>
                  <a:ext uri="{FF2B5EF4-FFF2-40B4-BE49-F238E27FC236}">
                    <a16:creationId xmlns:a16="http://schemas.microsoft.com/office/drawing/2014/main" id="{52FB509F-C8D8-EB04-9859-E0E1477933F4}"/>
                  </a:ext>
                </a:extLst>
              </p:cNvPr>
              <p:cNvCxnSpPr>
                <a:cxnSpLocks/>
              </p:cNvCxnSpPr>
              <p:nvPr/>
            </p:nvCxnSpPr>
            <p:spPr>
              <a:xfrm>
                <a:off x="6759721" y="7680305"/>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8" name="Straight Connector 407">
                <a:extLst>
                  <a:ext uri="{FF2B5EF4-FFF2-40B4-BE49-F238E27FC236}">
                    <a16:creationId xmlns:a16="http://schemas.microsoft.com/office/drawing/2014/main" id="{ECE4045B-D4DF-4C1A-882F-744D69D4F6F3}"/>
                  </a:ext>
                </a:extLst>
              </p:cNvPr>
              <p:cNvCxnSpPr>
                <a:cxnSpLocks/>
              </p:cNvCxnSpPr>
              <p:nvPr/>
            </p:nvCxnSpPr>
            <p:spPr>
              <a:xfrm>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9" name="Straight Connector 408">
                <a:extLst>
                  <a:ext uri="{FF2B5EF4-FFF2-40B4-BE49-F238E27FC236}">
                    <a16:creationId xmlns:a16="http://schemas.microsoft.com/office/drawing/2014/main" id="{F6B72E53-1D5B-0261-3E2C-2D9E855E43E0}"/>
                  </a:ext>
                </a:extLst>
              </p:cNvPr>
              <p:cNvCxnSpPr>
                <a:cxnSpLocks/>
              </p:cNvCxnSpPr>
              <p:nvPr/>
            </p:nvCxnSpPr>
            <p:spPr>
              <a:xfrm flipH="1" flipV="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0" name="Straight Connector 409">
                <a:extLst>
                  <a:ext uri="{FF2B5EF4-FFF2-40B4-BE49-F238E27FC236}">
                    <a16:creationId xmlns:a16="http://schemas.microsoft.com/office/drawing/2014/main" id="{451B84E7-1213-45AD-B3DE-3CD8647905CD}"/>
                  </a:ext>
                </a:extLst>
              </p:cNvPr>
              <p:cNvCxnSpPr>
                <a:cxnSpLocks/>
              </p:cNvCxnSpPr>
              <p:nvPr/>
            </p:nvCxnSpPr>
            <p:spPr>
              <a:xfrm flipH="1">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1" name="Straight Connector 410">
                <a:extLst>
                  <a:ext uri="{FF2B5EF4-FFF2-40B4-BE49-F238E27FC236}">
                    <a16:creationId xmlns:a16="http://schemas.microsoft.com/office/drawing/2014/main" id="{1FC6D378-617C-8302-9A42-317153948BC1}"/>
                  </a:ext>
                </a:extLst>
              </p:cNvPr>
              <p:cNvCxnSpPr>
                <a:cxnSpLocks/>
              </p:cNvCxnSpPr>
              <p:nvPr/>
            </p:nvCxnSpPr>
            <p:spPr>
              <a:xfrm flipH="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2" name="Straight Connector 411">
                <a:extLst>
                  <a:ext uri="{FF2B5EF4-FFF2-40B4-BE49-F238E27FC236}">
                    <a16:creationId xmlns:a16="http://schemas.microsoft.com/office/drawing/2014/main" id="{0EE1F8A2-180A-828E-3D60-EE6E0F0B739B}"/>
                  </a:ext>
                </a:extLst>
              </p:cNvPr>
              <p:cNvCxnSpPr>
                <a:cxnSpLocks/>
              </p:cNvCxnSpPr>
              <p:nvPr/>
            </p:nvCxnSpPr>
            <p:spPr>
              <a:xfrm>
                <a:off x="6759721" y="8143767"/>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A46A3C16-EB94-B250-4831-C85F9BDE7844}"/>
                  </a:ext>
                </a:extLst>
              </p:cNvPr>
              <p:cNvCxnSpPr>
                <a:cxnSpLocks/>
              </p:cNvCxnSpPr>
              <p:nvPr/>
            </p:nvCxnSpPr>
            <p:spPr>
              <a:xfrm>
                <a:off x="6759721" y="8607230"/>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62509E0F-0B7B-DA9E-2315-75CD8C92DFE9}"/>
                  </a:ext>
                </a:extLst>
              </p:cNvPr>
              <p:cNvCxnSpPr>
                <a:cxnSpLocks/>
              </p:cNvCxnSpPr>
              <p:nvPr/>
            </p:nvCxnSpPr>
            <p:spPr>
              <a:xfrm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5" name="Straight Connector 414">
                <a:extLst>
                  <a:ext uri="{FF2B5EF4-FFF2-40B4-BE49-F238E27FC236}">
                    <a16:creationId xmlns:a16="http://schemas.microsoft.com/office/drawing/2014/main" id="{F94A048E-8981-717C-71C6-2F43597CAD87}"/>
                  </a:ext>
                </a:extLst>
              </p:cNvPr>
              <p:cNvCxnSpPr>
                <a:cxnSpLocks/>
              </p:cNvCxnSpPr>
              <p:nvPr/>
            </p:nvCxnSpPr>
            <p:spPr>
              <a:xfrm flipH="1"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6" name="Straight Connector 415">
                <a:extLst>
                  <a:ext uri="{FF2B5EF4-FFF2-40B4-BE49-F238E27FC236}">
                    <a16:creationId xmlns:a16="http://schemas.microsoft.com/office/drawing/2014/main" id="{8B84257A-1408-FD78-847C-0103B78256C1}"/>
                  </a:ext>
                </a:extLst>
              </p:cNvPr>
              <p:cNvCxnSpPr>
                <a:cxnSpLocks/>
              </p:cNvCxnSpPr>
              <p:nvPr/>
            </p:nvCxnSpPr>
            <p:spPr>
              <a:xfrm flipV="1">
                <a:off x="6183496"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7" name="Straight Connector 416">
                <a:extLst>
                  <a:ext uri="{FF2B5EF4-FFF2-40B4-BE49-F238E27FC236}">
                    <a16:creationId xmlns:a16="http://schemas.microsoft.com/office/drawing/2014/main" id="{9E50A4AA-1BDA-12B0-E163-F0736CDFA15D}"/>
                  </a:ext>
                </a:extLst>
              </p:cNvPr>
              <p:cNvCxnSpPr>
                <a:cxnSpLocks/>
              </p:cNvCxnSpPr>
              <p:nvPr/>
            </p:nvCxnSpPr>
            <p:spPr>
              <a:xfrm>
                <a:off x="6183496"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10C343E6-C2B3-E94C-D2A2-8CD0DF0C76FA}"/>
                  </a:ext>
                </a:extLst>
              </p:cNvPr>
              <p:cNvCxnSpPr>
                <a:cxnSpLocks/>
              </p:cNvCxnSpPr>
              <p:nvPr/>
            </p:nvCxnSpPr>
            <p:spPr>
              <a:xfrm flipV="1">
                <a:off x="6183496"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9" name="Straight Connector 418">
                <a:extLst>
                  <a:ext uri="{FF2B5EF4-FFF2-40B4-BE49-F238E27FC236}">
                    <a16:creationId xmlns:a16="http://schemas.microsoft.com/office/drawing/2014/main" id="{492F5A57-EBCA-4C70-D1C7-DDC75275F159}"/>
                  </a:ext>
                </a:extLst>
              </p:cNvPr>
              <p:cNvCxnSpPr>
                <a:cxnSpLocks/>
              </p:cNvCxnSpPr>
              <p:nvPr/>
            </p:nvCxnSpPr>
            <p:spPr>
              <a:xfrm>
                <a:off x="6183496" y="791155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FC464752-DDED-220B-3029-5E336BFF3D4A}"/>
                  </a:ext>
                </a:extLst>
              </p:cNvPr>
              <p:cNvCxnSpPr>
                <a:cxnSpLocks/>
              </p:cNvCxnSpPr>
              <p:nvPr/>
            </p:nvCxnSpPr>
            <p:spPr>
              <a:xfrm flipV="1">
                <a:off x="6183496"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96A24B7E-338A-D4E4-5B35-56C0E5DFA3CE}"/>
                  </a:ext>
                </a:extLst>
              </p:cNvPr>
              <p:cNvCxnSpPr>
                <a:cxnSpLocks/>
              </p:cNvCxnSpPr>
              <p:nvPr/>
            </p:nvCxnSpPr>
            <p:spPr>
              <a:xfrm>
                <a:off x="6183496"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2" name="Straight Connector 421">
                <a:extLst>
                  <a:ext uri="{FF2B5EF4-FFF2-40B4-BE49-F238E27FC236}">
                    <a16:creationId xmlns:a16="http://schemas.microsoft.com/office/drawing/2014/main" id="{127B2D48-8729-3369-CB12-007987DC2DE0}"/>
                  </a:ext>
                </a:extLst>
              </p:cNvPr>
              <p:cNvCxnSpPr>
                <a:cxnSpLocks/>
              </p:cNvCxnSpPr>
              <p:nvPr/>
            </p:nvCxnSpPr>
            <p:spPr>
              <a:xfrm flipH="1">
                <a:off x="6183496"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3" name="Straight Connector 422">
                <a:extLst>
                  <a:ext uri="{FF2B5EF4-FFF2-40B4-BE49-F238E27FC236}">
                    <a16:creationId xmlns:a16="http://schemas.microsoft.com/office/drawing/2014/main" id="{04802ACC-AA9F-8095-7C06-991E44D42B97}"/>
                  </a:ext>
                </a:extLst>
              </p:cNvPr>
              <p:cNvCxnSpPr>
                <a:cxnSpLocks/>
              </p:cNvCxnSpPr>
              <p:nvPr/>
            </p:nvCxnSpPr>
            <p:spPr>
              <a:xfrm flipH="1">
                <a:off x="6183496"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4" name="Straight Connector 423">
                <a:extLst>
                  <a:ext uri="{FF2B5EF4-FFF2-40B4-BE49-F238E27FC236}">
                    <a16:creationId xmlns:a16="http://schemas.microsoft.com/office/drawing/2014/main" id="{81F25112-3174-7040-ACA0-51F97917FCCC}"/>
                  </a:ext>
                </a:extLst>
              </p:cNvPr>
              <p:cNvCxnSpPr>
                <a:cxnSpLocks/>
              </p:cNvCxnSpPr>
              <p:nvPr/>
            </p:nvCxnSpPr>
            <p:spPr>
              <a:xfrm flipH="1" flipV="1">
                <a:off x="6183496"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C989C645-A588-182C-B3BF-C290180F9C91}"/>
                  </a:ext>
                </a:extLst>
              </p:cNvPr>
              <p:cNvCxnSpPr>
                <a:cxnSpLocks/>
              </p:cNvCxnSpPr>
              <p:nvPr/>
            </p:nvCxnSpPr>
            <p:spPr>
              <a:xfrm flipH="1">
                <a:off x="6183496"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9AAD7A44-F64D-D802-3F8D-AACF249C8E3C}"/>
                  </a:ext>
                </a:extLst>
              </p:cNvPr>
              <p:cNvCxnSpPr>
                <a:cxnSpLocks/>
              </p:cNvCxnSpPr>
              <p:nvPr/>
            </p:nvCxnSpPr>
            <p:spPr>
              <a:xfrm flipH="1" flipV="1">
                <a:off x="6183496"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7" name="Straight Connector 426">
                <a:extLst>
                  <a:ext uri="{FF2B5EF4-FFF2-40B4-BE49-F238E27FC236}">
                    <a16:creationId xmlns:a16="http://schemas.microsoft.com/office/drawing/2014/main" id="{D1BB7FCA-B6F8-E673-3700-F3E8F67E88BE}"/>
                  </a:ext>
                </a:extLst>
              </p:cNvPr>
              <p:cNvCxnSpPr>
                <a:cxnSpLocks/>
              </p:cNvCxnSpPr>
              <p:nvPr/>
            </p:nvCxnSpPr>
            <p:spPr>
              <a:xfrm flipH="1" flipV="1">
                <a:off x="7331579"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8" name="Straight Connector 427">
                <a:extLst>
                  <a:ext uri="{FF2B5EF4-FFF2-40B4-BE49-F238E27FC236}">
                    <a16:creationId xmlns:a16="http://schemas.microsoft.com/office/drawing/2014/main" id="{CF7E45FA-DB6A-C18E-FD34-F16CC322A2FF}"/>
                  </a:ext>
                </a:extLst>
              </p:cNvPr>
              <p:cNvCxnSpPr>
                <a:cxnSpLocks/>
              </p:cNvCxnSpPr>
              <p:nvPr/>
            </p:nvCxnSpPr>
            <p:spPr>
              <a:xfrm flipH="1">
                <a:off x="7331579"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3B41FB44-A8D9-8309-BCD4-227235A1B450}"/>
                  </a:ext>
                </a:extLst>
              </p:cNvPr>
              <p:cNvCxnSpPr>
                <a:cxnSpLocks/>
              </p:cNvCxnSpPr>
              <p:nvPr/>
            </p:nvCxnSpPr>
            <p:spPr>
              <a:xfrm flipH="1" flipV="1">
                <a:off x="7331579"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73F73B04-CACC-DAF3-A2A1-D17330706985}"/>
                  </a:ext>
                </a:extLst>
              </p:cNvPr>
              <p:cNvCxnSpPr>
                <a:cxnSpLocks/>
              </p:cNvCxnSpPr>
              <p:nvPr/>
            </p:nvCxnSpPr>
            <p:spPr>
              <a:xfrm flipH="1">
                <a:off x="7331579" y="7912515"/>
                <a:ext cx="282924"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1" name="Straight Connector 430">
                <a:extLst>
                  <a:ext uri="{FF2B5EF4-FFF2-40B4-BE49-F238E27FC236}">
                    <a16:creationId xmlns:a16="http://schemas.microsoft.com/office/drawing/2014/main" id="{540F6AF3-DC3A-7217-49AC-A212949F2C31}"/>
                  </a:ext>
                </a:extLst>
              </p:cNvPr>
              <p:cNvCxnSpPr>
                <a:cxnSpLocks/>
              </p:cNvCxnSpPr>
              <p:nvPr/>
            </p:nvCxnSpPr>
            <p:spPr>
              <a:xfrm flipH="1" flipV="1">
                <a:off x="7331579"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2" name="Straight Connector 431">
                <a:extLst>
                  <a:ext uri="{FF2B5EF4-FFF2-40B4-BE49-F238E27FC236}">
                    <a16:creationId xmlns:a16="http://schemas.microsoft.com/office/drawing/2014/main" id="{DE8E6AB2-3D01-CF7F-1118-9F96AE8B10C0}"/>
                  </a:ext>
                </a:extLst>
              </p:cNvPr>
              <p:cNvCxnSpPr>
                <a:cxnSpLocks/>
              </p:cNvCxnSpPr>
              <p:nvPr/>
            </p:nvCxnSpPr>
            <p:spPr>
              <a:xfrm flipH="1">
                <a:off x="7331579"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D1CEEBE6-479C-8C72-C8DD-CB3F633E49E2}"/>
                  </a:ext>
                </a:extLst>
              </p:cNvPr>
              <p:cNvCxnSpPr>
                <a:cxnSpLocks/>
              </p:cNvCxnSpPr>
              <p:nvPr/>
            </p:nvCxnSpPr>
            <p:spPr>
              <a:xfrm>
                <a:off x="7331579"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6D5E4E75-1141-1118-6414-C2BD8432386B}"/>
                  </a:ext>
                </a:extLst>
              </p:cNvPr>
              <p:cNvCxnSpPr>
                <a:cxnSpLocks/>
              </p:cNvCxnSpPr>
              <p:nvPr/>
            </p:nvCxnSpPr>
            <p:spPr>
              <a:xfrm>
                <a:off x="7331579"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5" name="Straight Connector 434">
                <a:extLst>
                  <a:ext uri="{FF2B5EF4-FFF2-40B4-BE49-F238E27FC236}">
                    <a16:creationId xmlns:a16="http://schemas.microsoft.com/office/drawing/2014/main" id="{1CC79787-BFF7-4423-14B2-57790EE201C8}"/>
                  </a:ext>
                </a:extLst>
              </p:cNvPr>
              <p:cNvCxnSpPr>
                <a:cxnSpLocks/>
              </p:cNvCxnSpPr>
              <p:nvPr/>
            </p:nvCxnSpPr>
            <p:spPr>
              <a:xfrm flipV="1">
                <a:off x="7331579"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6" name="Straight Connector 435">
                <a:extLst>
                  <a:ext uri="{FF2B5EF4-FFF2-40B4-BE49-F238E27FC236}">
                    <a16:creationId xmlns:a16="http://schemas.microsoft.com/office/drawing/2014/main" id="{BAA104C1-D495-A35E-6A48-CAD533651AE2}"/>
                  </a:ext>
                </a:extLst>
              </p:cNvPr>
              <p:cNvCxnSpPr>
                <a:cxnSpLocks/>
              </p:cNvCxnSpPr>
              <p:nvPr/>
            </p:nvCxnSpPr>
            <p:spPr>
              <a:xfrm>
                <a:off x="7331579"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1C140FFA-EF28-4975-DD8C-270CECFFD5F3}"/>
                  </a:ext>
                </a:extLst>
              </p:cNvPr>
              <p:cNvCxnSpPr>
                <a:cxnSpLocks/>
              </p:cNvCxnSpPr>
              <p:nvPr/>
            </p:nvCxnSpPr>
            <p:spPr>
              <a:xfrm flipV="1">
                <a:off x="7331579"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438" name="Oval 437">
                <a:extLst>
                  <a:ext uri="{FF2B5EF4-FFF2-40B4-BE49-F238E27FC236}">
                    <a16:creationId xmlns:a16="http://schemas.microsoft.com/office/drawing/2014/main" id="{91147380-0F2F-7377-97EB-E62924878A44}"/>
                  </a:ext>
                </a:extLst>
              </p:cNvPr>
              <p:cNvSpPr>
                <a:spLocks noChangeAspect="1"/>
              </p:cNvSpPr>
              <p:nvPr/>
            </p:nvSpPr>
            <p:spPr>
              <a:xfrm>
                <a:off x="590744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39" name="Oval 438">
                <a:extLst>
                  <a:ext uri="{FF2B5EF4-FFF2-40B4-BE49-F238E27FC236}">
                    <a16:creationId xmlns:a16="http://schemas.microsoft.com/office/drawing/2014/main" id="{CEB1C3CA-67B5-2927-7ED8-7C7F69E3FA3A}"/>
                  </a:ext>
                </a:extLst>
              </p:cNvPr>
              <p:cNvSpPr>
                <a:spLocks noChangeAspect="1"/>
              </p:cNvSpPr>
              <p:nvPr/>
            </p:nvSpPr>
            <p:spPr>
              <a:xfrm>
                <a:off x="5907442"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0" name="Oval 439">
                <a:extLst>
                  <a:ext uri="{FF2B5EF4-FFF2-40B4-BE49-F238E27FC236}">
                    <a16:creationId xmlns:a16="http://schemas.microsoft.com/office/drawing/2014/main" id="{B94474FA-E23B-41EE-6B44-2331FEA09FF1}"/>
                  </a:ext>
                </a:extLst>
              </p:cNvPr>
              <p:cNvSpPr>
                <a:spLocks noChangeAspect="1"/>
              </p:cNvSpPr>
              <p:nvPr/>
            </p:nvSpPr>
            <p:spPr>
              <a:xfrm>
                <a:off x="5907442"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1" name="Oval 440">
                <a:extLst>
                  <a:ext uri="{FF2B5EF4-FFF2-40B4-BE49-F238E27FC236}">
                    <a16:creationId xmlns:a16="http://schemas.microsoft.com/office/drawing/2014/main" id="{71AEAFE0-406A-4C94-7997-63D5B2324D06}"/>
                  </a:ext>
                </a:extLst>
              </p:cNvPr>
              <p:cNvSpPr>
                <a:spLocks noChangeAspect="1"/>
              </p:cNvSpPr>
              <p:nvPr/>
            </p:nvSpPr>
            <p:spPr>
              <a:xfrm>
                <a:off x="763175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2" name="Oval 441">
                <a:extLst>
                  <a:ext uri="{FF2B5EF4-FFF2-40B4-BE49-F238E27FC236}">
                    <a16:creationId xmlns:a16="http://schemas.microsoft.com/office/drawing/2014/main" id="{83A1ADFA-4829-CFA4-02AA-777B7DB717F7}"/>
                  </a:ext>
                </a:extLst>
              </p:cNvPr>
              <p:cNvSpPr>
                <a:spLocks noChangeAspect="1"/>
              </p:cNvSpPr>
              <p:nvPr/>
            </p:nvSpPr>
            <p:spPr>
              <a:xfrm>
                <a:off x="7631753"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3" name="Oval 442">
                <a:extLst>
                  <a:ext uri="{FF2B5EF4-FFF2-40B4-BE49-F238E27FC236}">
                    <a16:creationId xmlns:a16="http://schemas.microsoft.com/office/drawing/2014/main" id="{E0DFBBB1-D65E-C7D9-5FC7-E1B20785A4BF}"/>
                  </a:ext>
                </a:extLst>
              </p:cNvPr>
              <p:cNvSpPr>
                <a:spLocks noChangeAspect="1"/>
              </p:cNvSpPr>
              <p:nvPr/>
            </p:nvSpPr>
            <p:spPr>
              <a:xfrm>
                <a:off x="7631754"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4" name="Oval 443">
                <a:extLst>
                  <a:ext uri="{FF2B5EF4-FFF2-40B4-BE49-F238E27FC236}">
                    <a16:creationId xmlns:a16="http://schemas.microsoft.com/office/drawing/2014/main" id="{916C2DFE-AF89-1A52-EDD3-D1B3EAAC1A8D}"/>
                  </a:ext>
                </a:extLst>
              </p:cNvPr>
              <p:cNvSpPr>
                <a:spLocks noChangeAspect="1"/>
              </p:cNvSpPr>
              <p:nvPr/>
            </p:nvSpPr>
            <p:spPr>
              <a:xfrm>
                <a:off x="7055526"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5" name="Oval 444">
                <a:extLst>
                  <a:ext uri="{FF2B5EF4-FFF2-40B4-BE49-F238E27FC236}">
                    <a16:creationId xmlns:a16="http://schemas.microsoft.com/office/drawing/2014/main" id="{92D50E8B-8F28-FF90-1DA7-03C04CA126FA}"/>
                  </a:ext>
                </a:extLst>
              </p:cNvPr>
              <p:cNvSpPr>
                <a:spLocks noChangeAspect="1"/>
              </p:cNvSpPr>
              <p:nvPr/>
            </p:nvSpPr>
            <p:spPr>
              <a:xfrm>
                <a:off x="7055526"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6" name="Oval 445">
                <a:extLst>
                  <a:ext uri="{FF2B5EF4-FFF2-40B4-BE49-F238E27FC236}">
                    <a16:creationId xmlns:a16="http://schemas.microsoft.com/office/drawing/2014/main" id="{2B481771-6284-AEE8-288D-1D0443B7CBE4}"/>
                  </a:ext>
                </a:extLst>
              </p:cNvPr>
              <p:cNvSpPr>
                <a:spLocks noChangeAspect="1"/>
              </p:cNvSpPr>
              <p:nvPr/>
            </p:nvSpPr>
            <p:spPr>
              <a:xfrm>
                <a:off x="7055526"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7" name="Oval 446">
                <a:extLst>
                  <a:ext uri="{FF2B5EF4-FFF2-40B4-BE49-F238E27FC236}">
                    <a16:creationId xmlns:a16="http://schemas.microsoft.com/office/drawing/2014/main" id="{027A1B63-5ACC-3D41-B443-6A450498AE8C}"/>
                  </a:ext>
                </a:extLst>
              </p:cNvPr>
              <p:cNvSpPr>
                <a:spLocks noChangeAspect="1"/>
              </p:cNvSpPr>
              <p:nvPr/>
            </p:nvSpPr>
            <p:spPr>
              <a:xfrm>
                <a:off x="7055526"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8" name="Oval 447">
                <a:extLst>
                  <a:ext uri="{FF2B5EF4-FFF2-40B4-BE49-F238E27FC236}">
                    <a16:creationId xmlns:a16="http://schemas.microsoft.com/office/drawing/2014/main" id="{0B819FCF-E716-6D6C-7DC7-98620A7761CA}"/>
                  </a:ext>
                </a:extLst>
              </p:cNvPr>
              <p:cNvSpPr>
                <a:spLocks noChangeAspect="1"/>
              </p:cNvSpPr>
              <p:nvPr/>
            </p:nvSpPr>
            <p:spPr>
              <a:xfrm>
                <a:off x="6483668"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49" name="Oval 448">
                <a:extLst>
                  <a:ext uri="{FF2B5EF4-FFF2-40B4-BE49-F238E27FC236}">
                    <a16:creationId xmlns:a16="http://schemas.microsoft.com/office/drawing/2014/main" id="{D1AD0737-CF6D-C958-5986-66940CB93312}"/>
                  </a:ext>
                </a:extLst>
              </p:cNvPr>
              <p:cNvSpPr>
                <a:spLocks noChangeAspect="1"/>
              </p:cNvSpPr>
              <p:nvPr/>
            </p:nvSpPr>
            <p:spPr>
              <a:xfrm>
                <a:off x="6483668"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50" name="Oval 449">
                <a:extLst>
                  <a:ext uri="{FF2B5EF4-FFF2-40B4-BE49-F238E27FC236}">
                    <a16:creationId xmlns:a16="http://schemas.microsoft.com/office/drawing/2014/main" id="{89499FD4-0B77-173A-F119-17220D28AE14}"/>
                  </a:ext>
                </a:extLst>
              </p:cNvPr>
              <p:cNvSpPr>
                <a:spLocks noChangeAspect="1"/>
              </p:cNvSpPr>
              <p:nvPr/>
            </p:nvSpPr>
            <p:spPr>
              <a:xfrm>
                <a:off x="6483668"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51" name="Oval 450">
                <a:extLst>
                  <a:ext uri="{FF2B5EF4-FFF2-40B4-BE49-F238E27FC236}">
                    <a16:creationId xmlns:a16="http://schemas.microsoft.com/office/drawing/2014/main" id="{D5063BDD-F2DA-126E-5C4C-C57669E95202}"/>
                  </a:ext>
                </a:extLst>
              </p:cNvPr>
              <p:cNvSpPr>
                <a:spLocks noChangeAspect="1"/>
              </p:cNvSpPr>
              <p:nvPr/>
            </p:nvSpPr>
            <p:spPr>
              <a:xfrm>
                <a:off x="6483668"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spTree>
    <p:extLst>
      <p:ext uri="{BB962C8B-B14F-4D97-AF65-F5344CB8AC3E}">
        <p14:creationId xmlns:p14="http://schemas.microsoft.com/office/powerpoint/2010/main" val="799737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1.52778E-6 -3.58025E-6 L 1.52778E-6 -0.25 " pathEditMode="relative" rAng="0" ptsTypes="AA">
                                      <p:cBhvr>
                                        <p:cTn id="6" dur="2000" fill="hold"/>
                                        <p:tgtEl>
                                          <p:spTgt spid="77"/>
                                        </p:tgtEl>
                                        <p:attrNameLst>
                                          <p:attrName>ppt_x</p:attrName>
                                          <p:attrName>ppt_y</p:attrName>
                                        </p:attrNameLst>
                                      </p:cBhvr>
                                      <p:rCtr x="0" y="-12500"/>
                                    </p:animMotion>
                                  </p:childTnLst>
                                </p:cTn>
                              </p:par>
                            </p:childTnLst>
                          </p:cTn>
                        </p:par>
                        <p:par>
                          <p:cTn id="7" fill="hold">
                            <p:stCondLst>
                              <p:cond delay="2000"/>
                            </p:stCondLst>
                            <p:childTnLst>
                              <p:par>
                                <p:cTn id="8" presetID="22" presetClass="entr" presetSubtype="8" fill="hold" grpId="0" nodeType="afterEffect">
                                  <p:stCondLst>
                                    <p:cond delay="0"/>
                                  </p:stCondLst>
                                  <p:childTnLst>
                                    <p:set>
                                      <p:cBhvr>
                                        <p:cTn id="9" dur="1" fill="hold">
                                          <p:stCondLst>
                                            <p:cond delay="0"/>
                                          </p:stCondLst>
                                        </p:cTn>
                                        <p:tgtEl>
                                          <p:spTgt spid="75"/>
                                        </p:tgtEl>
                                        <p:attrNameLst>
                                          <p:attrName>style.visibility</p:attrName>
                                        </p:attrNameLst>
                                      </p:cBhvr>
                                      <p:to>
                                        <p:strVal val="visible"/>
                                      </p:to>
                                    </p:set>
                                    <p:animEffect transition="in" filter="wipe(left)">
                                      <p:cBhvr>
                                        <p:cTn id="10" dur="500"/>
                                        <p:tgtEl>
                                          <p:spTgt spid="75"/>
                                        </p:tgtEl>
                                      </p:cBhvr>
                                    </p:animEffect>
                                  </p:childTnLst>
                                </p:cTn>
                              </p:par>
                            </p:childTnLst>
                          </p:cTn>
                        </p:par>
                        <p:par>
                          <p:cTn id="11" fill="hold">
                            <p:stCondLst>
                              <p:cond delay="2500"/>
                            </p:stCondLst>
                            <p:childTnLst>
                              <p:par>
                                <p:cTn id="12" presetID="12" presetClass="entr" presetSubtype="8" fill="hold" nodeType="afterEffect">
                                  <p:stCondLst>
                                    <p:cond delay="0"/>
                                  </p:stCondLst>
                                  <p:childTnLst>
                                    <p:set>
                                      <p:cBhvr>
                                        <p:cTn id="13" dur="1" fill="hold">
                                          <p:stCondLst>
                                            <p:cond delay="0"/>
                                          </p:stCondLst>
                                        </p:cTn>
                                        <p:tgtEl>
                                          <p:spTgt spid="386"/>
                                        </p:tgtEl>
                                        <p:attrNameLst>
                                          <p:attrName>style.visibility</p:attrName>
                                        </p:attrNameLst>
                                      </p:cBhvr>
                                      <p:to>
                                        <p:strVal val="visible"/>
                                      </p:to>
                                    </p:set>
                                    <p:anim calcmode="lin" valueType="num">
                                      <p:cBhvr additive="base">
                                        <p:cTn id="14" dur="500"/>
                                        <p:tgtEl>
                                          <p:spTgt spid="386"/>
                                        </p:tgtEl>
                                        <p:attrNameLst>
                                          <p:attrName>ppt_x</p:attrName>
                                        </p:attrNameLst>
                                      </p:cBhvr>
                                      <p:tavLst>
                                        <p:tav tm="0">
                                          <p:val>
                                            <p:strVal val="#ppt_x-#ppt_w*1.125000"/>
                                          </p:val>
                                        </p:tav>
                                        <p:tav tm="100000">
                                          <p:val>
                                            <p:strVal val="#ppt_x"/>
                                          </p:val>
                                        </p:tav>
                                      </p:tavLst>
                                    </p:anim>
                                    <p:animEffect transition="in" filter="wipe(right)">
                                      <p:cBhvr>
                                        <p:cTn id="15" dur="500"/>
                                        <p:tgtEl>
                                          <p:spTgt spid="386"/>
                                        </p:tgtEl>
                                      </p:cBhvr>
                                    </p:animEffect>
                                  </p:childTnLst>
                                </p:cTn>
                              </p:par>
                            </p:childTnLst>
                          </p:cTn>
                        </p:par>
                        <p:par>
                          <p:cTn id="16" fill="hold">
                            <p:stCondLst>
                              <p:cond delay="3000"/>
                            </p:stCondLst>
                            <p:childTnLst>
                              <p:par>
                                <p:cTn id="17" presetID="10" presetClass="entr" presetSubtype="0" fill="hold" nodeType="afterEffect">
                                  <p:stCondLst>
                                    <p:cond delay="0"/>
                                  </p:stCondLst>
                                  <p:childTnLst>
                                    <p:set>
                                      <p:cBhvr>
                                        <p:cTn id="18" dur="1" fill="hold">
                                          <p:stCondLst>
                                            <p:cond delay="0"/>
                                          </p:stCondLst>
                                        </p:cTn>
                                        <p:tgtEl>
                                          <p:spTgt spid="385"/>
                                        </p:tgtEl>
                                        <p:attrNameLst>
                                          <p:attrName>style.visibility</p:attrName>
                                        </p:attrNameLst>
                                      </p:cBhvr>
                                      <p:to>
                                        <p:strVal val="visible"/>
                                      </p:to>
                                    </p:set>
                                    <p:animEffect transition="in" filter="fade">
                                      <p:cBhvr>
                                        <p:cTn id="19" dur="500"/>
                                        <p:tgtEl>
                                          <p:spTgt spid="385"/>
                                        </p:tgtEl>
                                      </p:cBhvr>
                                    </p:animEffect>
                                  </p:childTnLst>
                                </p:cTn>
                              </p:par>
                            </p:childTnLst>
                          </p:cTn>
                        </p:par>
                        <p:par>
                          <p:cTn id="20" fill="hold">
                            <p:stCondLst>
                              <p:cond delay="3500"/>
                            </p:stCondLst>
                            <p:childTnLst>
                              <p:par>
                                <p:cTn id="21" presetID="10" presetClass="entr" presetSubtype="0" fill="hold" nodeType="afterEffect">
                                  <p:stCondLst>
                                    <p:cond delay="0"/>
                                  </p:stCondLst>
                                  <p:childTnLst>
                                    <p:set>
                                      <p:cBhvr>
                                        <p:cTn id="22" dur="1" fill="hold">
                                          <p:stCondLst>
                                            <p:cond delay="0"/>
                                          </p:stCondLst>
                                        </p:cTn>
                                        <p:tgtEl>
                                          <p:spTgt spid="396"/>
                                        </p:tgtEl>
                                        <p:attrNameLst>
                                          <p:attrName>style.visibility</p:attrName>
                                        </p:attrNameLst>
                                      </p:cBhvr>
                                      <p:to>
                                        <p:strVal val="visible"/>
                                      </p:to>
                                    </p:set>
                                    <p:animEffect transition="in" filter="fade">
                                      <p:cBhvr>
                                        <p:cTn id="23" dur="500"/>
                                        <p:tgtEl>
                                          <p:spTgt spid="396"/>
                                        </p:tgtEl>
                                      </p:cBhvr>
                                    </p:animEffect>
                                  </p:childTnLst>
                                </p:cTn>
                              </p:par>
                            </p:childTnLst>
                          </p:cTn>
                        </p:par>
                        <p:par>
                          <p:cTn id="24" fill="hold">
                            <p:stCondLst>
                              <p:cond delay="4000"/>
                            </p:stCondLst>
                            <p:childTnLst>
                              <p:par>
                                <p:cTn id="25" presetID="63" presetClass="path" presetSubtype="0" accel="50000" decel="50000" fill="hold" nodeType="afterEffect">
                                  <p:stCondLst>
                                    <p:cond delay="0"/>
                                  </p:stCondLst>
                                  <p:childTnLst>
                                    <p:animMotion origin="layout" path="M -5.55556E-7 -1.11111E-6 L 0.14983 -1.11111E-6 " pathEditMode="relative" rAng="0" ptsTypes="AA">
                                      <p:cBhvr>
                                        <p:cTn id="26" dur="2000" fill="hold"/>
                                        <p:tgtEl>
                                          <p:spTgt spid="386"/>
                                        </p:tgtEl>
                                        <p:attrNameLst>
                                          <p:attrName>ppt_x</p:attrName>
                                          <p:attrName>ppt_y</p:attrName>
                                        </p:attrNameLst>
                                      </p:cBhvr>
                                      <p:rCtr x="7491" y="0"/>
                                    </p:animMotion>
                                  </p:childTnLst>
                                </p:cTn>
                              </p:par>
                            </p:childTnLst>
                          </p:cTn>
                        </p:par>
                        <p:par>
                          <p:cTn id="27" fill="hold">
                            <p:stCondLst>
                              <p:cond delay="6000"/>
                            </p:stCondLst>
                            <p:childTnLst>
                              <p:par>
                                <p:cTn id="28" presetID="12" presetClass="entr" presetSubtype="1" fill="hold" grpId="0" nodeType="afterEffect">
                                  <p:stCondLst>
                                    <p:cond delay="0"/>
                                  </p:stCondLst>
                                  <p:childTnLst>
                                    <p:set>
                                      <p:cBhvr>
                                        <p:cTn id="29" dur="1" fill="hold">
                                          <p:stCondLst>
                                            <p:cond delay="0"/>
                                          </p:stCondLst>
                                        </p:cTn>
                                        <p:tgtEl>
                                          <p:spTgt spid="76"/>
                                        </p:tgtEl>
                                        <p:attrNameLst>
                                          <p:attrName>style.visibility</p:attrName>
                                        </p:attrNameLst>
                                      </p:cBhvr>
                                      <p:to>
                                        <p:strVal val="visible"/>
                                      </p:to>
                                    </p:set>
                                    <p:anim calcmode="lin" valueType="num">
                                      <p:cBhvr additive="base">
                                        <p:cTn id="30" dur="500"/>
                                        <p:tgtEl>
                                          <p:spTgt spid="76"/>
                                        </p:tgtEl>
                                        <p:attrNameLst>
                                          <p:attrName>ppt_y</p:attrName>
                                        </p:attrNameLst>
                                      </p:cBhvr>
                                      <p:tavLst>
                                        <p:tav tm="0">
                                          <p:val>
                                            <p:strVal val="#ppt_y-#ppt_h*1.125000"/>
                                          </p:val>
                                        </p:tav>
                                        <p:tav tm="100000">
                                          <p:val>
                                            <p:strVal val="#ppt_y"/>
                                          </p:val>
                                        </p:tav>
                                      </p:tavLst>
                                    </p:anim>
                                    <p:animEffect transition="in" filter="wipe(down)">
                                      <p:cBhvr>
                                        <p:cTn id="31" dur="500"/>
                                        <p:tgtEl>
                                          <p:spTgt spid="7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F19C54-D26C-539B-E44C-E2FBA25D905C}"/>
              </a:ext>
            </a:extLst>
          </p:cNvPr>
          <p:cNvSpPr/>
          <p:nvPr/>
        </p:nvSpPr>
        <p:spPr>
          <a:xfrm>
            <a:off x="1290596" y="3950383"/>
            <a:ext cx="3741029" cy="1043345"/>
          </a:xfrm>
          <a:prstGeom prst="rect">
            <a:avLst/>
          </a:prstGeom>
          <a:solidFill>
            <a:schemeClr val="accent4">
              <a:lumMod val="75000"/>
              <a:lumOff val="25000"/>
            </a:schemeClr>
          </a:solidFill>
          <a:ln w="25400" cap="rnd">
            <a:solidFill>
              <a:schemeClr val="accent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 name="Rounded Rectangle 2">
            <a:extLst>
              <a:ext uri="{FF2B5EF4-FFF2-40B4-BE49-F238E27FC236}">
                <a16:creationId xmlns:a16="http://schemas.microsoft.com/office/drawing/2014/main" id="{31135741-0D45-71C0-D4BC-320549C00AD6}"/>
              </a:ext>
            </a:extLst>
          </p:cNvPr>
          <p:cNvSpPr/>
          <p:nvPr/>
        </p:nvSpPr>
        <p:spPr>
          <a:xfrm>
            <a:off x="7712450" y="6281002"/>
            <a:ext cx="2629894" cy="618767"/>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Summary</a:t>
            </a:r>
          </a:p>
        </p:txBody>
      </p:sp>
      <p:grpSp>
        <p:nvGrpSpPr>
          <p:cNvPr id="4" name="Group 3">
            <a:extLst>
              <a:ext uri="{FF2B5EF4-FFF2-40B4-BE49-F238E27FC236}">
                <a16:creationId xmlns:a16="http://schemas.microsoft.com/office/drawing/2014/main" id="{033412A3-14E9-4791-F888-3CC1B0BF7B3D}"/>
              </a:ext>
            </a:extLst>
          </p:cNvPr>
          <p:cNvGrpSpPr/>
          <p:nvPr/>
        </p:nvGrpSpPr>
        <p:grpSpPr>
          <a:xfrm>
            <a:off x="10817231" y="6105283"/>
            <a:ext cx="2447505" cy="985914"/>
            <a:chOff x="11010282" y="3687298"/>
            <a:chExt cx="2447505" cy="985914"/>
          </a:xfrm>
        </p:grpSpPr>
        <p:sp>
          <p:nvSpPr>
            <p:cNvPr id="5" name="Rounded Rectangle 4">
              <a:extLst>
                <a:ext uri="{FF2B5EF4-FFF2-40B4-BE49-F238E27FC236}">
                  <a16:creationId xmlns:a16="http://schemas.microsoft.com/office/drawing/2014/main" id="{A962B97E-EA38-F6E6-8775-5A41398F2F82}"/>
                </a:ext>
              </a:extLst>
            </p:cNvPr>
            <p:cNvSpPr/>
            <p:nvPr/>
          </p:nvSpPr>
          <p:spPr>
            <a:xfrm>
              <a:off x="11010282" y="3687298"/>
              <a:ext cx="2447505" cy="985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100" normalizeH="0" baseline="0" noProof="0">
                <a:ln>
                  <a:noFill/>
                </a:ln>
                <a:solidFill>
                  <a:srgbClr val="FFFFFF"/>
                </a:solidFill>
                <a:effectLst/>
                <a:uLnTx/>
                <a:uFillTx/>
                <a:latin typeface="Anova Bold"/>
                <a:ea typeface="+mn-ea"/>
                <a:cs typeface="+mn-cs"/>
              </a:endParaRPr>
            </a:p>
          </p:txBody>
        </p:sp>
        <p:pic>
          <p:nvPicPr>
            <p:cNvPr id="6" name="!!_ViyaLogo" descr="A blue letters on a black background&#10;&#10;Description automatically generated">
              <a:extLst>
                <a:ext uri="{FF2B5EF4-FFF2-40B4-BE49-F238E27FC236}">
                  <a16:creationId xmlns:a16="http://schemas.microsoft.com/office/drawing/2014/main" id="{E33EE34E-C068-7137-0136-FCE11486588A}"/>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1233237" y="3935688"/>
              <a:ext cx="2001552" cy="495784"/>
            </a:xfrm>
            <a:prstGeom prst="rect">
              <a:avLst/>
            </a:prstGeom>
          </p:spPr>
        </p:pic>
      </p:grpSp>
      <p:grpSp>
        <p:nvGrpSpPr>
          <p:cNvPr id="7" name="Group 6">
            <a:extLst>
              <a:ext uri="{FF2B5EF4-FFF2-40B4-BE49-F238E27FC236}">
                <a16:creationId xmlns:a16="http://schemas.microsoft.com/office/drawing/2014/main" id="{2C68F4CC-BD29-7879-62E4-F2F54F18C2FB}"/>
              </a:ext>
            </a:extLst>
          </p:cNvPr>
          <p:cNvGrpSpPr/>
          <p:nvPr/>
        </p:nvGrpSpPr>
        <p:grpSpPr>
          <a:xfrm>
            <a:off x="1487923" y="-152835"/>
            <a:ext cx="3239588" cy="25444199"/>
            <a:chOff x="13757848" y="2169190"/>
            <a:chExt cx="3239588" cy="25444199"/>
          </a:xfrm>
        </p:grpSpPr>
        <p:grpSp>
          <p:nvGrpSpPr>
            <p:cNvPr id="8" name="Group 7">
              <a:extLst>
                <a:ext uri="{FF2B5EF4-FFF2-40B4-BE49-F238E27FC236}">
                  <a16:creationId xmlns:a16="http://schemas.microsoft.com/office/drawing/2014/main" id="{886D02D6-3329-DC47-8B9C-90BF68C7B625}"/>
                </a:ext>
              </a:extLst>
            </p:cNvPr>
            <p:cNvGrpSpPr/>
            <p:nvPr/>
          </p:nvGrpSpPr>
          <p:grpSpPr>
            <a:xfrm>
              <a:off x="13757848" y="2169190"/>
              <a:ext cx="3239588" cy="3005109"/>
              <a:chOff x="13757848" y="2169190"/>
              <a:chExt cx="3239588" cy="3005109"/>
            </a:xfrm>
          </p:grpSpPr>
          <p:grpSp>
            <p:nvGrpSpPr>
              <p:cNvPr id="275" name="Group 274">
                <a:extLst>
                  <a:ext uri="{FF2B5EF4-FFF2-40B4-BE49-F238E27FC236}">
                    <a16:creationId xmlns:a16="http://schemas.microsoft.com/office/drawing/2014/main" id="{8866B9DC-07E0-BAE1-79B8-4EC0B75DFE5B}"/>
                  </a:ext>
                </a:extLst>
              </p:cNvPr>
              <p:cNvGrpSpPr/>
              <p:nvPr/>
            </p:nvGrpSpPr>
            <p:grpSpPr>
              <a:xfrm>
                <a:off x="13816078" y="2169190"/>
                <a:ext cx="3096088" cy="707825"/>
                <a:chOff x="13816078" y="2169190"/>
                <a:chExt cx="3096088" cy="707825"/>
              </a:xfrm>
            </p:grpSpPr>
            <p:sp>
              <p:nvSpPr>
                <p:cNvPr id="302" name="Rounded Rectangle 301">
                  <a:extLst>
                    <a:ext uri="{FF2B5EF4-FFF2-40B4-BE49-F238E27FC236}">
                      <a16:creationId xmlns:a16="http://schemas.microsoft.com/office/drawing/2014/main" id="{64CCCD46-C21A-4ECF-0E50-9F8315623248}"/>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03" name="Group 302">
                  <a:extLst>
                    <a:ext uri="{FF2B5EF4-FFF2-40B4-BE49-F238E27FC236}">
                      <a16:creationId xmlns:a16="http://schemas.microsoft.com/office/drawing/2014/main" id="{FD186AF2-3CDB-BAC1-0B88-22F42FD6C26B}"/>
                    </a:ext>
                  </a:extLst>
                </p:cNvPr>
                <p:cNvGrpSpPr/>
                <p:nvPr/>
              </p:nvGrpSpPr>
              <p:grpSpPr>
                <a:xfrm>
                  <a:off x="14631247" y="2345047"/>
                  <a:ext cx="2132754" cy="339866"/>
                  <a:chOff x="3344204" y="2330315"/>
                  <a:chExt cx="1972263" cy="339866"/>
                </a:xfrm>
              </p:grpSpPr>
              <p:cxnSp>
                <p:nvCxnSpPr>
                  <p:cNvPr id="305" name="Straight Connector 304">
                    <a:extLst>
                      <a:ext uri="{FF2B5EF4-FFF2-40B4-BE49-F238E27FC236}">
                        <a16:creationId xmlns:a16="http://schemas.microsoft.com/office/drawing/2014/main" id="{D33F59ED-FE85-AAFF-016B-EF46BF53E23C}"/>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3FCCCE39-3835-15D9-B5BF-DD81BD3CC35B}"/>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7" name="Straight Connector 306">
                    <a:extLst>
                      <a:ext uri="{FF2B5EF4-FFF2-40B4-BE49-F238E27FC236}">
                        <a16:creationId xmlns:a16="http://schemas.microsoft.com/office/drawing/2014/main" id="{E61A0F23-255F-1E07-FA51-83FC96516D41}"/>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7ED15AEA-6F14-CC58-FBEA-F73DDA07DF3E}"/>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E86B5880-5172-C648-3938-C6D1E339A224}"/>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4EBE2329-DFCE-2256-C95C-5FD27F9331E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75F24539-62BE-C554-7438-0D6FFC9F28C8}"/>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04" name="TextBox 303">
                  <a:extLst>
                    <a:ext uri="{FF2B5EF4-FFF2-40B4-BE49-F238E27FC236}">
                      <a16:creationId xmlns:a16="http://schemas.microsoft.com/office/drawing/2014/main" id="{17671C01-0405-F11C-FE27-ABF9736D23E1}"/>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a:t>
                  </a:r>
                </a:p>
              </p:txBody>
            </p:sp>
          </p:grpSp>
          <p:grpSp>
            <p:nvGrpSpPr>
              <p:cNvPr id="276" name="Group 275">
                <a:extLst>
                  <a:ext uri="{FF2B5EF4-FFF2-40B4-BE49-F238E27FC236}">
                    <a16:creationId xmlns:a16="http://schemas.microsoft.com/office/drawing/2014/main" id="{9BFF26E6-67DA-C3AD-5853-A691F2002209}"/>
                  </a:ext>
                </a:extLst>
              </p:cNvPr>
              <p:cNvGrpSpPr/>
              <p:nvPr/>
            </p:nvGrpSpPr>
            <p:grpSpPr>
              <a:xfrm>
                <a:off x="13816078" y="3243610"/>
                <a:ext cx="3096088" cy="707825"/>
                <a:chOff x="13816078" y="3243610"/>
                <a:chExt cx="3096088" cy="707825"/>
              </a:xfrm>
            </p:grpSpPr>
            <p:sp>
              <p:nvSpPr>
                <p:cNvPr id="291" name="Rounded Rectangle 290">
                  <a:extLst>
                    <a:ext uri="{FF2B5EF4-FFF2-40B4-BE49-F238E27FC236}">
                      <a16:creationId xmlns:a16="http://schemas.microsoft.com/office/drawing/2014/main" id="{DBB15C8E-8D82-AA6A-940A-F9033B64FCEB}"/>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92" name="Group 291">
                  <a:extLst>
                    <a:ext uri="{FF2B5EF4-FFF2-40B4-BE49-F238E27FC236}">
                      <a16:creationId xmlns:a16="http://schemas.microsoft.com/office/drawing/2014/main" id="{D6C6390D-58C7-1595-5CA2-DBDDFA810C48}"/>
                    </a:ext>
                  </a:extLst>
                </p:cNvPr>
                <p:cNvGrpSpPr/>
                <p:nvPr/>
              </p:nvGrpSpPr>
              <p:grpSpPr>
                <a:xfrm>
                  <a:off x="14631247" y="3419467"/>
                  <a:ext cx="2132754" cy="339866"/>
                  <a:chOff x="3344204" y="2330315"/>
                  <a:chExt cx="1972263" cy="339866"/>
                </a:xfrm>
              </p:grpSpPr>
              <p:cxnSp>
                <p:nvCxnSpPr>
                  <p:cNvPr id="294" name="Straight Connector 293">
                    <a:extLst>
                      <a:ext uri="{FF2B5EF4-FFF2-40B4-BE49-F238E27FC236}">
                        <a16:creationId xmlns:a16="http://schemas.microsoft.com/office/drawing/2014/main" id="{D1BD20E4-9E97-98A8-3D99-2DCD07529E90}"/>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FC90A8AB-971A-29D6-CED8-CC38D746AF9C}"/>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797F979C-9ADA-087C-4A83-9B3CB746AD4E}"/>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5972BC27-7427-05A5-7125-9DE60FD1937D}"/>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113F7A1C-A14C-808B-4C6A-1994FED2DE0F}"/>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F1D0D62F-9AC9-056B-D557-611746235261}"/>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0" name="Straight Connector 299">
                    <a:extLst>
                      <a:ext uri="{FF2B5EF4-FFF2-40B4-BE49-F238E27FC236}">
                        <a16:creationId xmlns:a16="http://schemas.microsoft.com/office/drawing/2014/main" id="{17EB1369-39BE-F014-8886-C12D9FAF0971}"/>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9CB95B54-01F7-5B3B-525C-140AB137E7B3}"/>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93" name="TextBox 292">
                  <a:extLst>
                    <a:ext uri="{FF2B5EF4-FFF2-40B4-BE49-F238E27FC236}">
                      <a16:creationId xmlns:a16="http://schemas.microsoft.com/office/drawing/2014/main" id="{2A52EE92-2094-D6EB-CFE6-93392C266AF6}"/>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a:t>
                  </a:r>
                </a:p>
              </p:txBody>
            </p:sp>
          </p:grpSp>
          <p:cxnSp>
            <p:nvCxnSpPr>
              <p:cNvPr id="277" name="Straight Connector 276">
                <a:extLst>
                  <a:ext uri="{FF2B5EF4-FFF2-40B4-BE49-F238E27FC236}">
                    <a16:creationId xmlns:a16="http://schemas.microsoft.com/office/drawing/2014/main" id="{AC8E997B-28A1-17F1-07A4-AFED43C1F6A6}"/>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78" name="Group 277">
                <a:extLst>
                  <a:ext uri="{FF2B5EF4-FFF2-40B4-BE49-F238E27FC236}">
                    <a16:creationId xmlns:a16="http://schemas.microsoft.com/office/drawing/2014/main" id="{90FFFB57-3C51-0603-6177-445BA8FC6C8E}"/>
                  </a:ext>
                </a:extLst>
              </p:cNvPr>
              <p:cNvGrpSpPr/>
              <p:nvPr/>
            </p:nvGrpSpPr>
            <p:grpSpPr>
              <a:xfrm>
                <a:off x="13816078" y="4288638"/>
                <a:ext cx="3096088" cy="707825"/>
                <a:chOff x="13816078" y="4288638"/>
                <a:chExt cx="3096088" cy="707825"/>
              </a:xfrm>
            </p:grpSpPr>
            <p:sp>
              <p:nvSpPr>
                <p:cNvPr id="281" name="Rounded Rectangle 280">
                  <a:extLst>
                    <a:ext uri="{FF2B5EF4-FFF2-40B4-BE49-F238E27FC236}">
                      <a16:creationId xmlns:a16="http://schemas.microsoft.com/office/drawing/2014/main" id="{A0418652-12F0-7E9F-4203-424BB3676D76}"/>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82" name="Group 281">
                  <a:extLst>
                    <a:ext uri="{FF2B5EF4-FFF2-40B4-BE49-F238E27FC236}">
                      <a16:creationId xmlns:a16="http://schemas.microsoft.com/office/drawing/2014/main" id="{BFC6216B-A68F-9987-5613-8E04661F6A8C}"/>
                    </a:ext>
                  </a:extLst>
                </p:cNvPr>
                <p:cNvGrpSpPr/>
                <p:nvPr/>
              </p:nvGrpSpPr>
              <p:grpSpPr>
                <a:xfrm>
                  <a:off x="14631247" y="4464495"/>
                  <a:ext cx="2132754" cy="339866"/>
                  <a:chOff x="3344204" y="2330315"/>
                  <a:chExt cx="1972263" cy="339866"/>
                </a:xfrm>
              </p:grpSpPr>
              <p:cxnSp>
                <p:nvCxnSpPr>
                  <p:cNvPr id="284" name="Straight Connector 283">
                    <a:extLst>
                      <a:ext uri="{FF2B5EF4-FFF2-40B4-BE49-F238E27FC236}">
                        <a16:creationId xmlns:a16="http://schemas.microsoft.com/office/drawing/2014/main" id="{46089CD8-CEB4-6294-456B-61DE666F3A3B}"/>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64F4EB05-B137-ADC9-CEB3-D39677D2BBC9}"/>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4370AB17-715A-D1F0-AA12-7F03A7520A7E}"/>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DC46399F-87B2-E0D7-EAC1-27A459F6EC22}"/>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9D66ED99-DEB4-4C8E-AA4D-EDE8D6FAA77B}"/>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FE558D44-EFCD-3B08-00C8-5A2175A3CED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62E8FF2E-AB11-6B00-AB92-49A6BCA82E90}"/>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83" name="TextBox 282">
                  <a:extLst>
                    <a:ext uri="{FF2B5EF4-FFF2-40B4-BE49-F238E27FC236}">
                      <a16:creationId xmlns:a16="http://schemas.microsoft.com/office/drawing/2014/main" id="{F8C527CD-49C5-E338-3B06-225B75B2A65E}"/>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3</a:t>
                  </a:r>
                </a:p>
              </p:txBody>
            </p:sp>
          </p:grpSp>
          <p:cxnSp>
            <p:nvCxnSpPr>
              <p:cNvPr id="279" name="Straight Connector 278">
                <a:extLst>
                  <a:ext uri="{FF2B5EF4-FFF2-40B4-BE49-F238E27FC236}">
                    <a16:creationId xmlns:a16="http://schemas.microsoft.com/office/drawing/2014/main" id="{1AD2DBEC-817B-953B-BEE8-5851F7CECD04}"/>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80" name="Straight Connector 279">
                <a:extLst>
                  <a:ext uri="{FF2B5EF4-FFF2-40B4-BE49-F238E27FC236}">
                    <a16:creationId xmlns:a16="http://schemas.microsoft.com/office/drawing/2014/main" id="{8B93B4CB-696B-5B86-DB33-D72B0329B261}"/>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9" name="Group 8">
              <a:extLst>
                <a:ext uri="{FF2B5EF4-FFF2-40B4-BE49-F238E27FC236}">
                  <a16:creationId xmlns:a16="http://schemas.microsoft.com/office/drawing/2014/main" id="{D22F23AF-B6DC-55D3-466B-B0183C1C9253}"/>
                </a:ext>
              </a:extLst>
            </p:cNvPr>
            <p:cNvGrpSpPr/>
            <p:nvPr/>
          </p:nvGrpSpPr>
          <p:grpSpPr>
            <a:xfrm>
              <a:off x="13757848" y="5374774"/>
              <a:ext cx="3239588" cy="3005109"/>
              <a:chOff x="13757848" y="2169190"/>
              <a:chExt cx="3239588" cy="3005109"/>
            </a:xfrm>
          </p:grpSpPr>
          <p:grpSp>
            <p:nvGrpSpPr>
              <p:cNvPr id="238" name="Group 237">
                <a:extLst>
                  <a:ext uri="{FF2B5EF4-FFF2-40B4-BE49-F238E27FC236}">
                    <a16:creationId xmlns:a16="http://schemas.microsoft.com/office/drawing/2014/main" id="{FF8B32FD-AB74-CB77-AF84-EF9D148660D1}"/>
                  </a:ext>
                </a:extLst>
              </p:cNvPr>
              <p:cNvGrpSpPr/>
              <p:nvPr/>
            </p:nvGrpSpPr>
            <p:grpSpPr>
              <a:xfrm>
                <a:off x="13816078" y="2169190"/>
                <a:ext cx="3096088" cy="707825"/>
                <a:chOff x="13816078" y="2169190"/>
                <a:chExt cx="3096088" cy="707825"/>
              </a:xfrm>
            </p:grpSpPr>
            <p:sp>
              <p:nvSpPr>
                <p:cNvPr id="265" name="Rounded Rectangle 264">
                  <a:extLst>
                    <a:ext uri="{FF2B5EF4-FFF2-40B4-BE49-F238E27FC236}">
                      <a16:creationId xmlns:a16="http://schemas.microsoft.com/office/drawing/2014/main" id="{41E6F6FE-5E13-7F55-2C9B-5E5C4D9661B2}"/>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66" name="Group 265">
                  <a:extLst>
                    <a:ext uri="{FF2B5EF4-FFF2-40B4-BE49-F238E27FC236}">
                      <a16:creationId xmlns:a16="http://schemas.microsoft.com/office/drawing/2014/main" id="{D4D7271B-9BE0-8656-B10C-5190A70F1FFC}"/>
                    </a:ext>
                  </a:extLst>
                </p:cNvPr>
                <p:cNvGrpSpPr/>
                <p:nvPr/>
              </p:nvGrpSpPr>
              <p:grpSpPr>
                <a:xfrm>
                  <a:off x="14631247" y="2345047"/>
                  <a:ext cx="2132754" cy="339866"/>
                  <a:chOff x="3344204" y="2330315"/>
                  <a:chExt cx="1972263" cy="339866"/>
                </a:xfrm>
              </p:grpSpPr>
              <p:cxnSp>
                <p:nvCxnSpPr>
                  <p:cNvPr id="268" name="Straight Connector 267">
                    <a:extLst>
                      <a:ext uri="{FF2B5EF4-FFF2-40B4-BE49-F238E27FC236}">
                        <a16:creationId xmlns:a16="http://schemas.microsoft.com/office/drawing/2014/main" id="{FAA7B1E1-FBB9-4424-D677-0BB72DA8FFFE}"/>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AFBAE057-EE30-5DBE-BDBA-2191598656C2}"/>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0" name="Straight Connector 269">
                    <a:extLst>
                      <a:ext uri="{FF2B5EF4-FFF2-40B4-BE49-F238E27FC236}">
                        <a16:creationId xmlns:a16="http://schemas.microsoft.com/office/drawing/2014/main" id="{CBAE51EE-F834-9989-D46F-8B791DE2A0E0}"/>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1" name="Straight Connector 270">
                    <a:extLst>
                      <a:ext uri="{FF2B5EF4-FFF2-40B4-BE49-F238E27FC236}">
                        <a16:creationId xmlns:a16="http://schemas.microsoft.com/office/drawing/2014/main" id="{7F601B3C-4391-EECD-CAAB-95640FAFF8B6}"/>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2" name="Straight Connector 271">
                    <a:extLst>
                      <a:ext uri="{FF2B5EF4-FFF2-40B4-BE49-F238E27FC236}">
                        <a16:creationId xmlns:a16="http://schemas.microsoft.com/office/drawing/2014/main" id="{C411356A-3E4E-0184-35A0-A43F3F198A92}"/>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3" name="Straight Connector 272">
                    <a:extLst>
                      <a:ext uri="{FF2B5EF4-FFF2-40B4-BE49-F238E27FC236}">
                        <a16:creationId xmlns:a16="http://schemas.microsoft.com/office/drawing/2014/main" id="{BFE2E7D8-E794-175B-5FD1-4E9377C69845}"/>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42A0E9AA-AA6C-1101-0496-662D3BB8834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67" name="TextBox 266">
                  <a:extLst>
                    <a:ext uri="{FF2B5EF4-FFF2-40B4-BE49-F238E27FC236}">
                      <a16:creationId xmlns:a16="http://schemas.microsoft.com/office/drawing/2014/main" id="{879C6DC3-0DA5-A124-E762-3E6472F8176E}"/>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4</a:t>
                  </a:r>
                </a:p>
              </p:txBody>
            </p:sp>
          </p:grpSp>
          <p:grpSp>
            <p:nvGrpSpPr>
              <p:cNvPr id="239" name="Group 238">
                <a:extLst>
                  <a:ext uri="{FF2B5EF4-FFF2-40B4-BE49-F238E27FC236}">
                    <a16:creationId xmlns:a16="http://schemas.microsoft.com/office/drawing/2014/main" id="{BA921322-3DB4-0556-C939-4C3C15E1EF2B}"/>
                  </a:ext>
                </a:extLst>
              </p:cNvPr>
              <p:cNvGrpSpPr/>
              <p:nvPr/>
            </p:nvGrpSpPr>
            <p:grpSpPr>
              <a:xfrm>
                <a:off x="13816078" y="3243610"/>
                <a:ext cx="3096088" cy="707825"/>
                <a:chOff x="13816078" y="3243610"/>
                <a:chExt cx="3096088" cy="707825"/>
              </a:xfrm>
            </p:grpSpPr>
            <p:grpSp>
              <p:nvGrpSpPr>
                <p:cNvPr id="254" name="Group 253">
                  <a:extLst>
                    <a:ext uri="{FF2B5EF4-FFF2-40B4-BE49-F238E27FC236}">
                      <a16:creationId xmlns:a16="http://schemas.microsoft.com/office/drawing/2014/main" id="{1822B1C3-786B-601D-3F69-B10072D6F7CF}"/>
                    </a:ext>
                  </a:extLst>
                </p:cNvPr>
                <p:cNvGrpSpPr/>
                <p:nvPr/>
              </p:nvGrpSpPr>
              <p:grpSpPr>
                <a:xfrm>
                  <a:off x="14631247" y="3419467"/>
                  <a:ext cx="2132754" cy="339866"/>
                  <a:chOff x="3344204" y="2330315"/>
                  <a:chExt cx="1972263" cy="339866"/>
                </a:xfrm>
              </p:grpSpPr>
              <p:cxnSp>
                <p:nvCxnSpPr>
                  <p:cNvPr id="257" name="Straight Connector 256">
                    <a:extLst>
                      <a:ext uri="{FF2B5EF4-FFF2-40B4-BE49-F238E27FC236}">
                        <a16:creationId xmlns:a16="http://schemas.microsoft.com/office/drawing/2014/main" id="{ABEA4809-A732-8711-5042-C68DA8DE27E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8" name="Straight Connector 257">
                    <a:extLst>
                      <a:ext uri="{FF2B5EF4-FFF2-40B4-BE49-F238E27FC236}">
                        <a16:creationId xmlns:a16="http://schemas.microsoft.com/office/drawing/2014/main" id="{5ECA4398-B514-BAA9-65DC-228EB4B171D4}"/>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9" name="Straight Connector 258">
                    <a:extLst>
                      <a:ext uri="{FF2B5EF4-FFF2-40B4-BE49-F238E27FC236}">
                        <a16:creationId xmlns:a16="http://schemas.microsoft.com/office/drawing/2014/main" id="{5C42AA38-F49C-4226-0761-0493ED75E5BB}"/>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0" name="Straight Connector 259">
                    <a:extLst>
                      <a:ext uri="{FF2B5EF4-FFF2-40B4-BE49-F238E27FC236}">
                        <a16:creationId xmlns:a16="http://schemas.microsoft.com/office/drawing/2014/main" id="{4410E49F-554E-4D4F-8C49-6D3C9D69F721}"/>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1" name="Straight Connector 260">
                    <a:extLst>
                      <a:ext uri="{FF2B5EF4-FFF2-40B4-BE49-F238E27FC236}">
                        <a16:creationId xmlns:a16="http://schemas.microsoft.com/office/drawing/2014/main" id="{10B6B263-5A68-05C0-BA3D-29D422DE47E1}"/>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9B5D737F-7698-4B25-DCA5-F0E9E629D762}"/>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3" name="Straight Connector 262">
                    <a:extLst>
                      <a:ext uri="{FF2B5EF4-FFF2-40B4-BE49-F238E27FC236}">
                        <a16:creationId xmlns:a16="http://schemas.microsoft.com/office/drawing/2014/main" id="{3DBA1B2C-EE9D-0457-B030-FFE46028867F}"/>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37606049-2B06-AADE-F113-9ECC14E2CD1E}"/>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55" name="Rounded Rectangle 254">
                  <a:extLst>
                    <a:ext uri="{FF2B5EF4-FFF2-40B4-BE49-F238E27FC236}">
                      <a16:creationId xmlns:a16="http://schemas.microsoft.com/office/drawing/2014/main" id="{19FEECD9-F521-5039-0962-FC497DE07341}"/>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sp>
              <p:nvSpPr>
                <p:cNvPr id="256" name="TextBox 255">
                  <a:extLst>
                    <a:ext uri="{FF2B5EF4-FFF2-40B4-BE49-F238E27FC236}">
                      <a16:creationId xmlns:a16="http://schemas.microsoft.com/office/drawing/2014/main" id="{9026B8DA-CA28-394A-6E71-5349D78D430F}"/>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5</a:t>
                  </a:r>
                </a:p>
              </p:txBody>
            </p:sp>
          </p:grpSp>
          <p:grpSp>
            <p:nvGrpSpPr>
              <p:cNvPr id="240" name="Group 239">
                <a:extLst>
                  <a:ext uri="{FF2B5EF4-FFF2-40B4-BE49-F238E27FC236}">
                    <a16:creationId xmlns:a16="http://schemas.microsoft.com/office/drawing/2014/main" id="{72FFD5B6-F237-B02F-03EB-67552B43BCEA}"/>
                  </a:ext>
                </a:extLst>
              </p:cNvPr>
              <p:cNvGrpSpPr/>
              <p:nvPr/>
            </p:nvGrpSpPr>
            <p:grpSpPr>
              <a:xfrm>
                <a:off x="13816078" y="4288638"/>
                <a:ext cx="3096088" cy="707825"/>
                <a:chOff x="13816078" y="4288638"/>
                <a:chExt cx="3096088" cy="707825"/>
              </a:xfrm>
            </p:grpSpPr>
            <p:sp>
              <p:nvSpPr>
                <p:cNvPr id="244" name="Rounded Rectangle 243">
                  <a:extLst>
                    <a:ext uri="{FF2B5EF4-FFF2-40B4-BE49-F238E27FC236}">
                      <a16:creationId xmlns:a16="http://schemas.microsoft.com/office/drawing/2014/main" id="{9A4146AC-CD2A-630D-3CF7-3002B08EE354}"/>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45" name="Group 244">
                  <a:extLst>
                    <a:ext uri="{FF2B5EF4-FFF2-40B4-BE49-F238E27FC236}">
                      <a16:creationId xmlns:a16="http://schemas.microsoft.com/office/drawing/2014/main" id="{0DC66CDF-D708-0940-A03B-42D0FF99DDA4}"/>
                    </a:ext>
                  </a:extLst>
                </p:cNvPr>
                <p:cNvGrpSpPr/>
                <p:nvPr/>
              </p:nvGrpSpPr>
              <p:grpSpPr>
                <a:xfrm>
                  <a:off x="14631247" y="4464495"/>
                  <a:ext cx="2132754" cy="339866"/>
                  <a:chOff x="3344204" y="2330315"/>
                  <a:chExt cx="1972263" cy="339866"/>
                </a:xfrm>
              </p:grpSpPr>
              <p:cxnSp>
                <p:nvCxnSpPr>
                  <p:cNvPr id="247" name="Straight Connector 246">
                    <a:extLst>
                      <a:ext uri="{FF2B5EF4-FFF2-40B4-BE49-F238E27FC236}">
                        <a16:creationId xmlns:a16="http://schemas.microsoft.com/office/drawing/2014/main" id="{950BB21F-259D-E463-AA1D-E716BCEB1EF9}"/>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5E2F8AFF-62C1-32D9-6EF2-DE256FAEC460}"/>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39CA5E53-C672-9E8C-8247-29CC9F404DD0}"/>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B85A0391-48FF-F11A-7C04-9775DA8ED100}"/>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41135FD2-EA1F-7E15-8AF3-94606F0A1318}"/>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A0F22C19-E535-19CD-0B73-AF58D41CAAE7}"/>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C5BC788D-C3D0-F497-DEE7-1518ED354FA9}"/>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46" name="TextBox 245">
                  <a:extLst>
                    <a:ext uri="{FF2B5EF4-FFF2-40B4-BE49-F238E27FC236}">
                      <a16:creationId xmlns:a16="http://schemas.microsoft.com/office/drawing/2014/main" id="{229F008D-C839-19C3-7C03-B6B389E7D80B}"/>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6</a:t>
                  </a:r>
                </a:p>
              </p:txBody>
            </p:sp>
          </p:grpSp>
          <p:cxnSp>
            <p:nvCxnSpPr>
              <p:cNvPr id="241" name="Straight Connector 240">
                <a:extLst>
                  <a:ext uri="{FF2B5EF4-FFF2-40B4-BE49-F238E27FC236}">
                    <a16:creationId xmlns:a16="http://schemas.microsoft.com/office/drawing/2014/main" id="{7A877EB5-030C-D395-FD0F-0A9D6A33CFBE}"/>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42" name="Straight Connector 241">
                <a:extLst>
                  <a:ext uri="{FF2B5EF4-FFF2-40B4-BE49-F238E27FC236}">
                    <a16:creationId xmlns:a16="http://schemas.microsoft.com/office/drawing/2014/main" id="{EF8CC50C-37C3-5680-0455-91C30253A917}"/>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43" name="Straight Connector 242">
                <a:extLst>
                  <a:ext uri="{FF2B5EF4-FFF2-40B4-BE49-F238E27FC236}">
                    <a16:creationId xmlns:a16="http://schemas.microsoft.com/office/drawing/2014/main" id="{F7610389-1FF0-032F-44DA-F24BBDB4EACA}"/>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 name="Group 9">
              <a:extLst>
                <a:ext uri="{FF2B5EF4-FFF2-40B4-BE49-F238E27FC236}">
                  <a16:creationId xmlns:a16="http://schemas.microsoft.com/office/drawing/2014/main" id="{BDDF6655-A622-4497-6E00-8B98BA840D33}"/>
                </a:ext>
              </a:extLst>
            </p:cNvPr>
            <p:cNvGrpSpPr/>
            <p:nvPr/>
          </p:nvGrpSpPr>
          <p:grpSpPr>
            <a:xfrm>
              <a:off x="13757848" y="8580358"/>
              <a:ext cx="3239588" cy="3005109"/>
              <a:chOff x="13757848" y="2169190"/>
              <a:chExt cx="3239588" cy="3005109"/>
            </a:xfrm>
          </p:grpSpPr>
          <p:grpSp>
            <p:nvGrpSpPr>
              <p:cNvPr id="201" name="Group 200">
                <a:extLst>
                  <a:ext uri="{FF2B5EF4-FFF2-40B4-BE49-F238E27FC236}">
                    <a16:creationId xmlns:a16="http://schemas.microsoft.com/office/drawing/2014/main" id="{F9883660-9DB0-C5A3-B4FD-0BE963EFDBBE}"/>
                  </a:ext>
                </a:extLst>
              </p:cNvPr>
              <p:cNvGrpSpPr/>
              <p:nvPr/>
            </p:nvGrpSpPr>
            <p:grpSpPr>
              <a:xfrm>
                <a:off x="13816078" y="2169190"/>
                <a:ext cx="3096088" cy="707825"/>
                <a:chOff x="13816078" y="2169190"/>
                <a:chExt cx="3096088" cy="707825"/>
              </a:xfrm>
            </p:grpSpPr>
            <p:sp>
              <p:nvSpPr>
                <p:cNvPr id="228" name="Rounded Rectangle 227">
                  <a:extLst>
                    <a:ext uri="{FF2B5EF4-FFF2-40B4-BE49-F238E27FC236}">
                      <a16:creationId xmlns:a16="http://schemas.microsoft.com/office/drawing/2014/main" id="{950719FF-9EE3-C0ED-334D-759BCED044A3}"/>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29" name="Group 228">
                  <a:extLst>
                    <a:ext uri="{FF2B5EF4-FFF2-40B4-BE49-F238E27FC236}">
                      <a16:creationId xmlns:a16="http://schemas.microsoft.com/office/drawing/2014/main" id="{0109BA8C-0BD0-53CE-9DA6-50ED0790FDC0}"/>
                    </a:ext>
                  </a:extLst>
                </p:cNvPr>
                <p:cNvGrpSpPr/>
                <p:nvPr/>
              </p:nvGrpSpPr>
              <p:grpSpPr>
                <a:xfrm>
                  <a:off x="14631247" y="2345047"/>
                  <a:ext cx="2132754" cy="339866"/>
                  <a:chOff x="3344204" y="2330315"/>
                  <a:chExt cx="1972263" cy="339866"/>
                </a:xfrm>
              </p:grpSpPr>
              <p:cxnSp>
                <p:nvCxnSpPr>
                  <p:cNvPr id="231" name="Straight Connector 230">
                    <a:extLst>
                      <a:ext uri="{FF2B5EF4-FFF2-40B4-BE49-F238E27FC236}">
                        <a16:creationId xmlns:a16="http://schemas.microsoft.com/office/drawing/2014/main" id="{3E59F277-438D-5891-D024-5B52CB408FB6}"/>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B5EE56F0-72AE-5C2D-FCD0-6FC53AC73C16}"/>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3" name="Straight Connector 232">
                    <a:extLst>
                      <a:ext uri="{FF2B5EF4-FFF2-40B4-BE49-F238E27FC236}">
                        <a16:creationId xmlns:a16="http://schemas.microsoft.com/office/drawing/2014/main" id="{EC96435A-8759-7073-9B46-F2C38C65DFC4}"/>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4" name="Straight Connector 233">
                    <a:extLst>
                      <a:ext uri="{FF2B5EF4-FFF2-40B4-BE49-F238E27FC236}">
                        <a16:creationId xmlns:a16="http://schemas.microsoft.com/office/drawing/2014/main" id="{E0221776-1DFE-4893-0826-E65667E602D0}"/>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5" name="Straight Connector 234">
                    <a:extLst>
                      <a:ext uri="{FF2B5EF4-FFF2-40B4-BE49-F238E27FC236}">
                        <a16:creationId xmlns:a16="http://schemas.microsoft.com/office/drawing/2014/main" id="{EB7FC2C1-EABB-FC03-B1D9-49267C253BCF}"/>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33DF3F6D-A7D4-1AF7-61A9-8ED3DE2FB87E}"/>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27497EB8-847F-D6C3-0A4C-32BBA226087F}"/>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30" name="TextBox 229">
                  <a:extLst>
                    <a:ext uri="{FF2B5EF4-FFF2-40B4-BE49-F238E27FC236}">
                      <a16:creationId xmlns:a16="http://schemas.microsoft.com/office/drawing/2014/main" id="{B1699CF8-EEFA-ED03-F470-5AA0DA5A8B43}"/>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7</a:t>
                  </a:r>
                </a:p>
              </p:txBody>
            </p:sp>
          </p:grpSp>
          <p:grpSp>
            <p:nvGrpSpPr>
              <p:cNvPr id="202" name="Group 201">
                <a:extLst>
                  <a:ext uri="{FF2B5EF4-FFF2-40B4-BE49-F238E27FC236}">
                    <a16:creationId xmlns:a16="http://schemas.microsoft.com/office/drawing/2014/main" id="{DE79F7F9-B0FE-BEDC-58ED-B928C0AA2FD2}"/>
                  </a:ext>
                </a:extLst>
              </p:cNvPr>
              <p:cNvGrpSpPr/>
              <p:nvPr/>
            </p:nvGrpSpPr>
            <p:grpSpPr>
              <a:xfrm>
                <a:off x="13816078" y="3243610"/>
                <a:ext cx="3096088" cy="707825"/>
                <a:chOff x="13816078" y="3243610"/>
                <a:chExt cx="3096088" cy="707825"/>
              </a:xfrm>
            </p:grpSpPr>
            <p:sp>
              <p:nvSpPr>
                <p:cNvPr id="217" name="Rounded Rectangle 216">
                  <a:extLst>
                    <a:ext uri="{FF2B5EF4-FFF2-40B4-BE49-F238E27FC236}">
                      <a16:creationId xmlns:a16="http://schemas.microsoft.com/office/drawing/2014/main" id="{AAC88B07-5B09-AA6F-5AF7-0EE32924EDD9}"/>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18" name="Group 217">
                  <a:extLst>
                    <a:ext uri="{FF2B5EF4-FFF2-40B4-BE49-F238E27FC236}">
                      <a16:creationId xmlns:a16="http://schemas.microsoft.com/office/drawing/2014/main" id="{F38B4358-191A-BC94-471C-AA770B628261}"/>
                    </a:ext>
                  </a:extLst>
                </p:cNvPr>
                <p:cNvGrpSpPr/>
                <p:nvPr/>
              </p:nvGrpSpPr>
              <p:grpSpPr>
                <a:xfrm>
                  <a:off x="14631247" y="3419467"/>
                  <a:ext cx="2132754" cy="339866"/>
                  <a:chOff x="3344204" y="2330315"/>
                  <a:chExt cx="1972263" cy="339866"/>
                </a:xfrm>
              </p:grpSpPr>
              <p:cxnSp>
                <p:nvCxnSpPr>
                  <p:cNvPr id="220" name="Straight Connector 219">
                    <a:extLst>
                      <a:ext uri="{FF2B5EF4-FFF2-40B4-BE49-F238E27FC236}">
                        <a16:creationId xmlns:a16="http://schemas.microsoft.com/office/drawing/2014/main" id="{A62EAD22-3259-C16A-63EE-42F6EC71383F}"/>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1" name="Straight Connector 220">
                    <a:extLst>
                      <a:ext uri="{FF2B5EF4-FFF2-40B4-BE49-F238E27FC236}">
                        <a16:creationId xmlns:a16="http://schemas.microsoft.com/office/drawing/2014/main" id="{00047266-0304-8BB8-1F18-084B7C072B2E}"/>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22CA68F4-3C16-6CA5-5FF9-26FC1AE98BC4}"/>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3" name="Straight Connector 222">
                    <a:extLst>
                      <a:ext uri="{FF2B5EF4-FFF2-40B4-BE49-F238E27FC236}">
                        <a16:creationId xmlns:a16="http://schemas.microsoft.com/office/drawing/2014/main" id="{AF5C6D4B-E6EF-72DF-6846-539BE85A6CE6}"/>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224EDF3A-B0AC-3E55-A34E-E3B8E902F025}"/>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F4C2A066-4601-38C2-C1E2-E564D14135AA}"/>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D17E238A-2036-84E3-5F90-1FEDCFC625A3}"/>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CDEF852E-E3F3-FFB6-4731-08EA8284F6AE}"/>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19" name="TextBox 218">
                  <a:extLst>
                    <a:ext uri="{FF2B5EF4-FFF2-40B4-BE49-F238E27FC236}">
                      <a16:creationId xmlns:a16="http://schemas.microsoft.com/office/drawing/2014/main" id="{167745C0-B74B-4FD9-B860-0A6DC02DBF34}"/>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8</a:t>
                  </a:r>
                </a:p>
              </p:txBody>
            </p:sp>
          </p:grpSp>
          <p:cxnSp>
            <p:nvCxnSpPr>
              <p:cNvPr id="203" name="Straight Connector 202">
                <a:extLst>
                  <a:ext uri="{FF2B5EF4-FFF2-40B4-BE49-F238E27FC236}">
                    <a16:creationId xmlns:a16="http://schemas.microsoft.com/office/drawing/2014/main" id="{587DA6A6-5778-810B-E8EF-6DDBFC68F2C6}"/>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04" name="Group 203">
                <a:extLst>
                  <a:ext uri="{FF2B5EF4-FFF2-40B4-BE49-F238E27FC236}">
                    <a16:creationId xmlns:a16="http://schemas.microsoft.com/office/drawing/2014/main" id="{75169842-E54A-2F5E-7FF8-B9FC81E71A09}"/>
                  </a:ext>
                </a:extLst>
              </p:cNvPr>
              <p:cNvGrpSpPr/>
              <p:nvPr/>
            </p:nvGrpSpPr>
            <p:grpSpPr>
              <a:xfrm>
                <a:off x="13816078" y="4288638"/>
                <a:ext cx="3096088" cy="707825"/>
                <a:chOff x="13816078" y="4288638"/>
                <a:chExt cx="3096088" cy="707825"/>
              </a:xfrm>
            </p:grpSpPr>
            <p:sp>
              <p:nvSpPr>
                <p:cNvPr id="207" name="Rounded Rectangle 206">
                  <a:extLst>
                    <a:ext uri="{FF2B5EF4-FFF2-40B4-BE49-F238E27FC236}">
                      <a16:creationId xmlns:a16="http://schemas.microsoft.com/office/drawing/2014/main" id="{ECC054C9-6CC2-F0AD-2424-7EF1ACACEABB}"/>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08" name="Group 207">
                  <a:extLst>
                    <a:ext uri="{FF2B5EF4-FFF2-40B4-BE49-F238E27FC236}">
                      <a16:creationId xmlns:a16="http://schemas.microsoft.com/office/drawing/2014/main" id="{CBC2AE02-5A6E-541D-58F3-0690112B8315}"/>
                    </a:ext>
                  </a:extLst>
                </p:cNvPr>
                <p:cNvGrpSpPr/>
                <p:nvPr/>
              </p:nvGrpSpPr>
              <p:grpSpPr>
                <a:xfrm>
                  <a:off x="14631247" y="4464495"/>
                  <a:ext cx="2132754" cy="339866"/>
                  <a:chOff x="3344204" y="2330315"/>
                  <a:chExt cx="1972263" cy="339866"/>
                </a:xfrm>
              </p:grpSpPr>
              <p:cxnSp>
                <p:nvCxnSpPr>
                  <p:cNvPr id="210" name="Straight Connector 209">
                    <a:extLst>
                      <a:ext uri="{FF2B5EF4-FFF2-40B4-BE49-F238E27FC236}">
                        <a16:creationId xmlns:a16="http://schemas.microsoft.com/office/drawing/2014/main" id="{A2C5D2F8-60B1-9A3D-B45F-AD16474939C7}"/>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440F8622-B643-61A9-7CC0-986C07AED7A4}"/>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8BD9914D-3713-5ED3-9AE2-5F1409D2FE47}"/>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4448AE7C-BA8C-50BC-0A50-F3C929209359}"/>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3609ACB5-5B5A-C443-E32F-4E2B6E7775E2}"/>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1E9BE076-663D-A0B7-561D-C41606F7766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30557B43-CE8C-69F5-27D9-23EC20AE844A}"/>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09" name="TextBox 208">
                  <a:extLst>
                    <a:ext uri="{FF2B5EF4-FFF2-40B4-BE49-F238E27FC236}">
                      <a16:creationId xmlns:a16="http://schemas.microsoft.com/office/drawing/2014/main" id="{95E5C99B-E5A2-5314-BA4E-98D412772EF0}"/>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9</a:t>
                  </a:r>
                </a:p>
              </p:txBody>
            </p:sp>
          </p:grpSp>
          <p:cxnSp>
            <p:nvCxnSpPr>
              <p:cNvPr id="205" name="Straight Connector 204">
                <a:extLst>
                  <a:ext uri="{FF2B5EF4-FFF2-40B4-BE49-F238E27FC236}">
                    <a16:creationId xmlns:a16="http://schemas.microsoft.com/office/drawing/2014/main" id="{4698DE4B-85B6-BE9A-A4AC-BC1BBC6C0FBC}"/>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06" name="Straight Connector 205">
                <a:extLst>
                  <a:ext uri="{FF2B5EF4-FFF2-40B4-BE49-F238E27FC236}">
                    <a16:creationId xmlns:a16="http://schemas.microsoft.com/office/drawing/2014/main" id="{748AB5DF-C816-8FD4-3F03-48A4412341FB}"/>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1" name="Group 10">
              <a:extLst>
                <a:ext uri="{FF2B5EF4-FFF2-40B4-BE49-F238E27FC236}">
                  <a16:creationId xmlns:a16="http://schemas.microsoft.com/office/drawing/2014/main" id="{3593E877-B452-082D-B1E9-5CAD5786B93E}"/>
                </a:ext>
              </a:extLst>
            </p:cNvPr>
            <p:cNvGrpSpPr/>
            <p:nvPr/>
          </p:nvGrpSpPr>
          <p:grpSpPr>
            <a:xfrm>
              <a:off x="13757848" y="11785942"/>
              <a:ext cx="3239588" cy="3005109"/>
              <a:chOff x="13757848" y="2169190"/>
              <a:chExt cx="3239588" cy="3005109"/>
            </a:xfrm>
          </p:grpSpPr>
          <p:grpSp>
            <p:nvGrpSpPr>
              <p:cNvPr id="164" name="Group 163">
                <a:extLst>
                  <a:ext uri="{FF2B5EF4-FFF2-40B4-BE49-F238E27FC236}">
                    <a16:creationId xmlns:a16="http://schemas.microsoft.com/office/drawing/2014/main" id="{4D4B43E7-254B-F891-3FEF-93C1B01E0C73}"/>
                  </a:ext>
                </a:extLst>
              </p:cNvPr>
              <p:cNvGrpSpPr/>
              <p:nvPr/>
            </p:nvGrpSpPr>
            <p:grpSpPr>
              <a:xfrm>
                <a:off x="13816078" y="2169190"/>
                <a:ext cx="3096088" cy="707825"/>
                <a:chOff x="13816078" y="2169190"/>
                <a:chExt cx="3096088" cy="707825"/>
              </a:xfrm>
            </p:grpSpPr>
            <p:sp>
              <p:nvSpPr>
                <p:cNvPr id="191" name="Rounded Rectangle 190">
                  <a:extLst>
                    <a:ext uri="{FF2B5EF4-FFF2-40B4-BE49-F238E27FC236}">
                      <a16:creationId xmlns:a16="http://schemas.microsoft.com/office/drawing/2014/main" id="{D69E3FC3-29F4-7BDF-81C7-A344158A745B}"/>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92" name="Group 191">
                  <a:extLst>
                    <a:ext uri="{FF2B5EF4-FFF2-40B4-BE49-F238E27FC236}">
                      <a16:creationId xmlns:a16="http://schemas.microsoft.com/office/drawing/2014/main" id="{C76D4620-CA55-07C4-6DB1-9CE6485AC1F1}"/>
                    </a:ext>
                  </a:extLst>
                </p:cNvPr>
                <p:cNvGrpSpPr/>
                <p:nvPr/>
              </p:nvGrpSpPr>
              <p:grpSpPr>
                <a:xfrm>
                  <a:off x="14631247" y="2345047"/>
                  <a:ext cx="2132754" cy="339866"/>
                  <a:chOff x="3344204" y="2330315"/>
                  <a:chExt cx="1972263" cy="339866"/>
                </a:xfrm>
              </p:grpSpPr>
              <p:cxnSp>
                <p:nvCxnSpPr>
                  <p:cNvPr id="194" name="Straight Connector 193">
                    <a:extLst>
                      <a:ext uri="{FF2B5EF4-FFF2-40B4-BE49-F238E27FC236}">
                        <a16:creationId xmlns:a16="http://schemas.microsoft.com/office/drawing/2014/main" id="{94C4A8D2-E813-A278-336D-95C761267F0E}"/>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27B7232F-43F6-017F-D057-6D7A32510E74}"/>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42B6A1E4-247E-EE49-8ED8-40DEC5A81079}"/>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48CEEE74-5AB1-CD55-5FDA-B5EE281CDA39}"/>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6885138F-9871-DFCD-546B-A04C259E182D}"/>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05BC25FB-7B07-7F35-86B1-03CC52834D6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25E5755A-AACA-BD5B-54E2-F0CB279E8F00}"/>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93" name="TextBox 192">
                  <a:extLst>
                    <a:ext uri="{FF2B5EF4-FFF2-40B4-BE49-F238E27FC236}">
                      <a16:creationId xmlns:a16="http://schemas.microsoft.com/office/drawing/2014/main" id="{7A12C7A1-ED68-778F-0FEF-B8A66728FE63}"/>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0</a:t>
                  </a:r>
                </a:p>
              </p:txBody>
            </p:sp>
          </p:grpSp>
          <p:grpSp>
            <p:nvGrpSpPr>
              <p:cNvPr id="165" name="Group 164">
                <a:extLst>
                  <a:ext uri="{FF2B5EF4-FFF2-40B4-BE49-F238E27FC236}">
                    <a16:creationId xmlns:a16="http://schemas.microsoft.com/office/drawing/2014/main" id="{3BFA8881-7C7B-D889-B831-9C22E0104942}"/>
                  </a:ext>
                </a:extLst>
              </p:cNvPr>
              <p:cNvGrpSpPr/>
              <p:nvPr/>
            </p:nvGrpSpPr>
            <p:grpSpPr>
              <a:xfrm>
                <a:off x="13816078" y="3243610"/>
                <a:ext cx="3096088" cy="707825"/>
                <a:chOff x="13816078" y="3243610"/>
                <a:chExt cx="3096088" cy="707825"/>
              </a:xfrm>
            </p:grpSpPr>
            <p:sp>
              <p:nvSpPr>
                <p:cNvPr id="180" name="Rounded Rectangle 179">
                  <a:extLst>
                    <a:ext uri="{FF2B5EF4-FFF2-40B4-BE49-F238E27FC236}">
                      <a16:creationId xmlns:a16="http://schemas.microsoft.com/office/drawing/2014/main" id="{0F78B803-A6A1-0D60-EFDD-803598632031}"/>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81" name="Group 180">
                  <a:extLst>
                    <a:ext uri="{FF2B5EF4-FFF2-40B4-BE49-F238E27FC236}">
                      <a16:creationId xmlns:a16="http://schemas.microsoft.com/office/drawing/2014/main" id="{F1D49C00-6E9A-FE55-F05E-05F267F8C875}"/>
                    </a:ext>
                  </a:extLst>
                </p:cNvPr>
                <p:cNvGrpSpPr/>
                <p:nvPr/>
              </p:nvGrpSpPr>
              <p:grpSpPr>
                <a:xfrm>
                  <a:off x="14631247" y="3419467"/>
                  <a:ext cx="2132754" cy="339866"/>
                  <a:chOff x="3344204" y="2330315"/>
                  <a:chExt cx="1972263" cy="339866"/>
                </a:xfrm>
              </p:grpSpPr>
              <p:cxnSp>
                <p:nvCxnSpPr>
                  <p:cNvPr id="183" name="Straight Connector 182">
                    <a:extLst>
                      <a:ext uri="{FF2B5EF4-FFF2-40B4-BE49-F238E27FC236}">
                        <a16:creationId xmlns:a16="http://schemas.microsoft.com/office/drawing/2014/main" id="{FB59B037-F488-85E9-6ED9-11584F93FF49}"/>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0A01CB6A-40FC-A370-447B-13B4919105FB}"/>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DB2C4C85-E9AB-E335-67D5-125ECF8AD165}"/>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664C2712-A5B5-19F4-866D-6D729A065C40}"/>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CC614B86-46CB-27B9-718C-A3FB0C0C4C2E}"/>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22008092-A227-24E8-871C-356716B742EB}"/>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87C8BFA0-B289-064F-9621-2E72B408E8D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81760812-88B5-8DF2-CF4B-CA300D06DEE2}"/>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82" name="TextBox 181">
                  <a:extLst>
                    <a:ext uri="{FF2B5EF4-FFF2-40B4-BE49-F238E27FC236}">
                      <a16:creationId xmlns:a16="http://schemas.microsoft.com/office/drawing/2014/main" id="{4349D08B-70CB-376B-BB18-0A1E4706BF10}"/>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1</a:t>
                  </a:r>
                </a:p>
              </p:txBody>
            </p:sp>
          </p:grpSp>
          <p:cxnSp>
            <p:nvCxnSpPr>
              <p:cNvPr id="166" name="Straight Connector 165">
                <a:extLst>
                  <a:ext uri="{FF2B5EF4-FFF2-40B4-BE49-F238E27FC236}">
                    <a16:creationId xmlns:a16="http://schemas.microsoft.com/office/drawing/2014/main" id="{222409FE-6828-2524-61D2-5F1DFD84A584}"/>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67" name="Group 166">
                <a:extLst>
                  <a:ext uri="{FF2B5EF4-FFF2-40B4-BE49-F238E27FC236}">
                    <a16:creationId xmlns:a16="http://schemas.microsoft.com/office/drawing/2014/main" id="{DD9766D5-2E67-072B-AA25-AD588155DF99}"/>
                  </a:ext>
                </a:extLst>
              </p:cNvPr>
              <p:cNvGrpSpPr/>
              <p:nvPr/>
            </p:nvGrpSpPr>
            <p:grpSpPr>
              <a:xfrm>
                <a:off x="13816078" y="4288638"/>
                <a:ext cx="3096088" cy="707825"/>
                <a:chOff x="13816078" y="4288638"/>
                <a:chExt cx="3096088" cy="707825"/>
              </a:xfrm>
            </p:grpSpPr>
            <p:sp>
              <p:nvSpPr>
                <p:cNvPr id="170" name="Rounded Rectangle 169">
                  <a:extLst>
                    <a:ext uri="{FF2B5EF4-FFF2-40B4-BE49-F238E27FC236}">
                      <a16:creationId xmlns:a16="http://schemas.microsoft.com/office/drawing/2014/main" id="{A89C2708-261B-9CBA-7BB6-34AF3A9F54B3}"/>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71" name="Group 170">
                  <a:extLst>
                    <a:ext uri="{FF2B5EF4-FFF2-40B4-BE49-F238E27FC236}">
                      <a16:creationId xmlns:a16="http://schemas.microsoft.com/office/drawing/2014/main" id="{953EAEB4-6776-9A78-2936-5F24E0F229C4}"/>
                    </a:ext>
                  </a:extLst>
                </p:cNvPr>
                <p:cNvGrpSpPr/>
                <p:nvPr/>
              </p:nvGrpSpPr>
              <p:grpSpPr>
                <a:xfrm>
                  <a:off x="14631247" y="4464495"/>
                  <a:ext cx="2132754" cy="339866"/>
                  <a:chOff x="3344204" y="2330315"/>
                  <a:chExt cx="1972263" cy="339866"/>
                </a:xfrm>
              </p:grpSpPr>
              <p:cxnSp>
                <p:nvCxnSpPr>
                  <p:cNvPr id="173" name="Straight Connector 172">
                    <a:extLst>
                      <a:ext uri="{FF2B5EF4-FFF2-40B4-BE49-F238E27FC236}">
                        <a16:creationId xmlns:a16="http://schemas.microsoft.com/office/drawing/2014/main" id="{0F3D55DD-1B50-E25E-A0CF-24A9EE4A5593}"/>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DF688101-46C6-890C-45A5-927D2A0EC5B5}"/>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44F6098-B1FF-4096-562F-62311271F6B5}"/>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C7E80768-5CA0-ACF2-F9F0-D313F1548776}"/>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E211FC7A-A654-CC30-50EC-7E440732DC89}"/>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3CFD17EF-8C71-AF4B-3324-136A31679E3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51F8A180-1AB0-623C-97B1-091A8A7DE6C4}"/>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72" name="TextBox 171">
                  <a:extLst>
                    <a:ext uri="{FF2B5EF4-FFF2-40B4-BE49-F238E27FC236}">
                      <a16:creationId xmlns:a16="http://schemas.microsoft.com/office/drawing/2014/main" id="{4DA8A609-B5B9-248C-8C6F-CF26DD9C67A3}"/>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2</a:t>
                  </a:r>
                </a:p>
              </p:txBody>
            </p:sp>
          </p:grpSp>
          <p:cxnSp>
            <p:nvCxnSpPr>
              <p:cNvPr id="168" name="Straight Connector 167">
                <a:extLst>
                  <a:ext uri="{FF2B5EF4-FFF2-40B4-BE49-F238E27FC236}">
                    <a16:creationId xmlns:a16="http://schemas.microsoft.com/office/drawing/2014/main" id="{72B1BCF5-1E84-85C7-5C22-F409CE519DCA}"/>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69" name="Straight Connector 168">
                <a:extLst>
                  <a:ext uri="{FF2B5EF4-FFF2-40B4-BE49-F238E27FC236}">
                    <a16:creationId xmlns:a16="http://schemas.microsoft.com/office/drawing/2014/main" id="{28E5065D-B63B-76EE-958C-04F3189DDB2C}"/>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2" name="Group 11">
              <a:extLst>
                <a:ext uri="{FF2B5EF4-FFF2-40B4-BE49-F238E27FC236}">
                  <a16:creationId xmlns:a16="http://schemas.microsoft.com/office/drawing/2014/main" id="{B23FC6C4-02DD-3F5A-2F60-A839F3D4EEF6}"/>
                </a:ext>
              </a:extLst>
            </p:cNvPr>
            <p:cNvGrpSpPr/>
            <p:nvPr/>
          </p:nvGrpSpPr>
          <p:grpSpPr>
            <a:xfrm>
              <a:off x="13757848" y="14991526"/>
              <a:ext cx="3239588" cy="3005109"/>
              <a:chOff x="13757848" y="2169190"/>
              <a:chExt cx="3239588" cy="3005109"/>
            </a:xfrm>
          </p:grpSpPr>
          <p:grpSp>
            <p:nvGrpSpPr>
              <p:cNvPr id="127" name="Group 126">
                <a:extLst>
                  <a:ext uri="{FF2B5EF4-FFF2-40B4-BE49-F238E27FC236}">
                    <a16:creationId xmlns:a16="http://schemas.microsoft.com/office/drawing/2014/main" id="{A7D1A431-0CF1-2B79-5C30-FCEB74FC7CEE}"/>
                  </a:ext>
                </a:extLst>
              </p:cNvPr>
              <p:cNvGrpSpPr/>
              <p:nvPr/>
            </p:nvGrpSpPr>
            <p:grpSpPr>
              <a:xfrm>
                <a:off x="13816078" y="2169190"/>
                <a:ext cx="3096088" cy="707825"/>
                <a:chOff x="13816078" y="2169190"/>
                <a:chExt cx="3096088" cy="707825"/>
              </a:xfrm>
            </p:grpSpPr>
            <p:sp>
              <p:nvSpPr>
                <p:cNvPr id="154" name="Rounded Rectangle 153">
                  <a:extLst>
                    <a:ext uri="{FF2B5EF4-FFF2-40B4-BE49-F238E27FC236}">
                      <a16:creationId xmlns:a16="http://schemas.microsoft.com/office/drawing/2014/main" id="{AC65DD26-9A27-06E8-D49F-3C8E184AB20F}"/>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55" name="Group 154">
                  <a:extLst>
                    <a:ext uri="{FF2B5EF4-FFF2-40B4-BE49-F238E27FC236}">
                      <a16:creationId xmlns:a16="http://schemas.microsoft.com/office/drawing/2014/main" id="{20CB1764-9F24-A006-C3E6-250664C7092E}"/>
                    </a:ext>
                  </a:extLst>
                </p:cNvPr>
                <p:cNvGrpSpPr/>
                <p:nvPr/>
              </p:nvGrpSpPr>
              <p:grpSpPr>
                <a:xfrm>
                  <a:off x="14631247" y="2345047"/>
                  <a:ext cx="2132754" cy="339866"/>
                  <a:chOff x="3344204" y="2330315"/>
                  <a:chExt cx="1972263" cy="339866"/>
                </a:xfrm>
              </p:grpSpPr>
              <p:cxnSp>
                <p:nvCxnSpPr>
                  <p:cNvPr id="157" name="Straight Connector 156">
                    <a:extLst>
                      <a:ext uri="{FF2B5EF4-FFF2-40B4-BE49-F238E27FC236}">
                        <a16:creationId xmlns:a16="http://schemas.microsoft.com/office/drawing/2014/main" id="{FC1B7028-E28F-AA62-7198-1B34CBCE7A7B}"/>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39A36316-D41D-D6B7-8DC5-D364288A6E79}"/>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4BC97F1A-9BC9-744B-F3C2-D6DCB71FB2B2}"/>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0" name="Straight Connector 159">
                    <a:extLst>
                      <a:ext uri="{FF2B5EF4-FFF2-40B4-BE49-F238E27FC236}">
                        <a16:creationId xmlns:a16="http://schemas.microsoft.com/office/drawing/2014/main" id="{C7ED6484-73FF-4C33-BBF5-E412419A03E5}"/>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A0588EF7-A945-1D01-1F9A-90D97DAEBA86}"/>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25644283-5D7B-05EC-DA82-1356B24870C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B4DCBF21-3B8E-64E3-94F2-4694F4FA0849}"/>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56" name="TextBox 155">
                  <a:extLst>
                    <a:ext uri="{FF2B5EF4-FFF2-40B4-BE49-F238E27FC236}">
                      <a16:creationId xmlns:a16="http://schemas.microsoft.com/office/drawing/2014/main" id="{A9EE4CEB-2B7D-4E9A-B88C-518745FB7EE7}"/>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3</a:t>
                  </a:r>
                </a:p>
              </p:txBody>
            </p:sp>
          </p:grpSp>
          <p:grpSp>
            <p:nvGrpSpPr>
              <p:cNvPr id="128" name="Group 127">
                <a:extLst>
                  <a:ext uri="{FF2B5EF4-FFF2-40B4-BE49-F238E27FC236}">
                    <a16:creationId xmlns:a16="http://schemas.microsoft.com/office/drawing/2014/main" id="{38517D5F-4657-39FA-542D-89026B86CE05}"/>
                  </a:ext>
                </a:extLst>
              </p:cNvPr>
              <p:cNvGrpSpPr/>
              <p:nvPr/>
            </p:nvGrpSpPr>
            <p:grpSpPr>
              <a:xfrm>
                <a:off x="13816078" y="3243610"/>
                <a:ext cx="3096088" cy="707825"/>
                <a:chOff x="13816078" y="3243610"/>
                <a:chExt cx="3096088" cy="707825"/>
              </a:xfrm>
            </p:grpSpPr>
            <p:sp>
              <p:nvSpPr>
                <p:cNvPr id="143" name="Rounded Rectangle 142">
                  <a:extLst>
                    <a:ext uri="{FF2B5EF4-FFF2-40B4-BE49-F238E27FC236}">
                      <a16:creationId xmlns:a16="http://schemas.microsoft.com/office/drawing/2014/main" id="{5842D741-C138-3735-93AE-17FE7233B36B}"/>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44" name="Group 143">
                  <a:extLst>
                    <a:ext uri="{FF2B5EF4-FFF2-40B4-BE49-F238E27FC236}">
                      <a16:creationId xmlns:a16="http://schemas.microsoft.com/office/drawing/2014/main" id="{3365DF07-54EB-C122-8101-B98C734585C4}"/>
                    </a:ext>
                  </a:extLst>
                </p:cNvPr>
                <p:cNvGrpSpPr/>
                <p:nvPr/>
              </p:nvGrpSpPr>
              <p:grpSpPr>
                <a:xfrm>
                  <a:off x="14631247" y="3419467"/>
                  <a:ext cx="2132754" cy="339866"/>
                  <a:chOff x="3344204" y="2330315"/>
                  <a:chExt cx="1972263" cy="339866"/>
                </a:xfrm>
              </p:grpSpPr>
              <p:cxnSp>
                <p:nvCxnSpPr>
                  <p:cNvPr id="146" name="Straight Connector 145">
                    <a:extLst>
                      <a:ext uri="{FF2B5EF4-FFF2-40B4-BE49-F238E27FC236}">
                        <a16:creationId xmlns:a16="http://schemas.microsoft.com/office/drawing/2014/main" id="{D3F925CE-46B1-F771-2CC7-FDA3D88E17D5}"/>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7" name="Straight Connector 146">
                    <a:extLst>
                      <a:ext uri="{FF2B5EF4-FFF2-40B4-BE49-F238E27FC236}">
                        <a16:creationId xmlns:a16="http://schemas.microsoft.com/office/drawing/2014/main" id="{23064172-6E1E-591E-8F5F-6DFB63A2F83C}"/>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8" name="Straight Connector 147">
                    <a:extLst>
                      <a:ext uri="{FF2B5EF4-FFF2-40B4-BE49-F238E27FC236}">
                        <a16:creationId xmlns:a16="http://schemas.microsoft.com/office/drawing/2014/main" id="{BC6CBBE4-7CD2-E2E2-6161-C8B972F23493}"/>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BF74DD15-08C6-3903-FC65-8DB627419A1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F5B4E60F-82A4-16CA-8DE4-3D85983FE0B3}"/>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45FB01C2-5018-FEDA-E790-9DAC7A852B78}"/>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44391BE-909B-0B34-A4B2-1AECA9B254FA}"/>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6E50A000-68C7-5936-DD0E-9F0C5A86E9C1}"/>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45" name="TextBox 144">
                  <a:extLst>
                    <a:ext uri="{FF2B5EF4-FFF2-40B4-BE49-F238E27FC236}">
                      <a16:creationId xmlns:a16="http://schemas.microsoft.com/office/drawing/2014/main" id="{9A7051C0-90B3-4F90-FD87-1889368118F8}"/>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4</a:t>
                  </a:r>
                </a:p>
              </p:txBody>
            </p:sp>
          </p:grpSp>
          <p:cxnSp>
            <p:nvCxnSpPr>
              <p:cNvPr id="129" name="Straight Connector 128">
                <a:extLst>
                  <a:ext uri="{FF2B5EF4-FFF2-40B4-BE49-F238E27FC236}">
                    <a16:creationId xmlns:a16="http://schemas.microsoft.com/office/drawing/2014/main" id="{90CBD063-7577-348F-8322-40A554DAE7A1}"/>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30" name="Group 129">
                <a:extLst>
                  <a:ext uri="{FF2B5EF4-FFF2-40B4-BE49-F238E27FC236}">
                    <a16:creationId xmlns:a16="http://schemas.microsoft.com/office/drawing/2014/main" id="{B410AAD6-7BB5-1A28-0E20-36309FF88D43}"/>
                  </a:ext>
                </a:extLst>
              </p:cNvPr>
              <p:cNvGrpSpPr/>
              <p:nvPr/>
            </p:nvGrpSpPr>
            <p:grpSpPr>
              <a:xfrm>
                <a:off x="13816078" y="4288638"/>
                <a:ext cx="3096088" cy="707825"/>
                <a:chOff x="13816078" y="4288638"/>
                <a:chExt cx="3096088" cy="707825"/>
              </a:xfrm>
            </p:grpSpPr>
            <p:sp>
              <p:nvSpPr>
                <p:cNvPr id="133" name="Rounded Rectangle 132">
                  <a:extLst>
                    <a:ext uri="{FF2B5EF4-FFF2-40B4-BE49-F238E27FC236}">
                      <a16:creationId xmlns:a16="http://schemas.microsoft.com/office/drawing/2014/main" id="{92E79C86-5240-974F-942C-A0F22BEDF47B}"/>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34" name="Group 133">
                  <a:extLst>
                    <a:ext uri="{FF2B5EF4-FFF2-40B4-BE49-F238E27FC236}">
                      <a16:creationId xmlns:a16="http://schemas.microsoft.com/office/drawing/2014/main" id="{61A91D56-0C7C-D8BD-1EC8-5383ED954BBB}"/>
                    </a:ext>
                  </a:extLst>
                </p:cNvPr>
                <p:cNvGrpSpPr/>
                <p:nvPr/>
              </p:nvGrpSpPr>
              <p:grpSpPr>
                <a:xfrm>
                  <a:off x="14631247" y="4464495"/>
                  <a:ext cx="2132754" cy="339866"/>
                  <a:chOff x="3344204" y="2330315"/>
                  <a:chExt cx="1972263" cy="339866"/>
                </a:xfrm>
              </p:grpSpPr>
              <p:cxnSp>
                <p:nvCxnSpPr>
                  <p:cNvPr id="136" name="Straight Connector 135">
                    <a:extLst>
                      <a:ext uri="{FF2B5EF4-FFF2-40B4-BE49-F238E27FC236}">
                        <a16:creationId xmlns:a16="http://schemas.microsoft.com/office/drawing/2014/main" id="{2692441B-F178-51E0-893B-28172525FFCF}"/>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B6F0C684-2C52-2F1D-1837-A5DDEFE4DBAD}"/>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8F7CD46A-69A8-C3A4-1EF8-1B3FC7153AC8}"/>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4DC9B36C-AC98-BDA7-E3AE-E242D70D95D7}"/>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0436BC7E-D776-EC98-9FF2-342E98F4CA07}"/>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48AA814D-ADD8-CEE0-0E8C-F2258FE90DBC}"/>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F116CBC9-874D-08E2-EA45-EDB8F8456C74}"/>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35" name="TextBox 134">
                  <a:extLst>
                    <a:ext uri="{FF2B5EF4-FFF2-40B4-BE49-F238E27FC236}">
                      <a16:creationId xmlns:a16="http://schemas.microsoft.com/office/drawing/2014/main" id="{293D28D9-D14B-E872-A503-588AFCA1FEE7}"/>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5</a:t>
                  </a:r>
                </a:p>
              </p:txBody>
            </p:sp>
          </p:grpSp>
          <p:cxnSp>
            <p:nvCxnSpPr>
              <p:cNvPr id="131" name="Straight Connector 130">
                <a:extLst>
                  <a:ext uri="{FF2B5EF4-FFF2-40B4-BE49-F238E27FC236}">
                    <a16:creationId xmlns:a16="http://schemas.microsoft.com/office/drawing/2014/main" id="{91120841-F5C8-DC5E-AE80-159693C9A7AA}"/>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32" name="Straight Connector 131">
                <a:extLst>
                  <a:ext uri="{FF2B5EF4-FFF2-40B4-BE49-F238E27FC236}">
                    <a16:creationId xmlns:a16="http://schemas.microsoft.com/office/drawing/2014/main" id="{0030A7DF-93DA-4B6B-6E6C-BB68F89EA6DB}"/>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3" name="Group 12">
              <a:extLst>
                <a:ext uri="{FF2B5EF4-FFF2-40B4-BE49-F238E27FC236}">
                  <a16:creationId xmlns:a16="http://schemas.microsoft.com/office/drawing/2014/main" id="{69FD3B90-7773-C7A9-CCD0-5C7929E7DCE0}"/>
                </a:ext>
              </a:extLst>
            </p:cNvPr>
            <p:cNvGrpSpPr/>
            <p:nvPr/>
          </p:nvGrpSpPr>
          <p:grpSpPr>
            <a:xfrm>
              <a:off x="13757848" y="18197110"/>
              <a:ext cx="3239588" cy="3005109"/>
              <a:chOff x="13757848" y="2169190"/>
              <a:chExt cx="3239588" cy="3005109"/>
            </a:xfrm>
          </p:grpSpPr>
          <p:grpSp>
            <p:nvGrpSpPr>
              <p:cNvPr id="90" name="Group 89">
                <a:extLst>
                  <a:ext uri="{FF2B5EF4-FFF2-40B4-BE49-F238E27FC236}">
                    <a16:creationId xmlns:a16="http://schemas.microsoft.com/office/drawing/2014/main" id="{926E6E68-6702-8C4E-32C2-20A548CCA1CF}"/>
                  </a:ext>
                </a:extLst>
              </p:cNvPr>
              <p:cNvGrpSpPr/>
              <p:nvPr/>
            </p:nvGrpSpPr>
            <p:grpSpPr>
              <a:xfrm>
                <a:off x="13816078" y="2169190"/>
                <a:ext cx="3096088" cy="707825"/>
                <a:chOff x="13816078" y="2169190"/>
                <a:chExt cx="3096088" cy="707825"/>
              </a:xfrm>
            </p:grpSpPr>
            <p:sp>
              <p:nvSpPr>
                <p:cNvPr id="117" name="Rounded Rectangle 116">
                  <a:extLst>
                    <a:ext uri="{FF2B5EF4-FFF2-40B4-BE49-F238E27FC236}">
                      <a16:creationId xmlns:a16="http://schemas.microsoft.com/office/drawing/2014/main" id="{A4D0779F-283F-953E-D9CB-94C49A4E256B}"/>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18" name="Group 117">
                  <a:extLst>
                    <a:ext uri="{FF2B5EF4-FFF2-40B4-BE49-F238E27FC236}">
                      <a16:creationId xmlns:a16="http://schemas.microsoft.com/office/drawing/2014/main" id="{0EE35160-B665-3420-A402-FB053AE4662E}"/>
                    </a:ext>
                  </a:extLst>
                </p:cNvPr>
                <p:cNvGrpSpPr/>
                <p:nvPr/>
              </p:nvGrpSpPr>
              <p:grpSpPr>
                <a:xfrm>
                  <a:off x="14631247" y="2345047"/>
                  <a:ext cx="2132754" cy="339866"/>
                  <a:chOff x="3344204" y="2330315"/>
                  <a:chExt cx="1972263" cy="339866"/>
                </a:xfrm>
              </p:grpSpPr>
              <p:cxnSp>
                <p:nvCxnSpPr>
                  <p:cNvPr id="120" name="Straight Connector 119">
                    <a:extLst>
                      <a:ext uri="{FF2B5EF4-FFF2-40B4-BE49-F238E27FC236}">
                        <a16:creationId xmlns:a16="http://schemas.microsoft.com/office/drawing/2014/main" id="{3011E9E6-FEDB-7E4F-5F05-F3F81F351A09}"/>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1D7FB444-2812-A08A-4E85-5035E0D255A1}"/>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A82065DE-9069-37AD-7F7C-4E093EC486BB}"/>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61769D0E-2310-ADFF-67C7-042440AA3724}"/>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CB5F72BF-DCA8-AC14-3EEF-97952222B620}"/>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65E9E9C-1B17-38E8-7110-C5EC461651A8}"/>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246B05F3-BFB8-7C10-CC40-6ACF70FFC598}"/>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19" name="TextBox 118">
                  <a:extLst>
                    <a:ext uri="{FF2B5EF4-FFF2-40B4-BE49-F238E27FC236}">
                      <a16:creationId xmlns:a16="http://schemas.microsoft.com/office/drawing/2014/main" id="{2D0D2A23-8250-14B9-C3F0-46A8308EDF72}"/>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6</a:t>
                  </a:r>
                </a:p>
              </p:txBody>
            </p:sp>
          </p:grpSp>
          <p:grpSp>
            <p:nvGrpSpPr>
              <p:cNvPr id="91" name="Group 90">
                <a:extLst>
                  <a:ext uri="{FF2B5EF4-FFF2-40B4-BE49-F238E27FC236}">
                    <a16:creationId xmlns:a16="http://schemas.microsoft.com/office/drawing/2014/main" id="{31CF1765-CCCA-4A11-AEA3-4A3E22BB440B}"/>
                  </a:ext>
                </a:extLst>
              </p:cNvPr>
              <p:cNvGrpSpPr/>
              <p:nvPr/>
            </p:nvGrpSpPr>
            <p:grpSpPr>
              <a:xfrm>
                <a:off x="13816078" y="3243610"/>
                <a:ext cx="3096088" cy="707825"/>
                <a:chOff x="13816078" y="3243610"/>
                <a:chExt cx="3096088" cy="707825"/>
              </a:xfrm>
            </p:grpSpPr>
            <p:sp>
              <p:nvSpPr>
                <p:cNvPr id="106" name="Rounded Rectangle 105">
                  <a:extLst>
                    <a:ext uri="{FF2B5EF4-FFF2-40B4-BE49-F238E27FC236}">
                      <a16:creationId xmlns:a16="http://schemas.microsoft.com/office/drawing/2014/main" id="{F0E5DAE1-6C30-FD1A-25C6-7E6615E61087}"/>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07" name="Group 106">
                  <a:extLst>
                    <a:ext uri="{FF2B5EF4-FFF2-40B4-BE49-F238E27FC236}">
                      <a16:creationId xmlns:a16="http://schemas.microsoft.com/office/drawing/2014/main" id="{6FBFA02D-53DA-D211-0369-0910AA390B63}"/>
                    </a:ext>
                  </a:extLst>
                </p:cNvPr>
                <p:cNvGrpSpPr/>
                <p:nvPr/>
              </p:nvGrpSpPr>
              <p:grpSpPr>
                <a:xfrm>
                  <a:off x="14631247" y="3419467"/>
                  <a:ext cx="2132754" cy="339866"/>
                  <a:chOff x="3344204" y="2330315"/>
                  <a:chExt cx="1972263" cy="339866"/>
                </a:xfrm>
              </p:grpSpPr>
              <p:cxnSp>
                <p:nvCxnSpPr>
                  <p:cNvPr id="109" name="Straight Connector 108">
                    <a:extLst>
                      <a:ext uri="{FF2B5EF4-FFF2-40B4-BE49-F238E27FC236}">
                        <a16:creationId xmlns:a16="http://schemas.microsoft.com/office/drawing/2014/main" id="{6D4AFB28-ADB2-B3CF-6E43-9B2487B55FE8}"/>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502F3034-F6C3-4A05-6A1B-FFBE62ED3F03}"/>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49570BD2-51F7-A4E2-81E0-479F0DAA845B}"/>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F3B96081-9D87-FD1C-7F40-33DB803977D6}"/>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D91437B9-6F9E-BDB9-7A8D-7A98FF8F0125}"/>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82D37CDA-06A3-455B-0EC3-401E2C9E5023}"/>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B8389357-5BC2-2121-D23A-F28282382415}"/>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BC1400F8-D647-F723-192E-38442AB6310D}"/>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08" name="TextBox 107">
                  <a:extLst>
                    <a:ext uri="{FF2B5EF4-FFF2-40B4-BE49-F238E27FC236}">
                      <a16:creationId xmlns:a16="http://schemas.microsoft.com/office/drawing/2014/main" id="{F4D0745A-6C2E-E2CF-66E2-E1884B24C0E2}"/>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7</a:t>
                  </a:r>
                </a:p>
              </p:txBody>
            </p:sp>
          </p:grpSp>
          <p:cxnSp>
            <p:nvCxnSpPr>
              <p:cNvPr id="92" name="Straight Connector 91">
                <a:extLst>
                  <a:ext uri="{FF2B5EF4-FFF2-40B4-BE49-F238E27FC236}">
                    <a16:creationId xmlns:a16="http://schemas.microsoft.com/office/drawing/2014/main" id="{76FF825D-51AE-1133-D91B-D262C9C3AA5F}"/>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93" name="Group 92">
                <a:extLst>
                  <a:ext uri="{FF2B5EF4-FFF2-40B4-BE49-F238E27FC236}">
                    <a16:creationId xmlns:a16="http://schemas.microsoft.com/office/drawing/2014/main" id="{BBBF427F-8A71-F8D7-D4D7-F09654C2C057}"/>
                  </a:ext>
                </a:extLst>
              </p:cNvPr>
              <p:cNvGrpSpPr/>
              <p:nvPr/>
            </p:nvGrpSpPr>
            <p:grpSpPr>
              <a:xfrm>
                <a:off x="13816078" y="4288638"/>
                <a:ext cx="3096088" cy="707825"/>
                <a:chOff x="13816078" y="4288638"/>
                <a:chExt cx="3096088" cy="707825"/>
              </a:xfrm>
            </p:grpSpPr>
            <p:sp>
              <p:nvSpPr>
                <p:cNvPr id="96" name="Rounded Rectangle 95">
                  <a:extLst>
                    <a:ext uri="{FF2B5EF4-FFF2-40B4-BE49-F238E27FC236}">
                      <a16:creationId xmlns:a16="http://schemas.microsoft.com/office/drawing/2014/main" id="{7960E157-3736-ED22-81E2-B21F3DC38031}"/>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97" name="Group 96">
                  <a:extLst>
                    <a:ext uri="{FF2B5EF4-FFF2-40B4-BE49-F238E27FC236}">
                      <a16:creationId xmlns:a16="http://schemas.microsoft.com/office/drawing/2014/main" id="{4ED7C0D1-2FF0-C2A7-30C1-4FE577F4130A}"/>
                    </a:ext>
                  </a:extLst>
                </p:cNvPr>
                <p:cNvGrpSpPr/>
                <p:nvPr/>
              </p:nvGrpSpPr>
              <p:grpSpPr>
                <a:xfrm>
                  <a:off x="14631247" y="4464495"/>
                  <a:ext cx="2132754" cy="339866"/>
                  <a:chOff x="3344204" y="2330315"/>
                  <a:chExt cx="1972263" cy="339866"/>
                </a:xfrm>
              </p:grpSpPr>
              <p:cxnSp>
                <p:nvCxnSpPr>
                  <p:cNvPr id="99" name="Straight Connector 98">
                    <a:extLst>
                      <a:ext uri="{FF2B5EF4-FFF2-40B4-BE49-F238E27FC236}">
                        <a16:creationId xmlns:a16="http://schemas.microsoft.com/office/drawing/2014/main" id="{70758CBD-32C4-EFA1-6DAA-DE790B85CC9E}"/>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F2E5612A-A52D-BB9D-A211-5108925C3F21}"/>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A57D6997-1B82-E09D-5933-312A11F1F7D6}"/>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335A0E92-0A96-D396-C76E-2EEB8F9FB293}"/>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AABBA0B7-5B09-899F-0A78-DD61C20AB463}"/>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65F059B7-D22B-80C6-0D6A-59348CBDA71F}"/>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12203D55-60EE-2AA6-7D8C-ECF07E71F829}"/>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98" name="TextBox 97">
                  <a:extLst>
                    <a:ext uri="{FF2B5EF4-FFF2-40B4-BE49-F238E27FC236}">
                      <a16:creationId xmlns:a16="http://schemas.microsoft.com/office/drawing/2014/main" id="{1AFEE1A7-14B2-0044-9B28-51492C857A9D}"/>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8</a:t>
                  </a:r>
                </a:p>
              </p:txBody>
            </p:sp>
          </p:grpSp>
          <p:cxnSp>
            <p:nvCxnSpPr>
              <p:cNvPr id="94" name="Straight Connector 93">
                <a:extLst>
                  <a:ext uri="{FF2B5EF4-FFF2-40B4-BE49-F238E27FC236}">
                    <a16:creationId xmlns:a16="http://schemas.microsoft.com/office/drawing/2014/main" id="{D3C67241-54F2-A646-23CF-1B513015DAD2}"/>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95" name="Straight Connector 94">
                <a:extLst>
                  <a:ext uri="{FF2B5EF4-FFF2-40B4-BE49-F238E27FC236}">
                    <a16:creationId xmlns:a16="http://schemas.microsoft.com/office/drawing/2014/main" id="{41E7932B-0E8A-EFDA-377A-4FF36A674080}"/>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4" name="Group 13">
              <a:extLst>
                <a:ext uri="{FF2B5EF4-FFF2-40B4-BE49-F238E27FC236}">
                  <a16:creationId xmlns:a16="http://schemas.microsoft.com/office/drawing/2014/main" id="{EB7ACAC7-5A9A-7F7F-36B7-F8CDB0964B28}"/>
                </a:ext>
              </a:extLst>
            </p:cNvPr>
            <p:cNvGrpSpPr/>
            <p:nvPr/>
          </p:nvGrpSpPr>
          <p:grpSpPr>
            <a:xfrm>
              <a:off x="13757848" y="21402694"/>
              <a:ext cx="3239588" cy="3005109"/>
              <a:chOff x="13757848" y="2169190"/>
              <a:chExt cx="3239588" cy="3005109"/>
            </a:xfrm>
          </p:grpSpPr>
          <p:grpSp>
            <p:nvGrpSpPr>
              <p:cNvPr id="53" name="Group 52">
                <a:extLst>
                  <a:ext uri="{FF2B5EF4-FFF2-40B4-BE49-F238E27FC236}">
                    <a16:creationId xmlns:a16="http://schemas.microsoft.com/office/drawing/2014/main" id="{93E2627D-C985-CD86-0DC9-BAA97EEF62CF}"/>
                  </a:ext>
                </a:extLst>
              </p:cNvPr>
              <p:cNvGrpSpPr/>
              <p:nvPr/>
            </p:nvGrpSpPr>
            <p:grpSpPr>
              <a:xfrm>
                <a:off x="13816078" y="2169190"/>
                <a:ext cx="3096088" cy="707825"/>
                <a:chOff x="13816078" y="2169190"/>
                <a:chExt cx="3096088" cy="707825"/>
              </a:xfrm>
            </p:grpSpPr>
            <p:sp>
              <p:nvSpPr>
                <p:cNvPr id="80" name="Rounded Rectangle 79">
                  <a:extLst>
                    <a:ext uri="{FF2B5EF4-FFF2-40B4-BE49-F238E27FC236}">
                      <a16:creationId xmlns:a16="http://schemas.microsoft.com/office/drawing/2014/main" id="{D3D96504-26BD-5594-2CAF-FD5B537585A3}"/>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81" name="Group 80">
                  <a:extLst>
                    <a:ext uri="{FF2B5EF4-FFF2-40B4-BE49-F238E27FC236}">
                      <a16:creationId xmlns:a16="http://schemas.microsoft.com/office/drawing/2014/main" id="{318A3F9A-6CC6-195E-710E-476AF8D43A60}"/>
                    </a:ext>
                  </a:extLst>
                </p:cNvPr>
                <p:cNvGrpSpPr/>
                <p:nvPr/>
              </p:nvGrpSpPr>
              <p:grpSpPr>
                <a:xfrm>
                  <a:off x="14631247" y="2345047"/>
                  <a:ext cx="2132754" cy="339866"/>
                  <a:chOff x="3344204" y="2330315"/>
                  <a:chExt cx="1972263" cy="339866"/>
                </a:xfrm>
              </p:grpSpPr>
              <p:cxnSp>
                <p:nvCxnSpPr>
                  <p:cNvPr id="83" name="Straight Connector 82">
                    <a:extLst>
                      <a:ext uri="{FF2B5EF4-FFF2-40B4-BE49-F238E27FC236}">
                        <a16:creationId xmlns:a16="http://schemas.microsoft.com/office/drawing/2014/main" id="{023ECBD1-5D53-61B8-ECCE-DFEA769D94B0}"/>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3728CE8-D8C2-D58E-97D2-7C59FF8CBDC0}"/>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76251C3-6B3C-2862-EEF4-12F723AC5FA0}"/>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E1B8246D-B9CC-6DCF-EA0A-1774DA7A207B}"/>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CF9B9D14-1D1A-20F7-E0D3-20BE2332C0B0}"/>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ED7EC11B-453F-C433-190E-B8E59E199B9C}"/>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44B4009B-3776-B6FB-E5DB-F5DFE3D8EF2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82" name="TextBox 81">
                  <a:extLst>
                    <a:ext uri="{FF2B5EF4-FFF2-40B4-BE49-F238E27FC236}">
                      <a16:creationId xmlns:a16="http://schemas.microsoft.com/office/drawing/2014/main" id="{D08AFA26-BAEE-3E96-F600-BFEB7DDFEE83}"/>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9</a:t>
                  </a:r>
                </a:p>
              </p:txBody>
            </p:sp>
          </p:grpSp>
          <p:grpSp>
            <p:nvGrpSpPr>
              <p:cNvPr id="54" name="Group 53">
                <a:extLst>
                  <a:ext uri="{FF2B5EF4-FFF2-40B4-BE49-F238E27FC236}">
                    <a16:creationId xmlns:a16="http://schemas.microsoft.com/office/drawing/2014/main" id="{48C5C555-1418-E188-E3E5-B58BBC3B43FD}"/>
                  </a:ext>
                </a:extLst>
              </p:cNvPr>
              <p:cNvGrpSpPr/>
              <p:nvPr/>
            </p:nvGrpSpPr>
            <p:grpSpPr>
              <a:xfrm>
                <a:off x="13816078" y="3243610"/>
                <a:ext cx="3096088" cy="707825"/>
                <a:chOff x="13816078" y="3243610"/>
                <a:chExt cx="3096088" cy="707825"/>
              </a:xfrm>
            </p:grpSpPr>
            <p:sp>
              <p:nvSpPr>
                <p:cNvPr id="69" name="Rounded Rectangle 68">
                  <a:extLst>
                    <a:ext uri="{FF2B5EF4-FFF2-40B4-BE49-F238E27FC236}">
                      <a16:creationId xmlns:a16="http://schemas.microsoft.com/office/drawing/2014/main" id="{C00220AF-1508-8AAF-E41F-8B05C2FD416F}"/>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70" name="Group 69">
                  <a:extLst>
                    <a:ext uri="{FF2B5EF4-FFF2-40B4-BE49-F238E27FC236}">
                      <a16:creationId xmlns:a16="http://schemas.microsoft.com/office/drawing/2014/main" id="{3D8415BC-00F0-76FD-9FD0-FB141E8CBA90}"/>
                    </a:ext>
                  </a:extLst>
                </p:cNvPr>
                <p:cNvGrpSpPr/>
                <p:nvPr/>
              </p:nvGrpSpPr>
              <p:grpSpPr>
                <a:xfrm>
                  <a:off x="14631247" y="3419467"/>
                  <a:ext cx="2132754" cy="339866"/>
                  <a:chOff x="3344204" y="2330315"/>
                  <a:chExt cx="1972263" cy="339866"/>
                </a:xfrm>
              </p:grpSpPr>
              <p:cxnSp>
                <p:nvCxnSpPr>
                  <p:cNvPr id="72" name="Straight Connector 71">
                    <a:extLst>
                      <a:ext uri="{FF2B5EF4-FFF2-40B4-BE49-F238E27FC236}">
                        <a16:creationId xmlns:a16="http://schemas.microsoft.com/office/drawing/2014/main" id="{5A9C86DD-DC88-3A68-481D-D6D9DB52FCA1}"/>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6D0EE145-664E-8497-DF77-F2F982192D3E}"/>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26D7C7C-832A-592F-E152-0418D784A7ED}"/>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0BFCDE7-19E1-6121-F47A-99D73045C724}"/>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4A7B4CE-8033-8628-47E4-6034A51826A6}"/>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D069CEE4-2F09-E4C9-A431-983303237D6E}"/>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E3700640-C04D-F3A2-52B5-6954A51CEBE7}"/>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D20C2695-B7F8-C4F2-1542-28CBE36A22B2}"/>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71" name="TextBox 70">
                  <a:extLst>
                    <a:ext uri="{FF2B5EF4-FFF2-40B4-BE49-F238E27FC236}">
                      <a16:creationId xmlns:a16="http://schemas.microsoft.com/office/drawing/2014/main" id="{3822D164-D725-C252-F556-6C8F03071B49}"/>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0</a:t>
                  </a:r>
                </a:p>
              </p:txBody>
            </p:sp>
          </p:grpSp>
          <p:cxnSp>
            <p:nvCxnSpPr>
              <p:cNvPr id="55" name="Straight Connector 54">
                <a:extLst>
                  <a:ext uri="{FF2B5EF4-FFF2-40B4-BE49-F238E27FC236}">
                    <a16:creationId xmlns:a16="http://schemas.microsoft.com/office/drawing/2014/main" id="{564E7199-6063-7898-9EBF-5AE60E7DC519}"/>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56" name="Group 55">
                <a:extLst>
                  <a:ext uri="{FF2B5EF4-FFF2-40B4-BE49-F238E27FC236}">
                    <a16:creationId xmlns:a16="http://schemas.microsoft.com/office/drawing/2014/main" id="{71A6058A-4D2C-8E3D-29C8-AB2EE81E508B}"/>
                  </a:ext>
                </a:extLst>
              </p:cNvPr>
              <p:cNvGrpSpPr/>
              <p:nvPr/>
            </p:nvGrpSpPr>
            <p:grpSpPr>
              <a:xfrm>
                <a:off x="13816078" y="4288638"/>
                <a:ext cx="3096088" cy="707825"/>
                <a:chOff x="13816078" y="4288638"/>
                <a:chExt cx="3096088" cy="707825"/>
              </a:xfrm>
            </p:grpSpPr>
            <p:sp>
              <p:nvSpPr>
                <p:cNvPr id="59" name="Rounded Rectangle 58">
                  <a:extLst>
                    <a:ext uri="{FF2B5EF4-FFF2-40B4-BE49-F238E27FC236}">
                      <a16:creationId xmlns:a16="http://schemas.microsoft.com/office/drawing/2014/main" id="{C095449E-2FC7-2C11-6676-F71AF78A143B}"/>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60" name="Group 59">
                  <a:extLst>
                    <a:ext uri="{FF2B5EF4-FFF2-40B4-BE49-F238E27FC236}">
                      <a16:creationId xmlns:a16="http://schemas.microsoft.com/office/drawing/2014/main" id="{41B14497-1509-510D-4011-98B1FBEC2529}"/>
                    </a:ext>
                  </a:extLst>
                </p:cNvPr>
                <p:cNvGrpSpPr/>
                <p:nvPr/>
              </p:nvGrpSpPr>
              <p:grpSpPr>
                <a:xfrm>
                  <a:off x="14631247" y="4464495"/>
                  <a:ext cx="2132754" cy="339866"/>
                  <a:chOff x="3344204" y="2330315"/>
                  <a:chExt cx="1972263" cy="339866"/>
                </a:xfrm>
              </p:grpSpPr>
              <p:cxnSp>
                <p:nvCxnSpPr>
                  <p:cNvPr id="62" name="Straight Connector 61">
                    <a:extLst>
                      <a:ext uri="{FF2B5EF4-FFF2-40B4-BE49-F238E27FC236}">
                        <a16:creationId xmlns:a16="http://schemas.microsoft.com/office/drawing/2014/main" id="{696E5D2E-3D30-4DE3-D9BD-79B0C43B90C9}"/>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51038FF-AF59-CE71-4E22-7D360677E608}"/>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0B91EA2-CD6C-1943-4A64-15CC8187DDE1}"/>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494F22A-415C-89DC-03D5-AC1DDB8A7D11}"/>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1D793962-A105-97F8-F62F-9779F476A51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DBCCC13A-5262-3489-3213-3A53D69DEE11}"/>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780EF4C-FCF6-28B1-7A0C-6CFF404B824C}"/>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61" name="TextBox 60">
                  <a:extLst>
                    <a:ext uri="{FF2B5EF4-FFF2-40B4-BE49-F238E27FC236}">
                      <a16:creationId xmlns:a16="http://schemas.microsoft.com/office/drawing/2014/main" id="{3BEF06AC-EC95-0155-B083-FA24469632BB}"/>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1</a:t>
                  </a:r>
                </a:p>
              </p:txBody>
            </p:sp>
          </p:grpSp>
          <p:cxnSp>
            <p:nvCxnSpPr>
              <p:cNvPr id="57" name="Straight Connector 56">
                <a:extLst>
                  <a:ext uri="{FF2B5EF4-FFF2-40B4-BE49-F238E27FC236}">
                    <a16:creationId xmlns:a16="http://schemas.microsoft.com/office/drawing/2014/main" id="{E3B423AF-828E-1A70-2CCE-31F8107E3517}"/>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61EF2F10-962F-9175-34F2-95CA37905BC3}"/>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5" name="Group 14">
              <a:extLst>
                <a:ext uri="{FF2B5EF4-FFF2-40B4-BE49-F238E27FC236}">
                  <a16:creationId xmlns:a16="http://schemas.microsoft.com/office/drawing/2014/main" id="{D89BDFDD-E334-0D0C-37CF-F1EA96204FFC}"/>
                </a:ext>
              </a:extLst>
            </p:cNvPr>
            <p:cNvGrpSpPr/>
            <p:nvPr/>
          </p:nvGrpSpPr>
          <p:grpSpPr>
            <a:xfrm>
              <a:off x="13757848" y="24608280"/>
              <a:ext cx="3239588" cy="3005109"/>
              <a:chOff x="13757848" y="2169190"/>
              <a:chExt cx="3239588" cy="3005109"/>
            </a:xfrm>
          </p:grpSpPr>
          <p:grpSp>
            <p:nvGrpSpPr>
              <p:cNvPr id="16" name="Group 15">
                <a:extLst>
                  <a:ext uri="{FF2B5EF4-FFF2-40B4-BE49-F238E27FC236}">
                    <a16:creationId xmlns:a16="http://schemas.microsoft.com/office/drawing/2014/main" id="{ADB424E0-A084-7707-CF5B-AA509E0E29F6}"/>
                  </a:ext>
                </a:extLst>
              </p:cNvPr>
              <p:cNvGrpSpPr/>
              <p:nvPr/>
            </p:nvGrpSpPr>
            <p:grpSpPr>
              <a:xfrm>
                <a:off x="13816078" y="2169190"/>
                <a:ext cx="3096088" cy="707825"/>
                <a:chOff x="13816078" y="2169190"/>
                <a:chExt cx="3096088" cy="707825"/>
              </a:xfrm>
            </p:grpSpPr>
            <p:sp>
              <p:nvSpPr>
                <p:cNvPr id="43" name="Rounded Rectangle 42">
                  <a:extLst>
                    <a:ext uri="{FF2B5EF4-FFF2-40B4-BE49-F238E27FC236}">
                      <a16:creationId xmlns:a16="http://schemas.microsoft.com/office/drawing/2014/main" id="{ABF7C9F9-8E04-935F-1B25-10639DEA6774}"/>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44" name="Group 43">
                  <a:extLst>
                    <a:ext uri="{FF2B5EF4-FFF2-40B4-BE49-F238E27FC236}">
                      <a16:creationId xmlns:a16="http://schemas.microsoft.com/office/drawing/2014/main" id="{5EB220E4-0897-BC29-736D-B787A4A0AD82}"/>
                    </a:ext>
                  </a:extLst>
                </p:cNvPr>
                <p:cNvGrpSpPr/>
                <p:nvPr/>
              </p:nvGrpSpPr>
              <p:grpSpPr>
                <a:xfrm>
                  <a:off x="14631247" y="2345047"/>
                  <a:ext cx="2132754" cy="339866"/>
                  <a:chOff x="3344204" y="2330315"/>
                  <a:chExt cx="1972263" cy="339866"/>
                </a:xfrm>
              </p:grpSpPr>
              <p:cxnSp>
                <p:nvCxnSpPr>
                  <p:cNvPr id="46" name="Straight Connector 45">
                    <a:extLst>
                      <a:ext uri="{FF2B5EF4-FFF2-40B4-BE49-F238E27FC236}">
                        <a16:creationId xmlns:a16="http://schemas.microsoft.com/office/drawing/2014/main" id="{3B38B71E-C575-CA5E-DE52-EAFD580977BB}"/>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FB70AD3B-B0DF-1ADE-37AA-C5CCD1F0CE4C}"/>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ED2EF4A9-4F51-30FB-F333-A39B7820CBA0}"/>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3BA78247-E2B4-0548-0C8A-77157A37B94D}"/>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4EA87E56-257C-F906-49A3-AF901407ED0C}"/>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30F0E5F9-8C0F-F248-3235-FC74EFC546C5}"/>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C554345-26A2-5035-8B32-C2F497A853E9}"/>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45" name="TextBox 44">
                  <a:extLst>
                    <a:ext uri="{FF2B5EF4-FFF2-40B4-BE49-F238E27FC236}">
                      <a16:creationId xmlns:a16="http://schemas.microsoft.com/office/drawing/2014/main" id="{69740978-FAFE-DC15-91F9-D020F9F98B66}"/>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2</a:t>
                  </a:r>
                </a:p>
              </p:txBody>
            </p:sp>
          </p:grpSp>
          <p:grpSp>
            <p:nvGrpSpPr>
              <p:cNvPr id="17" name="Group 16">
                <a:extLst>
                  <a:ext uri="{FF2B5EF4-FFF2-40B4-BE49-F238E27FC236}">
                    <a16:creationId xmlns:a16="http://schemas.microsoft.com/office/drawing/2014/main" id="{F412C17D-CFE0-33B4-6978-F79FBCF7C71D}"/>
                  </a:ext>
                </a:extLst>
              </p:cNvPr>
              <p:cNvGrpSpPr/>
              <p:nvPr/>
            </p:nvGrpSpPr>
            <p:grpSpPr>
              <a:xfrm>
                <a:off x="13816078" y="3243610"/>
                <a:ext cx="3096088" cy="707825"/>
                <a:chOff x="13816078" y="3243610"/>
                <a:chExt cx="3096088" cy="707825"/>
              </a:xfrm>
            </p:grpSpPr>
            <p:sp>
              <p:nvSpPr>
                <p:cNvPr id="32" name="Rounded Rectangle 31">
                  <a:extLst>
                    <a:ext uri="{FF2B5EF4-FFF2-40B4-BE49-F238E27FC236}">
                      <a16:creationId xmlns:a16="http://schemas.microsoft.com/office/drawing/2014/main" id="{09AFF3F1-714A-84DD-A382-86169A0E7F38}"/>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3" name="Group 32">
                  <a:extLst>
                    <a:ext uri="{FF2B5EF4-FFF2-40B4-BE49-F238E27FC236}">
                      <a16:creationId xmlns:a16="http://schemas.microsoft.com/office/drawing/2014/main" id="{842F8C6D-FF83-AD33-D5DC-492C973E40EE}"/>
                    </a:ext>
                  </a:extLst>
                </p:cNvPr>
                <p:cNvGrpSpPr/>
                <p:nvPr/>
              </p:nvGrpSpPr>
              <p:grpSpPr>
                <a:xfrm>
                  <a:off x="14631247" y="3419467"/>
                  <a:ext cx="2132754" cy="339866"/>
                  <a:chOff x="3344204" y="2330315"/>
                  <a:chExt cx="1972263" cy="339866"/>
                </a:xfrm>
              </p:grpSpPr>
              <p:cxnSp>
                <p:nvCxnSpPr>
                  <p:cNvPr id="35" name="Straight Connector 34">
                    <a:extLst>
                      <a:ext uri="{FF2B5EF4-FFF2-40B4-BE49-F238E27FC236}">
                        <a16:creationId xmlns:a16="http://schemas.microsoft.com/office/drawing/2014/main" id="{AD82E280-ABAD-8E96-1EB9-FD20D6F8653A}"/>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E2DBA95-F696-E661-54AF-EAAB9E357305}"/>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BA22973F-C45C-EE91-1792-F4773EABA335}"/>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7548AB5-DD0A-855A-0FAE-0A27270B773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5CC41E59-D3AD-7552-1792-90BE61E36AE5}"/>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07A8544-B00F-A50E-1A41-366509CEE944}"/>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ED3F1E8-8870-7BDC-B717-A9F1CE32E20E}"/>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390C80DF-843D-1DA8-FAEA-64C9AFF4D336}"/>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D53054B7-A72D-D25B-EB8C-887D655FEBFF}"/>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3</a:t>
                  </a:r>
                </a:p>
              </p:txBody>
            </p:sp>
          </p:grpSp>
          <p:cxnSp>
            <p:nvCxnSpPr>
              <p:cNvPr id="18" name="Straight Connector 17">
                <a:extLst>
                  <a:ext uri="{FF2B5EF4-FFF2-40B4-BE49-F238E27FC236}">
                    <a16:creationId xmlns:a16="http://schemas.microsoft.com/office/drawing/2014/main" id="{CECF2DF1-EC8C-10B1-AE08-378697912FFF}"/>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9" name="Group 18">
                <a:extLst>
                  <a:ext uri="{FF2B5EF4-FFF2-40B4-BE49-F238E27FC236}">
                    <a16:creationId xmlns:a16="http://schemas.microsoft.com/office/drawing/2014/main" id="{AA8AB763-7535-190C-B6FF-3970BD67CA59}"/>
                  </a:ext>
                </a:extLst>
              </p:cNvPr>
              <p:cNvGrpSpPr/>
              <p:nvPr/>
            </p:nvGrpSpPr>
            <p:grpSpPr>
              <a:xfrm>
                <a:off x="13816078" y="4288638"/>
                <a:ext cx="3096088" cy="707825"/>
                <a:chOff x="13816078" y="4288638"/>
                <a:chExt cx="3096088" cy="707825"/>
              </a:xfrm>
            </p:grpSpPr>
            <p:sp>
              <p:nvSpPr>
                <p:cNvPr id="22" name="Rounded Rectangle 21">
                  <a:extLst>
                    <a:ext uri="{FF2B5EF4-FFF2-40B4-BE49-F238E27FC236}">
                      <a16:creationId xmlns:a16="http://schemas.microsoft.com/office/drawing/2014/main" id="{EED4F26E-43D5-9964-E801-FBC4DFE53FF8}"/>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3" name="Group 22">
                  <a:extLst>
                    <a:ext uri="{FF2B5EF4-FFF2-40B4-BE49-F238E27FC236}">
                      <a16:creationId xmlns:a16="http://schemas.microsoft.com/office/drawing/2014/main" id="{ADEFD4F8-B33F-A6DE-3544-368EA4F6F99F}"/>
                    </a:ext>
                  </a:extLst>
                </p:cNvPr>
                <p:cNvGrpSpPr/>
                <p:nvPr/>
              </p:nvGrpSpPr>
              <p:grpSpPr>
                <a:xfrm>
                  <a:off x="14631247" y="4464495"/>
                  <a:ext cx="2132754" cy="339866"/>
                  <a:chOff x="3344204" y="2330315"/>
                  <a:chExt cx="1972263" cy="339866"/>
                </a:xfrm>
              </p:grpSpPr>
              <p:cxnSp>
                <p:nvCxnSpPr>
                  <p:cNvPr id="25" name="Straight Connector 24">
                    <a:extLst>
                      <a:ext uri="{FF2B5EF4-FFF2-40B4-BE49-F238E27FC236}">
                        <a16:creationId xmlns:a16="http://schemas.microsoft.com/office/drawing/2014/main" id="{E714FC36-57BC-7D83-B4FE-4CAE10D89D70}"/>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7AB9D2DA-351D-E12D-F403-6FCF9CA3173D}"/>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7C70877-2F50-8F26-D0A1-02CD32613A88}"/>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6907AA7-75FB-5428-1E5B-9A4E0BC0679C}"/>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E9CA5FD9-43A3-1CFE-FA19-FF9C912DD12F}"/>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C14FE53-3866-992F-A832-623F1DA39F53}"/>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DEC5C30F-A76B-8FD8-6C2B-F17EA8C896CC}"/>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4" name="TextBox 23">
                  <a:extLst>
                    <a:ext uri="{FF2B5EF4-FFF2-40B4-BE49-F238E27FC236}">
                      <a16:creationId xmlns:a16="http://schemas.microsoft.com/office/drawing/2014/main" id="{5A0F9935-344B-0E3D-2484-77C3FB4FDDCB}"/>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4</a:t>
                  </a:r>
                </a:p>
              </p:txBody>
            </p:sp>
          </p:grpSp>
          <p:cxnSp>
            <p:nvCxnSpPr>
              <p:cNvPr id="20" name="Straight Connector 19">
                <a:extLst>
                  <a:ext uri="{FF2B5EF4-FFF2-40B4-BE49-F238E27FC236}">
                    <a16:creationId xmlns:a16="http://schemas.microsoft.com/office/drawing/2014/main" id="{AB693BBD-8C03-C073-76A3-4510680D3F3D}"/>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1" name="Straight Connector 20">
                <a:extLst>
                  <a:ext uri="{FF2B5EF4-FFF2-40B4-BE49-F238E27FC236}">
                    <a16:creationId xmlns:a16="http://schemas.microsoft.com/office/drawing/2014/main" id="{67678D6D-D557-54AC-4124-F7B4E3B41C24}"/>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313" name="Group 312">
            <a:extLst>
              <a:ext uri="{FF2B5EF4-FFF2-40B4-BE49-F238E27FC236}">
                <a16:creationId xmlns:a16="http://schemas.microsoft.com/office/drawing/2014/main" id="{32CE8287-D88E-E76C-7418-45B8E57159F4}"/>
              </a:ext>
            </a:extLst>
          </p:cNvPr>
          <p:cNvGrpSpPr/>
          <p:nvPr/>
        </p:nvGrpSpPr>
        <p:grpSpPr>
          <a:xfrm>
            <a:off x="1324508" y="1149512"/>
            <a:ext cx="3563547" cy="7947435"/>
            <a:chOff x="1324571" y="1724348"/>
            <a:chExt cx="3563547" cy="7947435"/>
          </a:xfrm>
        </p:grpSpPr>
        <p:sp>
          <p:nvSpPr>
            <p:cNvPr id="314" name="Rounded Rectangle 313">
              <a:extLst>
                <a:ext uri="{FF2B5EF4-FFF2-40B4-BE49-F238E27FC236}">
                  <a16:creationId xmlns:a16="http://schemas.microsoft.com/office/drawing/2014/main" id="{9E2AC965-3E82-B20D-4DA6-446C47815F01}"/>
                </a:ext>
              </a:extLst>
            </p:cNvPr>
            <p:cNvSpPr/>
            <p:nvPr/>
          </p:nvSpPr>
          <p:spPr>
            <a:xfrm>
              <a:off x="1324571" y="1724349"/>
              <a:ext cx="3563547" cy="7947434"/>
            </a:xfrm>
            <a:prstGeom prst="roundRect">
              <a:avLst>
                <a:gd name="adj" fmla="val 7160"/>
              </a:avLst>
            </a:prstGeom>
            <a:noFill/>
            <a:ln w="2540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15" name="Rounded Rectangle 314">
              <a:extLst>
                <a:ext uri="{FF2B5EF4-FFF2-40B4-BE49-F238E27FC236}">
                  <a16:creationId xmlns:a16="http://schemas.microsoft.com/office/drawing/2014/main" id="{744A0A28-B1A5-4D1E-145A-3608B0C2A45E}"/>
                </a:ext>
              </a:extLst>
            </p:cNvPr>
            <p:cNvSpPr/>
            <p:nvPr/>
          </p:nvSpPr>
          <p:spPr>
            <a:xfrm>
              <a:off x="1324571" y="1724348"/>
              <a:ext cx="3563547" cy="1026770"/>
            </a:xfrm>
            <a:prstGeom prst="roundRect">
              <a:avLst>
                <a:gd name="adj" fmla="val 20484"/>
              </a:avLst>
            </a:prstGeom>
            <a:solidFill>
              <a:schemeClr val="accent5"/>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nova Bold"/>
                  <a:ea typeface="+mn-ea"/>
                  <a:cs typeface="+mn-cs"/>
                </a:rPr>
                <a:t>Customer ID</a:t>
              </a:r>
            </a:p>
          </p:txBody>
        </p:sp>
      </p:grpSp>
      <p:sp>
        <p:nvSpPr>
          <p:cNvPr id="316" name="Rounded Rectangle 315">
            <a:extLst>
              <a:ext uri="{FF2B5EF4-FFF2-40B4-BE49-F238E27FC236}">
                <a16:creationId xmlns:a16="http://schemas.microsoft.com/office/drawing/2014/main" id="{8A0003DD-F13E-59A5-19F6-400499594CF7}"/>
              </a:ext>
            </a:extLst>
          </p:cNvPr>
          <p:cNvSpPr/>
          <p:nvPr/>
        </p:nvSpPr>
        <p:spPr>
          <a:xfrm>
            <a:off x="10817231" y="4036644"/>
            <a:ext cx="2447505" cy="768679"/>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Next Best Action</a:t>
            </a:r>
          </a:p>
        </p:txBody>
      </p:sp>
      <p:cxnSp>
        <p:nvCxnSpPr>
          <p:cNvPr id="317" name="Elbow Connector 316">
            <a:extLst>
              <a:ext uri="{FF2B5EF4-FFF2-40B4-BE49-F238E27FC236}">
                <a16:creationId xmlns:a16="http://schemas.microsoft.com/office/drawing/2014/main" id="{A1EFD7D4-BBD4-06B1-D427-1BAB14CFAA8B}"/>
              </a:ext>
            </a:extLst>
          </p:cNvPr>
          <p:cNvCxnSpPr>
            <a:cxnSpLocks/>
            <a:stCxn id="316" idx="0"/>
          </p:cNvCxnSpPr>
          <p:nvPr/>
        </p:nvCxnSpPr>
        <p:spPr>
          <a:xfrm rot="16200000" flipV="1">
            <a:off x="11010180" y="3005839"/>
            <a:ext cx="604641" cy="1456969"/>
          </a:xfrm>
          <a:prstGeom prst="bentConnector2">
            <a:avLst/>
          </a:prstGeom>
          <a:ln w="41275">
            <a:gradFill flip="none" rotWithShape="1">
              <a:gsLst>
                <a:gs pos="83000">
                  <a:schemeClr val="accent6"/>
                </a:gs>
                <a:gs pos="100000">
                  <a:schemeClr val="accent5">
                    <a:alpha val="0"/>
                  </a:schemeClr>
                </a:gs>
              </a:gsLst>
              <a:lin ang="10800000" scaled="1"/>
              <a:tileRect/>
            </a:gradFill>
            <a:tailEnd type="arrow" w="lg" len="sm"/>
          </a:ln>
        </p:spPr>
        <p:style>
          <a:lnRef idx="1">
            <a:schemeClr val="accent1"/>
          </a:lnRef>
          <a:fillRef idx="0">
            <a:schemeClr val="accent1"/>
          </a:fillRef>
          <a:effectRef idx="0">
            <a:schemeClr val="accent1"/>
          </a:effectRef>
          <a:fontRef idx="minor">
            <a:schemeClr val="tx1"/>
          </a:fontRef>
        </p:style>
      </p:cxnSp>
      <p:cxnSp>
        <p:nvCxnSpPr>
          <p:cNvPr id="318" name="Straight Arrow Connector 317">
            <a:extLst>
              <a:ext uri="{FF2B5EF4-FFF2-40B4-BE49-F238E27FC236}">
                <a16:creationId xmlns:a16="http://schemas.microsoft.com/office/drawing/2014/main" id="{AB7A4BA5-97D6-36FB-A224-6AF1425B2BD3}"/>
              </a:ext>
            </a:extLst>
          </p:cNvPr>
          <p:cNvCxnSpPr>
            <a:cxnSpLocks/>
          </p:cNvCxnSpPr>
          <p:nvPr/>
        </p:nvCxnSpPr>
        <p:spPr>
          <a:xfrm>
            <a:off x="10342344" y="6598239"/>
            <a:ext cx="411098" cy="0"/>
          </a:xfrm>
          <a:prstGeom prst="straightConnector1">
            <a:avLst/>
          </a:prstGeom>
          <a:ln w="41275">
            <a:solidFill>
              <a:schemeClr val="accent6"/>
            </a:solidFill>
            <a:tailEnd type="arrow" w="lg" len="sm"/>
          </a:ln>
        </p:spPr>
        <p:style>
          <a:lnRef idx="1">
            <a:schemeClr val="accent1"/>
          </a:lnRef>
          <a:fillRef idx="0">
            <a:schemeClr val="accent1"/>
          </a:fillRef>
          <a:effectRef idx="0">
            <a:schemeClr val="accent1"/>
          </a:effectRef>
          <a:fontRef idx="minor">
            <a:schemeClr val="tx1"/>
          </a:fontRef>
        </p:style>
      </p:cxnSp>
      <p:cxnSp>
        <p:nvCxnSpPr>
          <p:cNvPr id="319" name="Straight Arrow Connector 318">
            <a:extLst>
              <a:ext uri="{FF2B5EF4-FFF2-40B4-BE49-F238E27FC236}">
                <a16:creationId xmlns:a16="http://schemas.microsoft.com/office/drawing/2014/main" id="{CC7334D1-3062-83DD-7A5C-B162A232CDD3}"/>
              </a:ext>
            </a:extLst>
          </p:cNvPr>
          <p:cNvCxnSpPr>
            <a:cxnSpLocks/>
          </p:cNvCxnSpPr>
          <p:nvPr/>
        </p:nvCxnSpPr>
        <p:spPr>
          <a:xfrm>
            <a:off x="5252404" y="4549269"/>
            <a:ext cx="2170124" cy="0"/>
          </a:xfrm>
          <a:prstGeom prst="straightConnector1">
            <a:avLst/>
          </a:prstGeom>
          <a:ln w="63500">
            <a:solidFill>
              <a:schemeClr val="accent2"/>
            </a:solidFill>
            <a:tailEnd type="arrow" w="lg" len="sm"/>
          </a:ln>
        </p:spPr>
        <p:style>
          <a:lnRef idx="1">
            <a:schemeClr val="accent1"/>
          </a:lnRef>
          <a:fillRef idx="0">
            <a:schemeClr val="accent1"/>
          </a:fillRef>
          <a:effectRef idx="0">
            <a:schemeClr val="accent1"/>
          </a:effectRef>
          <a:fontRef idx="minor">
            <a:schemeClr val="tx1"/>
          </a:fontRef>
        </p:style>
      </p:cxnSp>
      <p:grpSp>
        <p:nvGrpSpPr>
          <p:cNvPr id="320" name="Group 319">
            <a:extLst>
              <a:ext uri="{FF2B5EF4-FFF2-40B4-BE49-F238E27FC236}">
                <a16:creationId xmlns:a16="http://schemas.microsoft.com/office/drawing/2014/main" id="{D34B23E8-0A77-932B-F75B-E56F6FF0F67A}"/>
              </a:ext>
            </a:extLst>
          </p:cNvPr>
          <p:cNvGrpSpPr/>
          <p:nvPr/>
        </p:nvGrpSpPr>
        <p:grpSpPr>
          <a:xfrm>
            <a:off x="5179301" y="3961558"/>
            <a:ext cx="2302893" cy="1050599"/>
            <a:chOff x="3198909" y="1826416"/>
            <a:chExt cx="2302893" cy="1050599"/>
          </a:xfrm>
        </p:grpSpPr>
        <p:sp>
          <p:nvSpPr>
            <p:cNvPr id="321" name="Rounded Rectangle 320">
              <a:extLst>
                <a:ext uri="{FF2B5EF4-FFF2-40B4-BE49-F238E27FC236}">
                  <a16:creationId xmlns:a16="http://schemas.microsoft.com/office/drawing/2014/main" id="{0A0F3BE8-7196-A08C-EA37-568C193BC5AD}"/>
                </a:ext>
              </a:extLst>
            </p:cNvPr>
            <p:cNvSpPr/>
            <p:nvPr/>
          </p:nvSpPr>
          <p:spPr>
            <a:xfrm>
              <a:off x="3198909" y="1826416"/>
              <a:ext cx="2302893" cy="1050599"/>
            </a:xfrm>
            <a:prstGeom prst="roundRect">
              <a:avLst/>
            </a:prstGeom>
            <a:solidFill>
              <a:schemeClr val="tx2"/>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COMPLAINT</a:t>
              </a:r>
            </a:p>
          </p:txBody>
        </p:sp>
        <p:grpSp>
          <p:nvGrpSpPr>
            <p:cNvPr id="322" name="Group 321">
              <a:extLst>
                <a:ext uri="{FF2B5EF4-FFF2-40B4-BE49-F238E27FC236}">
                  <a16:creationId xmlns:a16="http://schemas.microsoft.com/office/drawing/2014/main" id="{CCF6A6CF-D0DF-95E0-4842-3064837D266D}"/>
                </a:ext>
              </a:extLst>
            </p:cNvPr>
            <p:cNvGrpSpPr/>
            <p:nvPr/>
          </p:nvGrpSpPr>
          <p:grpSpPr>
            <a:xfrm>
              <a:off x="3344204" y="2330315"/>
              <a:ext cx="1972263" cy="339866"/>
              <a:chOff x="3344204" y="2330315"/>
              <a:chExt cx="1972263" cy="339866"/>
            </a:xfrm>
          </p:grpSpPr>
          <p:cxnSp>
            <p:nvCxnSpPr>
              <p:cNvPr id="323" name="Straight Connector 322">
                <a:extLst>
                  <a:ext uri="{FF2B5EF4-FFF2-40B4-BE49-F238E27FC236}">
                    <a16:creationId xmlns:a16="http://schemas.microsoft.com/office/drawing/2014/main" id="{265DF5A2-1FE7-2AA2-6292-3C73E687EF2B}"/>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DB3261C1-21C4-D8DF-06BF-9D8FE2552B12}"/>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75F3EFAC-E0EE-5629-D1A7-DEFA85D99B82}"/>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B8E7F5A4-71A2-529A-9DC4-9B88A7508855}"/>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E5A869F0-5381-578F-4D03-0A30772B0D1B}"/>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8" name="Straight Connector 327">
                <a:extLst>
                  <a:ext uri="{FF2B5EF4-FFF2-40B4-BE49-F238E27FC236}">
                    <a16:creationId xmlns:a16="http://schemas.microsoft.com/office/drawing/2014/main" id="{BD14E146-71CF-0C1F-DB65-178115BB6F97}"/>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9" name="Straight Connector 328">
                <a:extLst>
                  <a:ext uri="{FF2B5EF4-FFF2-40B4-BE49-F238E27FC236}">
                    <a16:creationId xmlns:a16="http://schemas.microsoft.com/office/drawing/2014/main" id="{0547ACC4-0B91-3A2A-B1E4-25FF50086F3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330" name="Group 329">
            <a:extLst>
              <a:ext uri="{FF2B5EF4-FFF2-40B4-BE49-F238E27FC236}">
                <a16:creationId xmlns:a16="http://schemas.microsoft.com/office/drawing/2014/main" id="{A4C663C0-0FB1-FDA1-9FB7-B8FD6DE25F07}"/>
              </a:ext>
            </a:extLst>
          </p:cNvPr>
          <p:cNvGrpSpPr/>
          <p:nvPr/>
        </p:nvGrpSpPr>
        <p:grpSpPr>
          <a:xfrm>
            <a:off x="7612863" y="2932703"/>
            <a:ext cx="2794399" cy="3078562"/>
            <a:chOff x="7442696" y="3184438"/>
            <a:chExt cx="2794399" cy="3078562"/>
          </a:xfrm>
        </p:grpSpPr>
        <p:sp>
          <p:nvSpPr>
            <p:cNvPr id="331" name="Rounded Rectangle 284">
              <a:extLst>
                <a:ext uri="{FF2B5EF4-FFF2-40B4-BE49-F238E27FC236}">
                  <a16:creationId xmlns:a16="http://schemas.microsoft.com/office/drawing/2014/main" id="{0E9BDED2-C813-1863-D3F0-64C31F240183}"/>
                </a:ext>
              </a:extLst>
            </p:cNvPr>
            <p:cNvSpPr/>
            <p:nvPr/>
          </p:nvSpPr>
          <p:spPr>
            <a:xfrm>
              <a:off x="7442696" y="3184438"/>
              <a:ext cx="2794399" cy="2894775"/>
            </a:xfrm>
            <a:custGeom>
              <a:avLst/>
              <a:gdLst>
                <a:gd name="connsiteX0" fmla="*/ 0 w 2794399"/>
                <a:gd name="connsiteY0" fmla="*/ 465742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465742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693133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399" h="2894775">
                  <a:moveTo>
                    <a:pt x="0" y="690444"/>
                  </a:moveTo>
                  <a:cubicBezTo>
                    <a:pt x="0" y="433222"/>
                    <a:pt x="82729" y="6988"/>
                    <a:pt x="465742" y="2150"/>
                  </a:cubicBezTo>
                  <a:cubicBezTo>
                    <a:pt x="848755" y="-2688"/>
                    <a:pt x="1935968" y="2150"/>
                    <a:pt x="2328657" y="2150"/>
                  </a:cubicBezTo>
                  <a:cubicBezTo>
                    <a:pt x="2721346" y="2150"/>
                    <a:pt x="2794399" y="438061"/>
                    <a:pt x="2794399" y="695283"/>
                  </a:cubicBezTo>
                  <a:lnTo>
                    <a:pt x="2794399" y="2429033"/>
                  </a:lnTo>
                  <a:cubicBezTo>
                    <a:pt x="2794399" y="2686255"/>
                    <a:pt x="2585879" y="2894775"/>
                    <a:pt x="2328657" y="2894775"/>
                  </a:cubicBezTo>
                  <a:lnTo>
                    <a:pt x="465742" y="2894775"/>
                  </a:lnTo>
                  <a:cubicBezTo>
                    <a:pt x="208520" y="2894775"/>
                    <a:pt x="0" y="2686255"/>
                    <a:pt x="0" y="2429033"/>
                  </a:cubicBezTo>
                  <a:lnTo>
                    <a:pt x="0" y="690444"/>
                  </a:lnTo>
                  <a:close/>
                </a:path>
              </a:pathLst>
            </a:custGeom>
            <a:solidFill>
              <a:schemeClr val="accent4">
                <a:lumMod val="90000"/>
                <a:lumOff val="10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32" name="Rounded Rectangle 331">
              <a:extLst>
                <a:ext uri="{FF2B5EF4-FFF2-40B4-BE49-F238E27FC236}">
                  <a16:creationId xmlns:a16="http://schemas.microsoft.com/office/drawing/2014/main" id="{3CB75230-87CC-4925-4E52-9C7A3D1001B6}"/>
                </a:ext>
              </a:extLst>
            </p:cNvPr>
            <p:cNvSpPr/>
            <p:nvPr/>
          </p:nvSpPr>
          <p:spPr>
            <a:xfrm>
              <a:off x="7442696" y="3468601"/>
              <a:ext cx="2794399" cy="2794399"/>
            </a:xfrm>
            <a:prstGeom prst="roundRect">
              <a:avLst/>
            </a:prstGeom>
            <a:solidFill>
              <a:schemeClr val="accent4"/>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flatTx/>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LARGE</a:t>
              </a:r>
              <a:br>
                <a:rPr kumimoji="0" lang="en-US" sz="1600" b="0" i="0" u="none" strike="noStrike" kern="1200" cap="none" spc="100" normalizeH="0" baseline="0" noProof="0">
                  <a:ln>
                    <a:noFill/>
                  </a:ln>
                  <a:solidFill>
                    <a:srgbClr val="FFFFFF"/>
                  </a:solidFill>
                  <a:effectLst/>
                  <a:uLnTx/>
                  <a:uFillTx/>
                  <a:latin typeface="Anova Bold"/>
                  <a:ea typeface="+mn-ea"/>
                  <a:cs typeface="+mn-cs"/>
                </a:rPr>
              </a:br>
              <a:r>
                <a:rPr kumimoji="0" lang="en-US" sz="1600" b="0" i="0" u="none" strike="noStrike" kern="1200" cap="none" spc="100" normalizeH="0" baseline="0" noProof="0">
                  <a:ln>
                    <a:noFill/>
                  </a:ln>
                  <a:solidFill>
                    <a:srgbClr val="FFFFFF"/>
                  </a:solidFill>
                  <a:effectLst/>
                  <a:uLnTx/>
                  <a:uFillTx/>
                  <a:latin typeface="Anova Bold"/>
                  <a:ea typeface="+mn-ea"/>
                  <a:cs typeface="+mn-cs"/>
                </a:rPr>
                <a:t>LANGUAGE MODEL</a:t>
              </a:r>
            </a:p>
          </p:txBody>
        </p:sp>
        <p:grpSp>
          <p:nvGrpSpPr>
            <p:cNvPr id="333" name="Group 332">
              <a:extLst>
                <a:ext uri="{FF2B5EF4-FFF2-40B4-BE49-F238E27FC236}">
                  <a16:creationId xmlns:a16="http://schemas.microsoft.com/office/drawing/2014/main" id="{175983B8-4B31-2471-9460-EE6F506F2F44}"/>
                </a:ext>
              </a:extLst>
            </p:cNvPr>
            <p:cNvGrpSpPr/>
            <p:nvPr/>
          </p:nvGrpSpPr>
          <p:grpSpPr>
            <a:xfrm>
              <a:off x="7843472" y="4291717"/>
              <a:ext cx="1983115" cy="1649195"/>
              <a:chOff x="5907442" y="7087458"/>
              <a:chExt cx="1983115" cy="1649195"/>
            </a:xfrm>
          </p:grpSpPr>
          <p:cxnSp>
            <p:nvCxnSpPr>
              <p:cNvPr id="334" name="Straight Connector 333">
                <a:extLst>
                  <a:ext uri="{FF2B5EF4-FFF2-40B4-BE49-F238E27FC236}">
                    <a16:creationId xmlns:a16="http://schemas.microsoft.com/office/drawing/2014/main" id="{B2F9376D-5D83-A81A-DFC0-1F3566A56924}"/>
                  </a:ext>
                </a:extLst>
              </p:cNvPr>
              <p:cNvCxnSpPr>
                <a:cxnSpLocks/>
              </p:cNvCxnSpPr>
              <p:nvPr/>
            </p:nvCxnSpPr>
            <p:spPr>
              <a:xfrm>
                <a:off x="6759721" y="7216842"/>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5" name="Straight Connector 334">
                <a:extLst>
                  <a:ext uri="{FF2B5EF4-FFF2-40B4-BE49-F238E27FC236}">
                    <a16:creationId xmlns:a16="http://schemas.microsoft.com/office/drawing/2014/main" id="{894E1628-767F-1A3C-6675-561C95EF66EC}"/>
                  </a:ext>
                </a:extLst>
              </p:cNvPr>
              <p:cNvCxnSpPr>
                <a:cxnSpLocks/>
              </p:cNvCxnSpPr>
              <p:nvPr/>
            </p:nvCxnSpPr>
            <p:spPr>
              <a:xfrm>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6" name="Straight Connector 335">
                <a:extLst>
                  <a:ext uri="{FF2B5EF4-FFF2-40B4-BE49-F238E27FC236}">
                    <a16:creationId xmlns:a16="http://schemas.microsoft.com/office/drawing/2014/main" id="{0EBF14A1-A1F2-3436-9593-DDE7A65FE90B}"/>
                  </a:ext>
                </a:extLst>
              </p:cNvPr>
              <p:cNvCxnSpPr>
                <a:cxnSpLocks/>
              </p:cNvCxnSpPr>
              <p:nvPr/>
            </p:nvCxnSpPr>
            <p:spPr>
              <a:xfrm flipH="1">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7" name="Straight Connector 336">
                <a:extLst>
                  <a:ext uri="{FF2B5EF4-FFF2-40B4-BE49-F238E27FC236}">
                    <a16:creationId xmlns:a16="http://schemas.microsoft.com/office/drawing/2014/main" id="{8531EEAB-FFAE-5446-1382-C4A748536A46}"/>
                  </a:ext>
                </a:extLst>
              </p:cNvPr>
              <p:cNvCxnSpPr>
                <a:cxnSpLocks/>
              </p:cNvCxnSpPr>
              <p:nvPr/>
            </p:nvCxnSpPr>
            <p:spPr>
              <a:xfrm>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D9E7D99D-9AF6-3CD4-5001-F76FC1EC692C}"/>
                  </a:ext>
                </a:extLst>
              </p:cNvPr>
              <p:cNvCxnSpPr>
                <a:cxnSpLocks/>
              </p:cNvCxnSpPr>
              <p:nvPr/>
            </p:nvCxnSpPr>
            <p:spPr>
              <a:xfrm flipH="1"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02E36504-0AFE-2361-BE8C-5A8BB275BD5B}"/>
                  </a:ext>
                </a:extLst>
              </p:cNvPr>
              <p:cNvCxnSpPr>
                <a:cxnSpLocks/>
              </p:cNvCxnSpPr>
              <p:nvPr/>
            </p:nvCxnSpPr>
            <p:spPr>
              <a:xfrm flipH="1">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7F812F7E-7A00-DD70-F816-97DD040CE422}"/>
                  </a:ext>
                </a:extLst>
              </p:cNvPr>
              <p:cNvCxnSpPr>
                <a:cxnSpLocks/>
              </p:cNvCxnSpPr>
              <p:nvPr/>
            </p:nvCxnSpPr>
            <p:spPr>
              <a:xfrm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9C7328CD-C934-D3E2-1CD0-C8ADEA56B28B}"/>
                  </a:ext>
                </a:extLst>
              </p:cNvPr>
              <p:cNvCxnSpPr>
                <a:cxnSpLocks/>
              </p:cNvCxnSpPr>
              <p:nvPr/>
            </p:nvCxnSpPr>
            <p:spPr>
              <a:xfrm>
                <a:off x="6759721" y="7680305"/>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C9F7329B-6AED-FDA7-DEDF-FB3CAB77AF51}"/>
                  </a:ext>
                </a:extLst>
              </p:cNvPr>
              <p:cNvCxnSpPr>
                <a:cxnSpLocks/>
              </p:cNvCxnSpPr>
              <p:nvPr/>
            </p:nvCxnSpPr>
            <p:spPr>
              <a:xfrm>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36223274-D3DC-8A8B-42C4-1E0394F8A2F3}"/>
                  </a:ext>
                </a:extLst>
              </p:cNvPr>
              <p:cNvCxnSpPr>
                <a:cxnSpLocks/>
              </p:cNvCxnSpPr>
              <p:nvPr/>
            </p:nvCxnSpPr>
            <p:spPr>
              <a:xfrm flipH="1" flipV="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4" name="Straight Connector 343">
                <a:extLst>
                  <a:ext uri="{FF2B5EF4-FFF2-40B4-BE49-F238E27FC236}">
                    <a16:creationId xmlns:a16="http://schemas.microsoft.com/office/drawing/2014/main" id="{D2DADFDB-42C6-F735-2E36-F978E9D62610}"/>
                  </a:ext>
                </a:extLst>
              </p:cNvPr>
              <p:cNvCxnSpPr>
                <a:cxnSpLocks/>
              </p:cNvCxnSpPr>
              <p:nvPr/>
            </p:nvCxnSpPr>
            <p:spPr>
              <a:xfrm flipH="1">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5" name="Straight Connector 344">
                <a:extLst>
                  <a:ext uri="{FF2B5EF4-FFF2-40B4-BE49-F238E27FC236}">
                    <a16:creationId xmlns:a16="http://schemas.microsoft.com/office/drawing/2014/main" id="{AAC38E9D-C773-7885-D314-546C4ADE565E}"/>
                  </a:ext>
                </a:extLst>
              </p:cNvPr>
              <p:cNvCxnSpPr>
                <a:cxnSpLocks/>
              </p:cNvCxnSpPr>
              <p:nvPr/>
            </p:nvCxnSpPr>
            <p:spPr>
              <a:xfrm flipH="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6" name="Straight Connector 345">
                <a:extLst>
                  <a:ext uri="{FF2B5EF4-FFF2-40B4-BE49-F238E27FC236}">
                    <a16:creationId xmlns:a16="http://schemas.microsoft.com/office/drawing/2014/main" id="{335F2DEE-90CC-B5C2-1E2E-BF820D9C8FA4}"/>
                  </a:ext>
                </a:extLst>
              </p:cNvPr>
              <p:cNvCxnSpPr>
                <a:cxnSpLocks/>
              </p:cNvCxnSpPr>
              <p:nvPr/>
            </p:nvCxnSpPr>
            <p:spPr>
              <a:xfrm>
                <a:off x="6759721" y="8143767"/>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7" name="Straight Connector 346">
                <a:extLst>
                  <a:ext uri="{FF2B5EF4-FFF2-40B4-BE49-F238E27FC236}">
                    <a16:creationId xmlns:a16="http://schemas.microsoft.com/office/drawing/2014/main" id="{9EC599B3-C52B-629E-5F0F-C5B325081261}"/>
                  </a:ext>
                </a:extLst>
              </p:cNvPr>
              <p:cNvCxnSpPr>
                <a:cxnSpLocks/>
              </p:cNvCxnSpPr>
              <p:nvPr/>
            </p:nvCxnSpPr>
            <p:spPr>
              <a:xfrm>
                <a:off x="6759721" y="8607230"/>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30F4F4AC-8DBD-E6BD-6D6A-975F013AD699}"/>
                  </a:ext>
                </a:extLst>
              </p:cNvPr>
              <p:cNvCxnSpPr>
                <a:cxnSpLocks/>
              </p:cNvCxnSpPr>
              <p:nvPr/>
            </p:nvCxnSpPr>
            <p:spPr>
              <a:xfrm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6C5786A9-D6DB-81A8-44B0-0B7857D1BBC5}"/>
                  </a:ext>
                </a:extLst>
              </p:cNvPr>
              <p:cNvCxnSpPr>
                <a:cxnSpLocks/>
              </p:cNvCxnSpPr>
              <p:nvPr/>
            </p:nvCxnSpPr>
            <p:spPr>
              <a:xfrm flipH="1"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76BAA2A4-75DD-ECF2-A40F-228497188E04}"/>
                  </a:ext>
                </a:extLst>
              </p:cNvPr>
              <p:cNvCxnSpPr>
                <a:cxnSpLocks/>
              </p:cNvCxnSpPr>
              <p:nvPr/>
            </p:nvCxnSpPr>
            <p:spPr>
              <a:xfrm flipV="1">
                <a:off x="6183496"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B418FED6-F48D-CA95-E1CD-E9B4CDB05117}"/>
                  </a:ext>
                </a:extLst>
              </p:cNvPr>
              <p:cNvCxnSpPr>
                <a:cxnSpLocks/>
              </p:cNvCxnSpPr>
              <p:nvPr/>
            </p:nvCxnSpPr>
            <p:spPr>
              <a:xfrm>
                <a:off x="6183496"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08E35B20-1378-8BAA-1701-058DE315B359}"/>
                  </a:ext>
                </a:extLst>
              </p:cNvPr>
              <p:cNvCxnSpPr>
                <a:cxnSpLocks/>
              </p:cNvCxnSpPr>
              <p:nvPr/>
            </p:nvCxnSpPr>
            <p:spPr>
              <a:xfrm flipV="1">
                <a:off x="6183496"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96223540-D513-4EA1-C1A4-1D4E94DE8C28}"/>
                  </a:ext>
                </a:extLst>
              </p:cNvPr>
              <p:cNvCxnSpPr>
                <a:cxnSpLocks/>
              </p:cNvCxnSpPr>
              <p:nvPr/>
            </p:nvCxnSpPr>
            <p:spPr>
              <a:xfrm>
                <a:off x="6183496" y="791155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43211964-2E90-755D-670D-B2EC0AD568B5}"/>
                  </a:ext>
                </a:extLst>
              </p:cNvPr>
              <p:cNvCxnSpPr>
                <a:cxnSpLocks/>
              </p:cNvCxnSpPr>
              <p:nvPr/>
            </p:nvCxnSpPr>
            <p:spPr>
              <a:xfrm flipV="1">
                <a:off x="6183496"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5" name="Straight Connector 354">
                <a:extLst>
                  <a:ext uri="{FF2B5EF4-FFF2-40B4-BE49-F238E27FC236}">
                    <a16:creationId xmlns:a16="http://schemas.microsoft.com/office/drawing/2014/main" id="{C49DEB9A-B3A9-A055-564B-40975C426144}"/>
                  </a:ext>
                </a:extLst>
              </p:cNvPr>
              <p:cNvCxnSpPr>
                <a:cxnSpLocks/>
              </p:cNvCxnSpPr>
              <p:nvPr/>
            </p:nvCxnSpPr>
            <p:spPr>
              <a:xfrm>
                <a:off x="6183496"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6" name="Straight Connector 355">
                <a:extLst>
                  <a:ext uri="{FF2B5EF4-FFF2-40B4-BE49-F238E27FC236}">
                    <a16:creationId xmlns:a16="http://schemas.microsoft.com/office/drawing/2014/main" id="{B0693953-3505-1CC4-D1F9-B7F20290A992}"/>
                  </a:ext>
                </a:extLst>
              </p:cNvPr>
              <p:cNvCxnSpPr>
                <a:cxnSpLocks/>
              </p:cNvCxnSpPr>
              <p:nvPr/>
            </p:nvCxnSpPr>
            <p:spPr>
              <a:xfrm flipH="1">
                <a:off x="6183496"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7" name="Straight Connector 356">
                <a:extLst>
                  <a:ext uri="{FF2B5EF4-FFF2-40B4-BE49-F238E27FC236}">
                    <a16:creationId xmlns:a16="http://schemas.microsoft.com/office/drawing/2014/main" id="{61049DA3-9AC3-757C-F4A3-B27CC22960E7}"/>
                  </a:ext>
                </a:extLst>
              </p:cNvPr>
              <p:cNvCxnSpPr>
                <a:cxnSpLocks/>
              </p:cNvCxnSpPr>
              <p:nvPr/>
            </p:nvCxnSpPr>
            <p:spPr>
              <a:xfrm flipH="1">
                <a:off x="6183496"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32802678-BB6A-CE57-1A24-8E92AA7F0313}"/>
                  </a:ext>
                </a:extLst>
              </p:cNvPr>
              <p:cNvCxnSpPr>
                <a:cxnSpLocks/>
              </p:cNvCxnSpPr>
              <p:nvPr/>
            </p:nvCxnSpPr>
            <p:spPr>
              <a:xfrm flipH="1" flipV="1">
                <a:off x="6183496"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2381CA20-57CC-6538-052D-FFFD400B06F4}"/>
                  </a:ext>
                </a:extLst>
              </p:cNvPr>
              <p:cNvCxnSpPr>
                <a:cxnSpLocks/>
              </p:cNvCxnSpPr>
              <p:nvPr/>
            </p:nvCxnSpPr>
            <p:spPr>
              <a:xfrm flipH="1">
                <a:off x="6183496"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13F22055-B30C-4BA8-35F4-FF2F1B69271B}"/>
                  </a:ext>
                </a:extLst>
              </p:cNvPr>
              <p:cNvCxnSpPr>
                <a:cxnSpLocks/>
              </p:cNvCxnSpPr>
              <p:nvPr/>
            </p:nvCxnSpPr>
            <p:spPr>
              <a:xfrm flipH="1" flipV="1">
                <a:off x="6183496"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243B911D-3258-5113-C84D-F2FB0AE0C516}"/>
                  </a:ext>
                </a:extLst>
              </p:cNvPr>
              <p:cNvCxnSpPr>
                <a:cxnSpLocks/>
              </p:cNvCxnSpPr>
              <p:nvPr/>
            </p:nvCxnSpPr>
            <p:spPr>
              <a:xfrm flipH="1" flipV="1">
                <a:off x="7331579"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962A7047-31C5-D125-DA93-78E16BF4F902}"/>
                  </a:ext>
                </a:extLst>
              </p:cNvPr>
              <p:cNvCxnSpPr>
                <a:cxnSpLocks/>
              </p:cNvCxnSpPr>
              <p:nvPr/>
            </p:nvCxnSpPr>
            <p:spPr>
              <a:xfrm flipH="1">
                <a:off x="7331579"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94359EE1-EADD-72AD-482C-30FE4A15F08B}"/>
                  </a:ext>
                </a:extLst>
              </p:cNvPr>
              <p:cNvCxnSpPr>
                <a:cxnSpLocks/>
              </p:cNvCxnSpPr>
              <p:nvPr/>
            </p:nvCxnSpPr>
            <p:spPr>
              <a:xfrm flipH="1" flipV="1">
                <a:off x="7331579"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D1F86D5D-ABCA-C9C5-4797-7ED3C64C2566}"/>
                  </a:ext>
                </a:extLst>
              </p:cNvPr>
              <p:cNvCxnSpPr>
                <a:cxnSpLocks/>
              </p:cNvCxnSpPr>
              <p:nvPr/>
            </p:nvCxnSpPr>
            <p:spPr>
              <a:xfrm flipH="1">
                <a:off x="7331579" y="7912515"/>
                <a:ext cx="282924"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98E5F548-BB31-F353-168A-448FB0B56FFF}"/>
                  </a:ext>
                </a:extLst>
              </p:cNvPr>
              <p:cNvCxnSpPr>
                <a:cxnSpLocks/>
              </p:cNvCxnSpPr>
              <p:nvPr/>
            </p:nvCxnSpPr>
            <p:spPr>
              <a:xfrm flipH="1" flipV="1">
                <a:off x="7331579"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7CCD96C5-CD8F-EBD0-3D9E-5FE8EC57AB00}"/>
                  </a:ext>
                </a:extLst>
              </p:cNvPr>
              <p:cNvCxnSpPr>
                <a:cxnSpLocks/>
              </p:cNvCxnSpPr>
              <p:nvPr/>
            </p:nvCxnSpPr>
            <p:spPr>
              <a:xfrm flipH="1">
                <a:off x="7331579"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CDF618DB-A712-2748-055D-A8894F6B1FF6}"/>
                  </a:ext>
                </a:extLst>
              </p:cNvPr>
              <p:cNvCxnSpPr>
                <a:cxnSpLocks/>
              </p:cNvCxnSpPr>
              <p:nvPr/>
            </p:nvCxnSpPr>
            <p:spPr>
              <a:xfrm>
                <a:off x="7331579"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D4C63A2-769B-76BB-A81D-EB7E1E421CD5}"/>
                  </a:ext>
                </a:extLst>
              </p:cNvPr>
              <p:cNvCxnSpPr>
                <a:cxnSpLocks/>
              </p:cNvCxnSpPr>
              <p:nvPr/>
            </p:nvCxnSpPr>
            <p:spPr>
              <a:xfrm>
                <a:off x="7331579"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4B4FEE2C-7334-5453-C737-0FAA4782015B}"/>
                  </a:ext>
                </a:extLst>
              </p:cNvPr>
              <p:cNvCxnSpPr>
                <a:cxnSpLocks/>
              </p:cNvCxnSpPr>
              <p:nvPr/>
            </p:nvCxnSpPr>
            <p:spPr>
              <a:xfrm flipV="1">
                <a:off x="7331579"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E1C4C8C6-9FE8-3379-A593-7F992DB6E132}"/>
                  </a:ext>
                </a:extLst>
              </p:cNvPr>
              <p:cNvCxnSpPr>
                <a:cxnSpLocks/>
              </p:cNvCxnSpPr>
              <p:nvPr/>
            </p:nvCxnSpPr>
            <p:spPr>
              <a:xfrm>
                <a:off x="7331579"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DDD56E82-C183-31F5-938D-E579D25C425B}"/>
                  </a:ext>
                </a:extLst>
              </p:cNvPr>
              <p:cNvCxnSpPr>
                <a:cxnSpLocks/>
              </p:cNvCxnSpPr>
              <p:nvPr/>
            </p:nvCxnSpPr>
            <p:spPr>
              <a:xfrm flipV="1">
                <a:off x="7331579"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372" name="Oval 371">
                <a:extLst>
                  <a:ext uri="{FF2B5EF4-FFF2-40B4-BE49-F238E27FC236}">
                    <a16:creationId xmlns:a16="http://schemas.microsoft.com/office/drawing/2014/main" id="{52A826AE-C814-56CA-F65A-048A5961A978}"/>
                  </a:ext>
                </a:extLst>
              </p:cNvPr>
              <p:cNvSpPr>
                <a:spLocks noChangeAspect="1"/>
              </p:cNvSpPr>
              <p:nvPr/>
            </p:nvSpPr>
            <p:spPr>
              <a:xfrm>
                <a:off x="590744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3" name="Oval 372">
                <a:extLst>
                  <a:ext uri="{FF2B5EF4-FFF2-40B4-BE49-F238E27FC236}">
                    <a16:creationId xmlns:a16="http://schemas.microsoft.com/office/drawing/2014/main" id="{0B6FF444-660B-7961-7553-6BB496ABCDC7}"/>
                  </a:ext>
                </a:extLst>
              </p:cNvPr>
              <p:cNvSpPr>
                <a:spLocks noChangeAspect="1"/>
              </p:cNvSpPr>
              <p:nvPr/>
            </p:nvSpPr>
            <p:spPr>
              <a:xfrm>
                <a:off x="5907442"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4" name="Oval 373">
                <a:extLst>
                  <a:ext uri="{FF2B5EF4-FFF2-40B4-BE49-F238E27FC236}">
                    <a16:creationId xmlns:a16="http://schemas.microsoft.com/office/drawing/2014/main" id="{DF958461-030B-2EA6-18A9-8381CDCA4F36}"/>
                  </a:ext>
                </a:extLst>
              </p:cNvPr>
              <p:cNvSpPr>
                <a:spLocks noChangeAspect="1"/>
              </p:cNvSpPr>
              <p:nvPr/>
            </p:nvSpPr>
            <p:spPr>
              <a:xfrm>
                <a:off x="5907442"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5" name="Oval 374">
                <a:extLst>
                  <a:ext uri="{FF2B5EF4-FFF2-40B4-BE49-F238E27FC236}">
                    <a16:creationId xmlns:a16="http://schemas.microsoft.com/office/drawing/2014/main" id="{72F1D574-8A82-614F-39FB-5DAB3B178BDE}"/>
                  </a:ext>
                </a:extLst>
              </p:cNvPr>
              <p:cNvSpPr>
                <a:spLocks noChangeAspect="1"/>
              </p:cNvSpPr>
              <p:nvPr/>
            </p:nvSpPr>
            <p:spPr>
              <a:xfrm>
                <a:off x="763175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6" name="Oval 375">
                <a:extLst>
                  <a:ext uri="{FF2B5EF4-FFF2-40B4-BE49-F238E27FC236}">
                    <a16:creationId xmlns:a16="http://schemas.microsoft.com/office/drawing/2014/main" id="{687680BD-B56D-9F3F-25E3-E9600A27E5F5}"/>
                  </a:ext>
                </a:extLst>
              </p:cNvPr>
              <p:cNvSpPr>
                <a:spLocks noChangeAspect="1"/>
              </p:cNvSpPr>
              <p:nvPr/>
            </p:nvSpPr>
            <p:spPr>
              <a:xfrm>
                <a:off x="7631753"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7" name="Oval 376">
                <a:extLst>
                  <a:ext uri="{FF2B5EF4-FFF2-40B4-BE49-F238E27FC236}">
                    <a16:creationId xmlns:a16="http://schemas.microsoft.com/office/drawing/2014/main" id="{B79854B9-E8FA-2508-2CE6-D6601A7F3C79}"/>
                  </a:ext>
                </a:extLst>
              </p:cNvPr>
              <p:cNvSpPr>
                <a:spLocks noChangeAspect="1"/>
              </p:cNvSpPr>
              <p:nvPr/>
            </p:nvSpPr>
            <p:spPr>
              <a:xfrm>
                <a:off x="7631754"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8" name="Oval 377">
                <a:extLst>
                  <a:ext uri="{FF2B5EF4-FFF2-40B4-BE49-F238E27FC236}">
                    <a16:creationId xmlns:a16="http://schemas.microsoft.com/office/drawing/2014/main" id="{E424FA9B-3E21-30AF-F616-5A12681C794D}"/>
                  </a:ext>
                </a:extLst>
              </p:cNvPr>
              <p:cNvSpPr>
                <a:spLocks noChangeAspect="1"/>
              </p:cNvSpPr>
              <p:nvPr/>
            </p:nvSpPr>
            <p:spPr>
              <a:xfrm>
                <a:off x="7055526"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79" name="Oval 378">
                <a:extLst>
                  <a:ext uri="{FF2B5EF4-FFF2-40B4-BE49-F238E27FC236}">
                    <a16:creationId xmlns:a16="http://schemas.microsoft.com/office/drawing/2014/main" id="{BE976BD9-1AA7-44F7-2DB5-5436079623FE}"/>
                  </a:ext>
                </a:extLst>
              </p:cNvPr>
              <p:cNvSpPr>
                <a:spLocks noChangeAspect="1"/>
              </p:cNvSpPr>
              <p:nvPr/>
            </p:nvSpPr>
            <p:spPr>
              <a:xfrm>
                <a:off x="7055526"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0" name="Oval 379">
                <a:extLst>
                  <a:ext uri="{FF2B5EF4-FFF2-40B4-BE49-F238E27FC236}">
                    <a16:creationId xmlns:a16="http://schemas.microsoft.com/office/drawing/2014/main" id="{769E94E4-DA1E-BD1D-02A9-FF7F687DAE47}"/>
                  </a:ext>
                </a:extLst>
              </p:cNvPr>
              <p:cNvSpPr>
                <a:spLocks noChangeAspect="1"/>
              </p:cNvSpPr>
              <p:nvPr/>
            </p:nvSpPr>
            <p:spPr>
              <a:xfrm>
                <a:off x="7055526"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1" name="Oval 380">
                <a:extLst>
                  <a:ext uri="{FF2B5EF4-FFF2-40B4-BE49-F238E27FC236}">
                    <a16:creationId xmlns:a16="http://schemas.microsoft.com/office/drawing/2014/main" id="{0E4CC7BF-C818-7447-DAAF-E2C0A1838FC2}"/>
                  </a:ext>
                </a:extLst>
              </p:cNvPr>
              <p:cNvSpPr>
                <a:spLocks noChangeAspect="1"/>
              </p:cNvSpPr>
              <p:nvPr/>
            </p:nvSpPr>
            <p:spPr>
              <a:xfrm>
                <a:off x="7055526"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2" name="Oval 381">
                <a:extLst>
                  <a:ext uri="{FF2B5EF4-FFF2-40B4-BE49-F238E27FC236}">
                    <a16:creationId xmlns:a16="http://schemas.microsoft.com/office/drawing/2014/main" id="{D9B6DCCB-FF94-28C4-ED55-DB13082DCD7D}"/>
                  </a:ext>
                </a:extLst>
              </p:cNvPr>
              <p:cNvSpPr>
                <a:spLocks noChangeAspect="1"/>
              </p:cNvSpPr>
              <p:nvPr/>
            </p:nvSpPr>
            <p:spPr>
              <a:xfrm>
                <a:off x="6483668"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3" name="Oval 382">
                <a:extLst>
                  <a:ext uri="{FF2B5EF4-FFF2-40B4-BE49-F238E27FC236}">
                    <a16:creationId xmlns:a16="http://schemas.microsoft.com/office/drawing/2014/main" id="{4989A372-CF2D-FA53-FD9A-0B66BE559D3E}"/>
                  </a:ext>
                </a:extLst>
              </p:cNvPr>
              <p:cNvSpPr>
                <a:spLocks noChangeAspect="1"/>
              </p:cNvSpPr>
              <p:nvPr/>
            </p:nvSpPr>
            <p:spPr>
              <a:xfrm>
                <a:off x="6483668"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4" name="Oval 383">
                <a:extLst>
                  <a:ext uri="{FF2B5EF4-FFF2-40B4-BE49-F238E27FC236}">
                    <a16:creationId xmlns:a16="http://schemas.microsoft.com/office/drawing/2014/main" id="{7947D1A4-8C53-4D2B-3235-B5415A9374C2}"/>
                  </a:ext>
                </a:extLst>
              </p:cNvPr>
              <p:cNvSpPr>
                <a:spLocks noChangeAspect="1"/>
              </p:cNvSpPr>
              <p:nvPr/>
            </p:nvSpPr>
            <p:spPr>
              <a:xfrm>
                <a:off x="6483668"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385" name="Oval 384">
                <a:extLst>
                  <a:ext uri="{FF2B5EF4-FFF2-40B4-BE49-F238E27FC236}">
                    <a16:creationId xmlns:a16="http://schemas.microsoft.com/office/drawing/2014/main" id="{8746BB52-5298-37D2-2F8F-7A7B13C89542}"/>
                  </a:ext>
                </a:extLst>
              </p:cNvPr>
              <p:cNvSpPr>
                <a:spLocks noChangeAspect="1"/>
              </p:cNvSpPr>
              <p:nvPr/>
            </p:nvSpPr>
            <p:spPr>
              <a:xfrm>
                <a:off x="6483668"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sp>
        <p:nvSpPr>
          <p:cNvPr id="386" name="Rounded Rectangle 385">
            <a:extLst>
              <a:ext uri="{FF2B5EF4-FFF2-40B4-BE49-F238E27FC236}">
                <a16:creationId xmlns:a16="http://schemas.microsoft.com/office/drawing/2014/main" id="{0759C6B5-E75A-A8F3-4210-9778F2855DA5}"/>
              </a:ext>
            </a:extLst>
          </p:cNvPr>
          <p:cNvSpPr/>
          <p:nvPr/>
        </p:nvSpPr>
        <p:spPr>
          <a:xfrm>
            <a:off x="10817231" y="4960027"/>
            <a:ext cx="2447505" cy="768679"/>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Explain Output</a:t>
            </a:r>
          </a:p>
        </p:txBody>
      </p:sp>
      <p:grpSp>
        <p:nvGrpSpPr>
          <p:cNvPr id="387" name="Group 386">
            <a:extLst>
              <a:ext uri="{FF2B5EF4-FFF2-40B4-BE49-F238E27FC236}">
                <a16:creationId xmlns:a16="http://schemas.microsoft.com/office/drawing/2014/main" id="{269F9E3A-9B3A-D865-1842-44F9C7A33F07}"/>
              </a:ext>
            </a:extLst>
          </p:cNvPr>
          <p:cNvGrpSpPr/>
          <p:nvPr/>
        </p:nvGrpSpPr>
        <p:grpSpPr>
          <a:xfrm>
            <a:off x="14071610" y="2665505"/>
            <a:ext cx="2766044" cy="924126"/>
            <a:chOff x="14071610" y="2665505"/>
            <a:chExt cx="2766044" cy="924126"/>
          </a:xfrm>
        </p:grpSpPr>
        <p:sp>
          <p:nvSpPr>
            <p:cNvPr id="388" name="Rounded Rectangle 387">
              <a:extLst>
                <a:ext uri="{FF2B5EF4-FFF2-40B4-BE49-F238E27FC236}">
                  <a16:creationId xmlns:a16="http://schemas.microsoft.com/office/drawing/2014/main" id="{79C15360-47C5-DC6D-0197-F5EBC0B0BFB8}"/>
                </a:ext>
              </a:extLst>
            </p:cNvPr>
            <p:cNvSpPr/>
            <p:nvPr/>
          </p:nvSpPr>
          <p:spPr>
            <a:xfrm>
              <a:off x="14390149" y="2665505"/>
              <a:ext cx="2447505" cy="924126"/>
            </a:xfrm>
            <a:prstGeom prst="roundRect">
              <a:avLst/>
            </a:prstGeom>
            <a:solidFill>
              <a:schemeClr val="accent4"/>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Reply</a:t>
              </a:r>
              <a:br>
                <a:rPr kumimoji="0" lang="en-US" sz="2000" b="0" i="0" u="none" strike="noStrike" kern="1200" cap="none" spc="100" normalizeH="0" baseline="0" noProof="0">
                  <a:ln>
                    <a:noFill/>
                  </a:ln>
                  <a:solidFill>
                    <a:srgbClr val="BAC0C9"/>
                  </a:solidFill>
                  <a:effectLst/>
                  <a:uLnTx/>
                  <a:uFillTx/>
                  <a:latin typeface="Anova Bold"/>
                  <a:ea typeface="+mn-ea"/>
                  <a:cs typeface="+mn-cs"/>
                </a:rPr>
              </a:br>
              <a:r>
                <a:rPr kumimoji="0" lang="en-US" sz="2000" b="0" i="0" u="none" strike="noStrike" kern="1200" cap="none" spc="100" normalizeH="0" baseline="0" noProof="0">
                  <a:ln>
                    <a:noFill/>
                  </a:ln>
                  <a:solidFill>
                    <a:srgbClr val="BAC0C9"/>
                  </a:solidFill>
                  <a:effectLst/>
                  <a:uLnTx/>
                  <a:uFillTx/>
                  <a:latin typeface="Anova Bold"/>
                  <a:ea typeface="+mn-ea"/>
                  <a:cs typeface="+mn-cs"/>
                </a:rPr>
                <a:t>Generated</a:t>
              </a:r>
            </a:p>
          </p:txBody>
        </p:sp>
        <p:grpSp>
          <p:nvGrpSpPr>
            <p:cNvPr id="389" name="Group 388">
              <a:extLst>
                <a:ext uri="{FF2B5EF4-FFF2-40B4-BE49-F238E27FC236}">
                  <a16:creationId xmlns:a16="http://schemas.microsoft.com/office/drawing/2014/main" id="{4E5E844E-B388-9B34-9318-655363941AEE}"/>
                </a:ext>
              </a:extLst>
            </p:cNvPr>
            <p:cNvGrpSpPr>
              <a:grpSpLocks noChangeAspect="1"/>
            </p:cNvGrpSpPr>
            <p:nvPr/>
          </p:nvGrpSpPr>
          <p:grpSpPr>
            <a:xfrm>
              <a:off x="14071610" y="2904132"/>
              <a:ext cx="637077" cy="457200"/>
              <a:chOff x="12194555" y="8098828"/>
              <a:chExt cx="2530299" cy="1815880"/>
            </a:xfrm>
            <a:solidFill>
              <a:schemeClr val="accent4"/>
            </a:solidFill>
          </p:grpSpPr>
          <p:sp>
            <p:nvSpPr>
              <p:cNvPr id="390" name="Freeform 389">
                <a:extLst>
                  <a:ext uri="{FF2B5EF4-FFF2-40B4-BE49-F238E27FC236}">
                    <a16:creationId xmlns:a16="http://schemas.microsoft.com/office/drawing/2014/main" id="{38C16DE7-CA54-94A3-9AE0-3FADD1FEF424}"/>
                  </a:ext>
                </a:extLst>
              </p:cNvPr>
              <p:cNvSpPr>
                <a:spLocks noChangeAspect="1"/>
              </p:cNvSpPr>
              <p:nvPr/>
            </p:nvSpPr>
            <p:spPr>
              <a:xfrm>
                <a:off x="12194555" y="8098828"/>
                <a:ext cx="2530299" cy="1815880"/>
              </a:xfrm>
              <a:custGeom>
                <a:avLst/>
                <a:gdLst>
                  <a:gd name="connsiteX0" fmla="*/ 1318428 w 1391051"/>
                  <a:gd name="connsiteY0" fmla="*/ 0 h 998292"/>
                  <a:gd name="connsiteX1" fmla="*/ 1391052 w 1391051"/>
                  <a:gd name="connsiteY1" fmla="*/ 72379 h 998292"/>
                  <a:gd name="connsiteX2" fmla="*/ 1391052 w 1391051"/>
                  <a:gd name="connsiteY2" fmla="*/ 925913 h 998292"/>
                  <a:gd name="connsiteX3" fmla="*/ 1318428 w 1391051"/>
                  <a:gd name="connsiteY3" fmla="*/ 998292 h 998292"/>
                  <a:gd name="connsiteX4" fmla="*/ 72624 w 1391051"/>
                  <a:gd name="connsiteY4" fmla="*/ 998292 h 998292"/>
                  <a:gd name="connsiteX5" fmla="*/ 0 w 1391051"/>
                  <a:gd name="connsiteY5" fmla="*/ 925913 h 998292"/>
                  <a:gd name="connsiteX6" fmla="*/ 0 w 1391051"/>
                  <a:gd name="connsiteY6" fmla="*/ 72379 h 998292"/>
                  <a:gd name="connsiteX7" fmla="*/ 72624 w 1391051"/>
                  <a:gd name="connsiteY7" fmla="*/ 0 h 99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1051" h="998292">
                    <a:moveTo>
                      <a:pt x="1318428" y="0"/>
                    </a:moveTo>
                    <a:cubicBezTo>
                      <a:pt x="1358537" y="0"/>
                      <a:pt x="1391052" y="32405"/>
                      <a:pt x="1391052" y="72379"/>
                    </a:cubicBezTo>
                    <a:lnTo>
                      <a:pt x="1391052" y="925913"/>
                    </a:lnTo>
                    <a:cubicBezTo>
                      <a:pt x="1391052" y="965887"/>
                      <a:pt x="1358537" y="998292"/>
                      <a:pt x="1318428" y="998292"/>
                    </a:cubicBezTo>
                    <a:lnTo>
                      <a:pt x="72624" y="998292"/>
                    </a:lnTo>
                    <a:cubicBezTo>
                      <a:pt x="32515" y="998292"/>
                      <a:pt x="0" y="965887"/>
                      <a:pt x="0" y="925913"/>
                    </a:cubicBezTo>
                    <a:lnTo>
                      <a:pt x="0" y="72379"/>
                    </a:lnTo>
                    <a:cubicBezTo>
                      <a:pt x="0" y="32405"/>
                      <a:pt x="32515" y="0"/>
                      <a:pt x="72624" y="0"/>
                    </a:cubicBezTo>
                    <a:close/>
                  </a:path>
                </a:pathLst>
              </a:custGeom>
              <a:grpFill/>
              <a:ln w="1905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391" name="Freeform 390">
                <a:extLst>
                  <a:ext uri="{FF2B5EF4-FFF2-40B4-BE49-F238E27FC236}">
                    <a16:creationId xmlns:a16="http://schemas.microsoft.com/office/drawing/2014/main" id="{333BBE59-79EE-30D7-4DE4-7E1F20899040}"/>
                  </a:ext>
                </a:extLst>
              </p:cNvPr>
              <p:cNvSpPr>
                <a:spLocks noChangeAspect="1"/>
              </p:cNvSpPr>
              <p:nvPr/>
            </p:nvSpPr>
            <p:spPr>
              <a:xfrm>
                <a:off x="12246201" y="8152752"/>
                <a:ext cx="2428413" cy="921595"/>
              </a:xfrm>
              <a:custGeom>
                <a:avLst/>
                <a:gdLst>
                  <a:gd name="connsiteX0" fmla="*/ 0 w 1335038"/>
                  <a:gd name="connsiteY0" fmla="*/ 2887 h 506653"/>
                  <a:gd name="connsiteX1" fmla="*/ 667519 w 1335038"/>
                  <a:gd name="connsiteY1" fmla="*/ 506654 h 506653"/>
                  <a:gd name="connsiteX2" fmla="*/ 1335039 w 1335038"/>
                  <a:gd name="connsiteY2" fmla="*/ 0 h 506653"/>
                </a:gdLst>
                <a:ahLst/>
                <a:cxnLst>
                  <a:cxn ang="0">
                    <a:pos x="connsiteX0" y="connsiteY0"/>
                  </a:cxn>
                  <a:cxn ang="0">
                    <a:pos x="connsiteX1" y="connsiteY1"/>
                  </a:cxn>
                  <a:cxn ang="0">
                    <a:pos x="connsiteX2" y="connsiteY2"/>
                  </a:cxn>
                </a:cxnLst>
                <a:rect l="l" t="t" r="r" b="b"/>
                <a:pathLst>
                  <a:path w="1335038" h="506653">
                    <a:moveTo>
                      <a:pt x="0" y="2887"/>
                    </a:moveTo>
                    <a:lnTo>
                      <a:pt x="667519" y="506654"/>
                    </a:lnTo>
                    <a:lnTo>
                      <a:pt x="1335039" y="0"/>
                    </a:lnTo>
                  </a:path>
                </a:pathLst>
              </a:custGeom>
              <a:grpFill/>
              <a:ln w="1905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grpSp>
      <p:cxnSp>
        <p:nvCxnSpPr>
          <p:cNvPr id="392" name="Straight Arrow Connector 391">
            <a:extLst>
              <a:ext uri="{FF2B5EF4-FFF2-40B4-BE49-F238E27FC236}">
                <a16:creationId xmlns:a16="http://schemas.microsoft.com/office/drawing/2014/main" id="{F15EA05B-3352-A2D1-C365-D42F8F982F8E}"/>
              </a:ext>
            </a:extLst>
          </p:cNvPr>
          <p:cNvCxnSpPr/>
          <p:nvPr/>
        </p:nvCxnSpPr>
        <p:spPr>
          <a:xfrm>
            <a:off x="10407262" y="3127568"/>
            <a:ext cx="3430658" cy="0"/>
          </a:xfrm>
          <a:prstGeom prst="straightConnector1">
            <a:avLst/>
          </a:prstGeom>
          <a:ln w="41275">
            <a:gradFill flip="none" rotWithShape="1">
              <a:gsLst>
                <a:gs pos="83000">
                  <a:schemeClr val="accent6"/>
                </a:gs>
                <a:gs pos="100000">
                  <a:schemeClr val="accent5">
                    <a:alpha val="0"/>
                  </a:schemeClr>
                </a:gs>
              </a:gsLst>
              <a:lin ang="10800000" scaled="1"/>
              <a:tileRect/>
            </a:gradFill>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80920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318"/>
                                        </p:tgtEl>
                                        <p:attrNameLst>
                                          <p:attrName>style.visibility</p:attrName>
                                        </p:attrNameLst>
                                      </p:cBhvr>
                                      <p:to>
                                        <p:strVal val="visible"/>
                                      </p:to>
                                    </p:set>
                                    <p:animEffect transition="in" filter="wipe(left)">
                                      <p:cBhvr>
                                        <p:cTn id="7" dur="500"/>
                                        <p:tgtEl>
                                          <p:spTgt spid="318"/>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par>
                          <p:cTn id="12" fill="hold">
                            <p:stCondLst>
                              <p:cond delay="1000"/>
                            </p:stCondLst>
                            <p:childTnLst>
                              <p:par>
                                <p:cTn id="13" presetID="12" presetClass="entr" presetSubtype="4" fill="hold" grpId="0" nodeType="afterEffect">
                                  <p:stCondLst>
                                    <p:cond delay="0"/>
                                  </p:stCondLst>
                                  <p:childTnLst>
                                    <p:set>
                                      <p:cBhvr>
                                        <p:cTn id="14" dur="1" fill="hold">
                                          <p:stCondLst>
                                            <p:cond delay="0"/>
                                          </p:stCondLst>
                                        </p:cTn>
                                        <p:tgtEl>
                                          <p:spTgt spid="386"/>
                                        </p:tgtEl>
                                        <p:attrNameLst>
                                          <p:attrName>style.visibility</p:attrName>
                                        </p:attrNameLst>
                                      </p:cBhvr>
                                      <p:to>
                                        <p:strVal val="visible"/>
                                      </p:to>
                                    </p:set>
                                    <p:anim calcmode="lin" valueType="num">
                                      <p:cBhvr additive="base">
                                        <p:cTn id="15" dur="500"/>
                                        <p:tgtEl>
                                          <p:spTgt spid="386"/>
                                        </p:tgtEl>
                                        <p:attrNameLst>
                                          <p:attrName>ppt_y</p:attrName>
                                        </p:attrNameLst>
                                      </p:cBhvr>
                                      <p:tavLst>
                                        <p:tav tm="0">
                                          <p:val>
                                            <p:strVal val="#ppt_y+#ppt_h*1.125000"/>
                                          </p:val>
                                        </p:tav>
                                        <p:tav tm="100000">
                                          <p:val>
                                            <p:strVal val="#ppt_y"/>
                                          </p:val>
                                        </p:tav>
                                      </p:tavLst>
                                    </p:anim>
                                    <p:animEffect transition="in" filter="wipe(up)">
                                      <p:cBhvr>
                                        <p:cTn id="16" dur="500"/>
                                        <p:tgtEl>
                                          <p:spTgt spid="386"/>
                                        </p:tgtEl>
                                      </p:cBhvr>
                                    </p:animEffect>
                                  </p:childTnLst>
                                </p:cTn>
                              </p:par>
                            </p:childTnLst>
                          </p:cTn>
                        </p:par>
                        <p:par>
                          <p:cTn id="17" fill="hold">
                            <p:stCondLst>
                              <p:cond delay="1500"/>
                            </p:stCondLst>
                            <p:childTnLst>
                              <p:par>
                                <p:cTn id="18" presetID="12" presetClass="entr" presetSubtype="4" fill="hold" grpId="0" nodeType="afterEffect">
                                  <p:stCondLst>
                                    <p:cond delay="0"/>
                                  </p:stCondLst>
                                  <p:childTnLst>
                                    <p:set>
                                      <p:cBhvr>
                                        <p:cTn id="19" dur="1" fill="hold">
                                          <p:stCondLst>
                                            <p:cond delay="0"/>
                                          </p:stCondLst>
                                        </p:cTn>
                                        <p:tgtEl>
                                          <p:spTgt spid="316"/>
                                        </p:tgtEl>
                                        <p:attrNameLst>
                                          <p:attrName>style.visibility</p:attrName>
                                        </p:attrNameLst>
                                      </p:cBhvr>
                                      <p:to>
                                        <p:strVal val="visible"/>
                                      </p:to>
                                    </p:set>
                                    <p:anim calcmode="lin" valueType="num">
                                      <p:cBhvr additive="base">
                                        <p:cTn id="20" dur="500"/>
                                        <p:tgtEl>
                                          <p:spTgt spid="316"/>
                                        </p:tgtEl>
                                        <p:attrNameLst>
                                          <p:attrName>ppt_y</p:attrName>
                                        </p:attrNameLst>
                                      </p:cBhvr>
                                      <p:tavLst>
                                        <p:tav tm="0">
                                          <p:val>
                                            <p:strVal val="#ppt_y+#ppt_h*1.125000"/>
                                          </p:val>
                                        </p:tav>
                                        <p:tav tm="100000">
                                          <p:val>
                                            <p:strVal val="#ppt_y"/>
                                          </p:val>
                                        </p:tav>
                                      </p:tavLst>
                                    </p:anim>
                                    <p:animEffect transition="in" filter="wipe(up)">
                                      <p:cBhvr>
                                        <p:cTn id="21" dur="500"/>
                                        <p:tgtEl>
                                          <p:spTgt spid="316"/>
                                        </p:tgtEl>
                                      </p:cBhvr>
                                    </p:animEffect>
                                  </p:childTnLst>
                                </p:cTn>
                              </p:par>
                            </p:childTnLst>
                          </p:cTn>
                        </p:par>
                        <p:par>
                          <p:cTn id="22" fill="hold">
                            <p:stCondLst>
                              <p:cond delay="2000"/>
                            </p:stCondLst>
                            <p:childTnLst>
                              <p:par>
                                <p:cTn id="23" presetID="22" presetClass="entr" presetSubtype="4" fill="hold" nodeType="afterEffect">
                                  <p:stCondLst>
                                    <p:cond delay="0"/>
                                  </p:stCondLst>
                                  <p:childTnLst>
                                    <p:set>
                                      <p:cBhvr>
                                        <p:cTn id="24" dur="1" fill="hold">
                                          <p:stCondLst>
                                            <p:cond delay="0"/>
                                          </p:stCondLst>
                                        </p:cTn>
                                        <p:tgtEl>
                                          <p:spTgt spid="317"/>
                                        </p:tgtEl>
                                        <p:attrNameLst>
                                          <p:attrName>style.visibility</p:attrName>
                                        </p:attrNameLst>
                                      </p:cBhvr>
                                      <p:to>
                                        <p:strVal val="visible"/>
                                      </p:to>
                                    </p:set>
                                    <p:animEffect transition="in" filter="wipe(down)">
                                      <p:cBhvr>
                                        <p:cTn id="25" dur="500"/>
                                        <p:tgtEl>
                                          <p:spTgt spid="317"/>
                                        </p:tgtEl>
                                      </p:cBhvr>
                                    </p:animEffect>
                                  </p:childTnLst>
                                </p:cTn>
                              </p:par>
                            </p:childTnLst>
                          </p:cTn>
                        </p:par>
                        <p:par>
                          <p:cTn id="26" fill="hold">
                            <p:stCondLst>
                              <p:cond delay="2500"/>
                            </p:stCondLst>
                            <p:childTnLst>
                              <p:par>
                                <p:cTn id="27" presetID="22" presetClass="entr" presetSubtype="8" fill="hold" nodeType="afterEffect">
                                  <p:stCondLst>
                                    <p:cond delay="0"/>
                                  </p:stCondLst>
                                  <p:childTnLst>
                                    <p:set>
                                      <p:cBhvr>
                                        <p:cTn id="28" dur="1" fill="hold">
                                          <p:stCondLst>
                                            <p:cond delay="0"/>
                                          </p:stCondLst>
                                        </p:cTn>
                                        <p:tgtEl>
                                          <p:spTgt spid="392"/>
                                        </p:tgtEl>
                                        <p:attrNameLst>
                                          <p:attrName>style.visibility</p:attrName>
                                        </p:attrNameLst>
                                      </p:cBhvr>
                                      <p:to>
                                        <p:strVal val="visible"/>
                                      </p:to>
                                    </p:set>
                                    <p:animEffect transition="in" filter="wipe(left)">
                                      <p:cBhvr>
                                        <p:cTn id="29" dur="500"/>
                                        <p:tgtEl>
                                          <p:spTgt spid="392"/>
                                        </p:tgtEl>
                                      </p:cBhvr>
                                    </p:animEffect>
                                  </p:childTnLst>
                                </p:cTn>
                              </p:par>
                            </p:childTnLst>
                          </p:cTn>
                        </p:par>
                        <p:par>
                          <p:cTn id="30" fill="hold">
                            <p:stCondLst>
                              <p:cond delay="3000"/>
                            </p:stCondLst>
                            <p:childTnLst>
                              <p:par>
                                <p:cTn id="31" presetID="22" presetClass="entr" presetSubtype="8" fill="hold" nodeType="afterEffect">
                                  <p:stCondLst>
                                    <p:cond delay="0"/>
                                  </p:stCondLst>
                                  <p:childTnLst>
                                    <p:set>
                                      <p:cBhvr>
                                        <p:cTn id="32" dur="1" fill="hold">
                                          <p:stCondLst>
                                            <p:cond delay="0"/>
                                          </p:stCondLst>
                                        </p:cTn>
                                        <p:tgtEl>
                                          <p:spTgt spid="387"/>
                                        </p:tgtEl>
                                        <p:attrNameLst>
                                          <p:attrName>style.visibility</p:attrName>
                                        </p:attrNameLst>
                                      </p:cBhvr>
                                      <p:to>
                                        <p:strVal val="visible"/>
                                      </p:to>
                                    </p:set>
                                    <p:animEffect transition="in" filter="wipe(left)">
                                      <p:cBhvr>
                                        <p:cTn id="33" dur="500"/>
                                        <p:tgtEl>
                                          <p:spTgt spid="38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6" grpId="0" animBg="1"/>
      <p:bldP spid="386"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Arrow Connector 1">
            <a:extLst>
              <a:ext uri="{FF2B5EF4-FFF2-40B4-BE49-F238E27FC236}">
                <a16:creationId xmlns:a16="http://schemas.microsoft.com/office/drawing/2014/main" id="{01881045-666F-8D7B-E820-38E1BF2BEEF3}"/>
              </a:ext>
            </a:extLst>
          </p:cNvPr>
          <p:cNvCxnSpPr>
            <a:cxnSpLocks/>
          </p:cNvCxnSpPr>
          <p:nvPr/>
        </p:nvCxnSpPr>
        <p:spPr>
          <a:xfrm>
            <a:off x="15613901" y="6497629"/>
            <a:ext cx="0" cy="1548677"/>
          </a:xfrm>
          <a:prstGeom prst="straightConnector1">
            <a:avLst/>
          </a:prstGeom>
          <a:ln w="41275">
            <a:gradFill>
              <a:gsLst>
                <a:gs pos="0">
                  <a:schemeClr val="accent4"/>
                </a:gs>
                <a:gs pos="20000">
                  <a:schemeClr val="accent1">
                    <a:lumMod val="45000"/>
                    <a:lumOff val="55000"/>
                  </a:schemeClr>
                </a:gs>
                <a:gs pos="100000">
                  <a:schemeClr val="accent3"/>
                </a:gs>
              </a:gsLst>
              <a:lin ang="5400000" scaled="1"/>
            </a:gradFill>
            <a:tailEnd type="arrow" w="lg" len="sm"/>
          </a:ln>
        </p:spPr>
        <p:style>
          <a:lnRef idx="1">
            <a:schemeClr val="accent1"/>
          </a:lnRef>
          <a:fillRef idx="0">
            <a:schemeClr val="accent1"/>
          </a:fillRef>
          <a:effectRef idx="0">
            <a:schemeClr val="accent1"/>
          </a:effectRef>
          <a:fontRef idx="minor">
            <a:schemeClr val="tx1"/>
          </a:fontRef>
        </p:style>
      </p:cxnSp>
      <p:sp>
        <p:nvSpPr>
          <p:cNvPr id="3" name="Rounded Rectangle 2">
            <a:extLst>
              <a:ext uri="{FF2B5EF4-FFF2-40B4-BE49-F238E27FC236}">
                <a16:creationId xmlns:a16="http://schemas.microsoft.com/office/drawing/2014/main" id="{5C233FAB-C05E-1A09-1142-54DADB4582AF}"/>
              </a:ext>
            </a:extLst>
          </p:cNvPr>
          <p:cNvSpPr/>
          <p:nvPr/>
        </p:nvSpPr>
        <p:spPr>
          <a:xfrm>
            <a:off x="7712450" y="6281002"/>
            <a:ext cx="2629894" cy="618767"/>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Summary</a:t>
            </a:r>
          </a:p>
        </p:txBody>
      </p:sp>
      <p:grpSp>
        <p:nvGrpSpPr>
          <p:cNvPr id="4" name="Group 3">
            <a:extLst>
              <a:ext uri="{FF2B5EF4-FFF2-40B4-BE49-F238E27FC236}">
                <a16:creationId xmlns:a16="http://schemas.microsoft.com/office/drawing/2014/main" id="{909314EF-07A0-37A3-93DB-E1616E114860}"/>
              </a:ext>
            </a:extLst>
          </p:cNvPr>
          <p:cNvGrpSpPr/>
          <p:nvPr/>
        </p:nvGrpSpPr>
        <p:grpSpPr>
          <a:xfrm>
            <a:off x="10817231" y="6105283"/>
            <a:ext cx="2447505" cy="985914"/>
            <a:chOff x="11010282" y="3687298"/>
            <a:chExt cx="2447505" cy="985914"/>
          </a:xfrm>
        </p:grpSpPr>
        <p:sp>
          <p:nvSpPr>
            <p:cNvPr id="5" name="Rounded Rectangle 4">
              <a:extLst>
                <a:ext uri="{FF2B5EF4-FFF2-40B4-BE49-F238E27FC236}">
                  <a16:creationId xmlns:a16="http://schemas.microsoft.com/office/drawing/2014/main" id="{CB9F5E5B-C07B-79C7-B56F-2F55735FC0AA}"/>
                </a:ext>
              </a:extLst>
            </p:cNvPr>
            <p:cNvSpPr/>
            <p:nvPr/>
          </p:nvSpPr>
          <p:spPr>
            <a:xfrm>
              <a:off x="11010282" y="3687298"/>
              <a:ext cx="2447505" cy="985914"/>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tIns="64008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100" normalizeH="0" baseline="0" noProof="0">
                <a:ln>
                  <a:noFill/>
                </a:ln>
                <a:solidFill>
                  <a:srgbClr val="FFFFFF"/>
                </a:solidFill>
                <a:effectLst/>
                <a:uLnTx/>
                <a:uFillTx/>
                <a:latin typeface="Anova Bold"/>
                <a:ea typeface="+mn-ea"/>
                <a:cs typeface="+mn-cs"/>
              </a:endParaRPr>
            </a:p>
          </p:txBody>
        </p:sp>
        <p:pic>
          <p:nvPicPr>
            <p:cNvPr id="6" name="!!_ViyaLogo" descr="A blue letters on a black background&#10;&#10;Description automatically generated">
              <a:extLst>
                <a:ext uri="{FF2B5EF4-FFF2-40B4-BE49-F238E27FC236}">
                  <a16:creationId xmlns:a16="http://schemas.microsoft.com/office/drawing/2014/main" id="{59305C16-9965-F5D9-1FDF-677028AD4FC4}"/>
                </a:ext>
              </a:extLst>
            </p:cNvPr>
            <p:cNvPicPr>
              <a:picLocks noChangeAspect="1"/>
            </p:cNvPicPr>
            <p:nvPr/>
          </p:nvPicPr>
          <p:blipFill>
            <a:blip r:embed="rId3" cstate="screen">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1233237" y="3935688"/>
              <a:ext cx="2001552" cy="495784"/>
            </a:xfrm>
            <a:prstGeom prst="rect">
              <a:avLst/>
            </a:prstGeom>
          </p:spPr>
        </p:pic>
      </p:grpSp>
      <p:sp>
        <p:nvSpPr>
          <p:cNvPr id="7" name="Rounded Rectangle 6">
            <a:extLst>
              <a:ext uri="{FF2B5EF4-FFF2-40B4-BE49-F238E27FC236}">
                <a16:creationId xmlns:a16="http://schemas.microsoft.com/office/drawing/2014/main" id="{71A77C7A-0A6A-4A56-B22A-B0F03E49221A}"/>
              </a:ext>
            </a:extLst>
          </p:cNvPr>
          <p:cNvSpPr/>
          <p:nvPr/>
        </p:nvSpPr>
        <p:spPr>
          <a:xfrm>
            <a:off x="10817231" y="4036644"/>
            <a:ext cx="2447505" cy="768679"/>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Next Best Action</a:t>
            </a:r>
          </a:p>
        </p:txBody>
      </p:sp>
      <p:cxnSp>
        <p:nvCxnSpPr>
          <p:cNvPr id="8" name="Elbow Connector 7">
            <a:extLst>
              <a:ext uri="{FF2B5EF4-FFF2-40B4-BE49-F238E27FC236}">
                <a16:creationId xmlns:a16="http://schemas.microsoft.com/office/drawing/2014/main" id="{39400B21-6F3F-A4A8-5695-2E6AE19886FA}"/>
              </a:ext>
            </a:extLst>
          </p:cNvPr>
          <p:cNvCxnSpPr>
            <a:cxnSpLocks/>
            <a:stCxn id="7" idx="0"/>
          </p:cNvCxnSpPr>
          <p:nvPr/>
        </p:nvCxnSpPr>
        <p:spPr>
          <a:xfrm rot="16200000" flipV="1">
            <a:off x="11010180" y="3005839"/>
            <a:ext cx="604641" cy="1456969"/>
          </a:xfrm>
          <a:prstGeom prst="bentConnector2">
            <a:avLst/>
          </a:prstGeom>
          <a:ln w="41275">
            <a:gradFill flip="none" rotWithShape="1">
              <a:gsLst>
                <a:gs pos="83000">
                  <a:schemeClr val="accent6"/>
                </a:gs>
                <a:gs pos="100000">
                  <a:schemeClr val="accent5">
                    <a:alpha val="0"/>
                  </a:schemeClr>
                </a:gs>
              </a:gsLst>
              <a:lin ang="10800000" scaled="1"/>
              <a:tileRect/>
            </a:gradFill>
            <a:tailEnd type="arrow" w="lg" len="sm"/>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71462CAF-0CED-741C-4D43-A2F28D546415}"/>
              </a:ext>
            </a:extLst>
          </p:cNvPr>
          <p:cNvCxnSpPr>
            <a:cxnSpLocks/>
          </p:cNvCxnSpPr>
          <p:nvPr/>
        </p:nvCxnSpPr>
        <p:spPr>
          <a:xfrm>
            <a:off x="10342344" y="6598239"/>
            <a:ext cx="411098" cy="0"/>
          </a:xfrm>
          <a:prstGeom prst="straightConnector1">
            <a:avLst/>
          </a:prstGeom>
          <a:ln w="41275">
            <a:solidFill>
              <a:schemeClr val="accent6"/>
            </a:solidFill>
            <a:tailEnd type="arrow" w="lg" len="sm"/>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328517C0-D9B7-1FF3-FB7D-F8F319748CC3}"/>
              </a:ext>
            </a:extLst>
          </p:cNvPr>
          <p:cNvGrpSpPr/>
          <p:nvPr/>
        </p:nvGrpSpPr>
        <p:grpSpPr>
          <a:xfrm>
            <a:off x="14133160" y="5050893"/>
            <a:ext cx="2961482" cy="1446736"/>
            <a:chOff x="13691758" y="1540294"/>
            <a:chExt cx="2961482" cy="1446736"/>
          </a:xfrm>
        </p:grpSpPr>
        <p:sp>
          <p:nvSpPr>
            <p:cNvPr id="11" name="Rounded Rectangle 10">
              <a:extLst>
                <a:ext uri="{FF2B5EF4-FFF2-40B4-BE49-F238E27FC236}">
                  <a16:creationId xmlns:a16="http://schemas.microsoft.com/office/drawing/2014/main" id="{6085B165-AB81-44C0-3EC0-7A2263453A27}"/>
                </a:ext>
              </a:extLst>
            </p:cNvPr>
            <p:cNvSpPr/>
            <p:nvPr/>
          </p:nvSpPr>
          <p:spPr>
            <a:xfrm>
              <a:off x="13691758" y="1540294"/>
              <a:ext cx="2961482" cy="1446736"/>
            </a:xfrm>
            <a:prstGeom prst="roundRect">
              <a:avLst/>
            </a:prstGeom>
            <a:solidFill>
              <a:schemeClr val="accent4">
                <a:lumMod val="90000"/>
                <a:lumOff val="10000"/>
              </a:schemeClr>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tIns="9144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OPERATOR REVIEW</a:t>
              </a:r>
            </a:p>
          </p:txBody>
        </p:sp>
        <p:pic>
          <p:nvPicPr>
            <p:cNvPr id="12" name="Graphic 11" descr="User outline">
              <a:extLst>
                <a:ext uri="{FF2B5EF4-FFF2-40B4-BE49-F238E27FC236}">
                  <a16:creationId xmlns:a16="http://schemas.microsoft.com/office/drawing/2014/main" id="{C69DB690-97A0-19EE-324A-0C17A58D5294}"/>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4715299" y="1607293"/>
              <a:ext cx="914400" cy="914400"/>
            </a:xfrm>
            <a:prstGeom prst="rect">
              <a:avLst/>
            </a:prstGeom>
          </p:spPr>
        </p:pic>
      </p:grpSp>
      <p:cxnSp>
        <p:nvCxnSpPr>
          <p:cNvPr id="13" name="Straight Arrow Connector 12">
            <a:extLst>
              <a:ext uri="{FF2B5EF4-FFF2-40B4-BE49-F238E27FC236}">
                <a16:creationId xmlns:a16="http://schemas.microsoft.com/office/drawing/2014/main" id="{572185ED-B5D0-24CE-06FF-FA261A6495B6}"/>
              </a:ext>
            </a:extLst>
          </p:cNvPr>
          <p:cNvCxnSpPr>
            <a:cxnSpLocks/>
          </p:cNvCxnSpPr>
          <p:nvPr/>
        </p:nvCxnSpPr>
        <p:spPr>
          <a:xfrm>
            <a:off x="5252404" y="4549269"/>
            <a:ext cx="2170124" cy="0"/>
          </a:xfrm>
          <a:prstGeom prst="straightConnector1">
            <a:avLst/>
          </a:prstGeom>
          <a:ln w="63500">
            <a:solidFill>
              <a:schemeClr val="accent2"/>
            </a:solidFill>
            <a:tailEnd type="arrow" w="lg" len="sm"/>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4A3D2D1-C167-559A-C37F-FFB9AB67EF13}"/>
              </a:ext>
            </a:extLst>
          </p:cNvPr>
          <p:cNvGrpSpPr/>
          <p:nvPr/>
        </p:nvGrpSpPr>
        <p:grpSpPr>
          <a:xfrm>
            <a:off x="5179301" y="3961558"/>
            <a:ext cx="2302893" cy="1050599"/>
            <a:chOff x="3198909" y="1826416"/>
            <a:chExt cx="2302893" cy="1050599"/>
          </a:xfrm>
        </p:grpSpPr>
        <p:sp>
          <p:nvSpPr>
            <p:cNvPr id="15" name="Rounded Rectangle 14">
              <a:extLst>
                <a:ext uri="{FF2B5EF4-FFF2-40B4-BE49-F238E27FC236}">
                  <a16:creationId xmlns:a16="http://schemas.microsoft.com/office/drawing/2014/main" id="{97EEC12D-5D0B-60B7-459B-640590BEDB2C}"/>
                </a:ext>
              </a:extLst>
            </p:cNvPr>
            <p:cNvSpPr/>
            <p:nvPr/>
          </p:nvSpPr>
          <p:spPr>
            <a:xfrm>
              <a:off x="3198909" y="1826416"/>
              <a:ext cx="2302893" cy="1050599"/>
            </a:xfrm>
            <a:prstGeom prst="roundRect">
              <a:avLst/>
            </a:prstGeom>
            <a:solidFill>
              <a:schemeClr val="tx2"/>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COMPLAINT</a:t>
              </a:r>
            </a:p>
          </p:txBody>
        </p:sp>
        <p:grpSp>
          <p:nvGrpSpPr>
            <p:cNvPr id="16" name="Group 15">
              <a:extLst>
                <a:ext uri="{FF2B5EF4-FFF2-40B4-BE49-F238E27FC236}">
                  <a16:creationId xmlns:a16="http://schemas.microsoft.com/office/drawing/2014/main" id="{D8A14016-5A95-A2B3-97FA-4EF8DE349D4D}"/>
                </a:ext>
              </a:extLst>
            </p:cNvPr>
            <p:cNvGrpSpPr/>
            <p:nvPr/>
          </p:nvGrpSpPr>
          <p:grpSpPr>
            <a:xfrm>
              <a:off x="3344204" y="2330315"/>
              <a:ext cx="1972263" cy="339866"/>
              <a:chOff x="3344204" y="2330315"/>
              <a:chExt cx="1972263" cy="339866"/>
            </a:xfrm>
          </p:grpSpPr>
          <p:cxnSp>
            <p:nvCxnSpPr>
              <p:cNvPr id="17" name="Straight Connector 16">
                <a:extLst>
                  <a:ext uri="{FF2B5EF4-FFF2-40B4-BE49-F238E27FC236}">
                    <a16:creationId xmlns:a16="http://schemas.microsoft.com/office/drawing/2014/main" id="{FFE79E5D-8A2C-7DAC-1B28-8F2411BD4D20}"/>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4B37BA2-5D7A-910F-5B23-08D598E4A019}"/>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1E82078-C4EB-6AC0-59F3-E1EE6E987E1D}"/>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18F3DDF-C026-A8D8-B83C-B1705899F778}"/>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3B7A44A-40AD-C951-4ACF-42406C67B072}"/>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56CA00B-2C74-A1F7-447D-7DA5B021C06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AC8C92FD-4025-734C-0037-06D77A4E370C}"/>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grpSp>
      <p:grpSp>
        <p:nvGrpSpPr>
          <p:cNvPr id="24" name="Group 23">
            <a:extLst>
              <a:ext uri="{FF2B5EF4-FFF2-40B4-BE49-F238E27FC236}">
                <a16:creationId xmlns:a16="http://schemas.microsoft.com/office/drawing/2014/main" id="{DCE9A9CE-58A6-A54F-7A00-3A032515AAD8}"/>
              </a:ext>
            </a:extLst>
          </p:cNvPr>
          <p:cNvGrpSpPr/>
          <p:nvPr/>
        </p:nvGrpSpPr>
        <p:grpSpPr>
          <a:xfrm>
            <a:off x="7612863" y="2932703"/>
            <a:ext cx="2794399" cy="3078562"/>
            <a:chOff x="7442696" y="3184438"/>
            <a:chExt cx="2794399" cy="3078562"/>
          </a:xfrm>
        </p:grpSpPr>
        <p:sp>
          <p:nvSpPr>
            <p:cNvPr id="25" name="Rounded Rectangle 284">
              <a:extLst>
                <a:ext uri="{FF2B5EF4-FFF2-40B4-BE49-F238E27FC236}">
                  <a16:creationId xmlns:a16="http://schemas.microsoft.com/office/drawing/2014/main" id="{57B4B526-506D-B39D-C93A-DDF55A256A99}"/>
                </a:ext>
              </a:extLst>
            </p:cNvPr>
            <p:cNvSpPr/>
            <p:nvPr/>
          </p:nvSpPr>
          <p:spPr>
            <a:xfrm>
              <a:off x="7442696" y="3184438"/>
              <a:ext cx="2794399" cy="2894775"/>
            </a:xfrm>
            <a:custGeom>
              <a:avLst/>
              <a:gdLst>
                <a:gd name="connsiteX0" fmla="*/ 0 w 2794399"/>
                <a:gd name="connsiteY0" fmla="*/ 465742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465742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693133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399" h="2894775">
                  <a:moveTo>
                    <a:pt x="0" y="690444"/>
                  </a:moveTo>
                  <a:cubicBezTo>
                    <a:pt x="0" y="433222"/>
                    <a:pt x="82729" y="6988"/>
                    <a:pt x="465742" y="2150"/>
                  </a:cubicBezTo>
                  <a:cubicBezTo>
                    <a:pt x="848755" y="-2688"/>
                    <a:pt x="1935968" y="2150"/>
                    <a:pt x="2328657" y="2150"/>
                  </a:cubicBezTo>
                  <a:cubicBezTo>
                    <a:pt x="2721346" y="2150"/>
                    <a:pt x="2794399" y="438061"/>
                    <a:pt x="2794399" y="695283"/>
                  </a:cubicBezTo>
                  <a:lnTo>
                    <a:pt x="2794399" y="2429033"/>
                  </a:lnTo>
                  <a:cubicBezTo>
                    <a:pt x="2794399" y="2686255"/>
                    <a:pt x="2585879" y="2894775"/>
                    <a:pt x="2328657" y="2894775"/>
                  </a:cubicBezTo>
                  <a:lnTo>
                    <a:pt x="465742" y="2894775"/>
                  </a:lnTo>
                  <a:cubicBezTo>
                    <a:pt x="208520" y="2894775"/>
                    <a:pt x="0" y="2686255"/>
                    <a:pt x="0" y="2429033"/>
                  </a:cubicBezTo>
                  <a:lnTo>
                    <a:pt x="0" y="690444"/>
                  </a:lnTo>
                  <a:close/>
                </a:path>
              </a:pathLst>
            </a:custGeom>
            <a:solidFill>
              <a:schemeClr val="accent4">
                <a:lumMod val="90000"/>
                <a:lumOff val="10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26" name="Rounded Rectangle 25">
              <a:extLst>
                <a:ext uri="{FF2B5EF4-FFF2-40B4-BE49-F238E27FC236}">
                  <a16:creationId xmlns:a16="http://schemas.microsoft.com/office/drawing/2014/main" id="{D53DCAC6-28BB-2A76-5FB5-E852645D1671}"/>
                </a:ext>
              </a:extLst>
            </p:cNvPr>
            <p:cNvSpPr/>
            <p:nvPr/>
          </p:nvSpPr>
          <p:spPr>
            <a:xfrm>
              <a:off x="7442696" y="3468601"/>
              <a:ext cx="2794399" cy="2794399"/>
            </a:xfrm>
            <a:prstGeom prst="roundRect">
              <a:avLst/>
            </a:prstGeom>
            <a:solidFill>
              <a:schemeClr val="accent4"/>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flatTx/>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LARGE</a:t>
              </a:r>
              <a:br>
                <a:rPr kumimoji="0" lang="en-US" sz="1600" b="0" i="0" u="none" strike="noStrike" kern="1200" cap="none" spc="100" normalizeH="0" baseline="0" noProof="0">
                  <a:ln>
                    <a:noFill/>
                  </a:ln>
                  <a:solidFill>
                    <a:srgbClr val="FFFFFF"/>
                  </a:solidFill>
                  <a:effectLst/>
                  <a:uLnTx/>
                  <a:uFillTx/>
                  <a:latin typeface="Anova Bold"/>
                  <a:ea typeface="+mn-ea"/>
                  <a:cs typeface="+mn-cs"/>
                </a:rPr>
              </a:br>
              <a:r>
                <a:rPr kumimoji="0" lang="en-US" sz="1600" b="0" i="0" u="none" strike="noStrike" kern="1200" cap="none" spc="100" normalizeH="0" baseline="0" noProof="0">
                  <a:ln>
                    <a:noFill/>
                  </a:ln>
                  <a:solidFill>
                    <a:srgbClr val="FFFFFF"/>
                  </a:solidFill>
                  <a:effectLst/>
                  <a:uLnTx/>
                  <a:uFillTx/>
                  <a:latin typeface="Anova Bold"/>
                  <a:ea typeface="+mn-ea"/>
                  <a:cs typeface="+mn-cs"/>
                </a:rPr>
                <a:t>LANGUAGE MODEL</a:t>
              </a:r>
            </a:p>
          </p:txBody>
        </p:sp>
        <p:grpSp>
          <p:nvGrpSpPr>
            <p:cNvPr id="27" name="Group 26">
              <a:extLst>
                <a:ext uri="{FF2B5EF4-FFF2-40B4-BE49-F238E27FC236}">
                  <a16:creationId xmlns:a16="http://schemas.microsoft.com/office/drawing/2014/main" id="{8C3AD4EF-E97C-A045-E567-8E0BFD856BF0}"/>
                </a:ext>
              </a:extLst>
            </p:cNvPr>
            <p:cNvGrpSpPr/>
            <p:nvPr/>
          </p:nvGrpSpPr>
          <p:grpSpPr>
            <a:xfrm>
              <a:off x="7843472" y="4291717"/>
              <a:ext cx="1983115" cy="1649195"/>
              <a:chOff x="5907442" y="7087458"/>
              <a:chExt cx="1983115" cy="1649195"/>
            </a:xfrm>
          </p:grpSpPr>
          <p:cxnSp>
            <p:nvCxnSpPr>
              <p:cNvPr id="28" name="Straight Connector 27">
                <a:extLst>
                  <a:ext uri="{FF2B5EF4-FFF2-40B4-BE49-F238E27FC236}">
                    <a16:creationId xmlns:a16="http://schemas.microsoft.com/office/drawing/2014/main" id="{E9E43508-35B8-69CE-417B-88C7F4CAEE73}"/>
                  </a:ext>
                </a:extLst>
              </p:cNvPr>
              <p:cNvCxnSpPr>
                <a:cxnSpLocks/>
              </p:cNvCxnSpPr>
              <p:nvPr/>
            </p:nvCxnSpPr>
            <p:spPr>
              <a:xfrm>
                <a:off x="6759721" y="7216842"/>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35546FC-3549-181B-F0AE-0CE95A7716A4}"/>
                  </a:ext>
                </a:extLst>
              </p:cNvPr>
              <p:cNvCxnSpPr>
                <a:cxnSpLocks/>
              </p:cNvCxnSpPr>
              <p:nvPr/>
            </p:nvCxnSpPr>
            <p:spPr>
              <a:xfrm>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156AD2D-5EB6-0F60-1C5D-0DCCEDED9A04}"/>
                  </a:ext>
                </a:extLst>
              </p:cNvPr>
              <p:cNvCxnSpPr>
                <a:cxnSpLocks/>
              </p:cNvCxnSpPr>
              <p:nvPr/>
            </p:nvCxnSpPr>
            <p:spPr>
              <a:xfrm flipH="1">
                <a:off x="6759721" y="7216842"/>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0CB6082-E79E-4FA0-0043-3D317E2AB6F2}"/>
                  </a:ext>
                </a:extLst>
              </p:cNvPr>
              <p:cNvCxnSpPr>
                <a:cxnSpLocks/>
              </p:cNvCxnSpPr>
              <p:nvPr/>
            </p:nvCxnSpPr>
            <p:spPr>
              <a:xfrm>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BB0D4916-6F5E-EFA6-F44A-B51F0460E5C6}"/>
                  </a:ext>
                </a:extLst>
              </p:cNvPr>
              <p:cNvCxnSpPr>
                <a:cxnSpLocks/>
              </p:cNvCxnSpPr>
              <p:nvPr/>
            </p:nvCxnSpPr>
            <p:spPr>
              <a:xfrm flipH="1"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B06062C3-E8C9-AC49-DA32-BC040A500A1D}"/>
                  </a:ext>
                </a:extLst>
              </p:cNvPr>
              <p:cNvCxnSpPr>
                <a:cxnSpLocks/>
              </p:cNvCxnSpPr>
              <p:nvPr/>
            </p:nvCxnSpPr>
            <p:spPr>
              <a:xfrm flipH="1">
                <a:off x="6759721" y="7216842"/>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731A8A5-C5B3-E360-4C05-013962B42524}"/>
                  </a:ext>
                </a:extLst>
              </p:cNvPr>
              <p:cNvCxnSpPr>
                <a:cxnSpLocks/>
              </p:cNvCxnSpPr>
              <p:nvPr/>
            </p:nvCxnSpPr>
            <p:spPr>
              <a:xfrm flipV="1">
                <a:off x="6759721" y="7216842"/>
                <a:ext cx="278555" cy="1390388"/>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BEF9156B-87E5-E6B0-5515-117C4216F542}"/>
                  </a:ext>
                </a:extLst>
              </p:cNvPr>
              <p:cNvCxnSpPr>
                <a:cxnSpLocks/>
              </p:cNvCxnSpPr>
              <p:nvPr/>
            </p:nvCxnSpPr>
            <p:spPr>
              <a:xfrm>
                <a:off x="6759721" y="7680305"/>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30819-FEEB-F30D-CD4A-CBFDF92CE3AC}"/>
                  </a:ext>
                </a:extLst>
              </p:cNvPr>
              <p:cNvCxnSpPr>
                <a:cxnSpLocks/>
              </p:cNvCxnSpPr>
              <p:nvPr/>
            </p:nvCxnSpPr>
            <p:spPr>
              <a:xfrm>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0696CD77-27E2-61F6-A6F2-43CD500B5E21}"/>
                  </a:ext>
                </a:extLst>
              </p:cNvPr>
              <p:cNvCxnSpPr>
                <a:cxnSpLocks/>
              </p:cNvCxnSpPr>
              <p:nvPr/>
            </p:nvCxnSpPr>
            <p:spPr>
              <a:xfrm flipH="1" flipV="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B8B3BF55-3331-7B29-46E0-024A86984BC9}"/>
                  </a:ext>
                </a:extLst>
              </p:cNvPr>
              <p:cNvCxnSpPr>
                <a:cxnSpLocks/>
              </p:cNvCxnSpPr>
              <p:nvPr/>
            </p:nvCxnSpPr>
            <p:spPr>
              <a:xfrm flipH="1">
                <a:off x="6759721" y="7680305"/>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FC6C3A2-011C-8323-15A7-CE7CDC9FA23F}"/>
                  </a:ext>
                </a:extLst>
              </p:cNvPr>
              <p:cNvCxnSpPr>
                <a:cxnSpLocks/>
              </p:cNvCxnSpPr>
              <p:nvPr/>
            </p:nvCxnSpPr>
            <p:spPr>
              <a:xfrm flipH="1">
                <a:off x="6759721" y="7680305"/>
                <a:ext cx="278555" cy="926925"/>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4182A9D-987C-9028-2C03-2566BB97CD0C}"/>
                  </a:ext>
                </a:extLst>
              </p:cNvPr>
              <p:cNvCxnSpPr>
                <a:cxnSpLocks/>
              </p:cNvCxnSpPr>
              <p:nvPr/>
            </p:nvCxnSpPr>
            <p:spPr>
              <a:xfrm>
                <a:off x="6759721" y="8143767"/>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560875F-C6EA-0A4C-BF79-A66DFF4C9DE0}"/>
                  </a:ext>
                </a:extLst>
              </p:cNvPr>
              <p:cNvCxnSpPr>
                <a:cxnSpLocks/>
              </p:cNvCxnSpPr>
              <p:nvPr/>
            </p:nvCxnSpPr>
            <p:spPr>
              <a:xfrm>
                <a:off x="6759721" y="8607230"/>
                <a:ext cx="278555" cy="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4A6734C-70D4-BC7D-59F6-2D56F03FB7F2}"/>
                  </a:ext>
                </a:extLst>
              </p:cNvPr>
              <p:cNvCxnSpPr>
                <a:cxnSpLocks/>
              </p:cNvCxnSpPr>
              <p:nvPr/>
            </p:nvCxnSpPr>
            <p:spPr>
              <a:xfrm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3B7DC339-E8EC-97CD-C52E-B0976574F761}"/>
                  </a:ext>
                </a:extLst>
              </p:cNvPr>
              <p:cNvCxnSpPr>
                <a:cxnSpLocks/>
              </p:cNvCxnSpPr>
              <p:nvPr/>
            </p:nvCxnSpPr>
            <p:spPr>
              <a:xfrm flipH="1" flipV="1">
                <a:off x="6759721" y="8143767"/>
                <a:ext cx="278555" cy="46346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24B3785B-4880-4A62-DC22-D8EB5343B28E}"/>
                  </a:ext>
                </a:extLst>
              </p:cNvPr>
              <p:cNvCxnSpPr>
                <a:cxnSpLocks/>
              </p:cNvCxnSpPr>
              <p:nvPr/>
            </p:nvCxnSpPr>
            <p:spPr>
              <a:xfrm flipV="1">
                <a:off x="6183496"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68B4AE8-43B4-225F-38B1-5934B1EB07A0}"/>
                  </a:ext>
                </a:extLst>
              </p:cNvPr>
              <p:cNvCxnSpPr>
                <a:cxnSpLocks/>
              </p:cNvCxnSpPr>
              <p:nvPr/>
            </p:nvCxnSpPr>
            <p:spPr>
              <a:xfrm>
                <a:off x="6183496"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7253DA2B-E3D5-7FF8-E11B-B743BA16FA85}"/>
                  </a:ext>
                </a:extLst>
              </p:cNvPr>
              <p:cNvCxnSpPr>
                <a:cxnSpLocks/>
              </p:cNvCxnSpPr>
              <p:nvPr/>
            </p:nvCxnSpPr>
            <p:spPr>
              <a:xfrm flipV="1">
                <a:off x="6183496"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7C9E55E-F910-9D44-B892-CEC894010387}"/>
                  </a:ext>
                </a:extLst>
              </p:cNvPr>
              <p:cNvCxnSpPr>
                <a:cxnSpLocks/>
              </p:cNvCxnSpPr>
              <p:nvPr/>
            </p:nvCxnSpPr>
            <p:spPr>
              <a:xfrm>
                <a:off x="6183496" y="791155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283A1E18-ACF9-CBAC-DDD1-5B6D7D09E999}"/>
                  </a:ext>
                </a:extLst>
              </p:cNvPr>
              <p:cNvCxnSpPr>
                <a:cxnSpLocks/>
              </p:cNvCxnSpPr>
              <p:nvPr/>
            </p:nvCxnSpPr>
            <p:spPr>
              <a:xfrm flipV="1">
                <a:off x="6183496"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26779F14-8257-D4C4-EF3B-551B775EA167}"/>
                  </a:ext>
                </a:extLst>
              </p:cNvPr>
              <p:cNvCxnSpPr>
                <a:cxnSpLocks/>
              </p:cNvCxnSpPr>
              <p:nvPr/>
            </p:nvCxnSpPr>
            <p:spPr>
              <a:xfrm>
                <a:off x="6183496"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7183D7C-788A-71D1-9687-8A07307E7B10}"/>
                  </a:ext>
                </a:extLst>
              </p:cNvPr>
              <p:cNvCxnSpPr>
                <a:cxnSpLocks/>
              </p:cNvCxnSpPr>
              <p:nvPr/>
            </p:nvCxnSpPr>
            <p:spPr>
              <a:xfrm flipH="1">
                <a:off x="6183496"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8C70531D-2ECA-3250-1A91-3A3DFF01CAA4}"/>
                  </a:ext>
                </a:extLst>
              </p:cNvPr>
              <p:cNvCxnSpPr>
                <a:cxnSpLocks/>
              </p:cNvCxnSpPr>
              <p:nvPr/>
            </p:nvCxnSpPr>
            <p:spPr>
              <a:xfrm flipH="1">
                <a:off x="6183496"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684CEFFE-AB6B-2126-C791-16A254C0F3AF}"/>
                  </a:ext>
                </a:extLst>
              </p:cNvPr>
              <p:cNvCxnSpPr>
                <a:cxnSpLocks/>
              </p:cNvCxnSpPr>
              <p:nvPr/>
            </p:nvCxnSpPr>
            <p:spPr>
              <a:xfrm flipH="1" flipV="1">
                <a:off x="6183496"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3CEA7B1-7D22-6E91-4B04-6D6F0846BFE0}"/>
                  </a:ext>
                </a:extLst>
              </p:cNvPr>
              <p:cNvCxnSpPr>
                <a:cxnSpLocks/>
              </p:cNvCxnSpPr>
              <p:nvPr/>
            </p:nvCxnSpPr>
            <p:spPr>
              <a:xfrm flipH="1">
                <a:off x="6183496"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512206C8-6730-CC1C-4A1C-3714D26B2621}"/>
                  </a:ext>
                </a:extLst>
              </p:cNvPr>
              <p:cNvCxnSpPr>
                <a:cxnSpLocks/>
              </p:cNvCxnSpPr>
              <p:nvPr/>
            </p:nvCxnSpPr>
            <p:spPr>
              <a:xfrm flipH="1" flipV="1">
                <a:off x="6183496"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4F47B7E6-B55B-BA6E-FFB3-8E7AA28856CA}"/>
                  </a:ext>
                </a:extLst>
              </p:cNvPr>
              <p:cNvCxnSpPr>
                <a:cxnSpLocks/>
              </p:cNvCxnSpPr>
              <p:nvPr/>
            </p:nvCxnSpPr>
            <p:spPr>
              <a:xfrm flipH="1" flipV="1">
                <a:off x="7331579" y="7216842"/>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AC6DF132-4B2C-7B9F-72DE-7D3DD54E5E71}"/>
                  </a:ext>
                </a:extLst>
              </p:cNvPr>
              <p:cNvCxnSpPr>
                <a:cxnSpLocks/>
              </p:cNvCxnSpPr>
              <p:nvPr/>
            </p:nvCxnSpPr>
            <p:spPr>
              <a:xfrm flipH="1">
                <a:off x="7331579" y="7449052"/>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3BA91C81-23E6-1023-5068-779BDC9E24A3}"/>
                  </a:ext>
                </a:extLst>
              </p:cNvPr>
              <p:cNvCxnSpPr>
                <a:cxnSpLocks/>
              </p:cNvCxnSpPr>
              <p:nvPr/>
            </p:nvCxnSpPr>
            <p:spPr>
              <a:xfrm flipH="1" flipV="1">
                <a:off x="7331579" y="7680305"/>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D2E7A5DE-0102-C053-0F8E-7C76BB9A0467}"/>
                  </a:ext>
                </a:extLst>
              </p:cNvPr>
              <p:cNvCxnSpPr>
                <a:cxnSpLocks/>
              </p:cNvCxnSpPr>
              <p:nvPr/>
            </p:nvCxnSpPr>
            <p:spPr>
              <a:xfrm flipH="1">
                <a:off x="7331579" y="7912515"/>
                <a:ext cx="282924"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BE06123-D369-2F69-5A45-833CECD2C130}"/>
                  </a:ext>
                </a:extLst>
              </p:cNvPr>
              <p:cNvCxnSpPr>
                <a:cxnSpLocks/>
              </p:cNvCxnSpPr>
              <p:nvPr/>
            </p:nvCxnSpPr>
            <p:spPr>
              <a:xfrm flipH="1" flipV="1">
                <a:off x="7331579" y="8143768"/>
                <a:ext cx="282922" cy="232210"/>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9DD53FA7-D8F6-2694-60EE-C1E35430845B}"/>
                  </a:ext>
                </a:extLst>
              </p:cNvPr>
              <p:cNvCxnSpPr>
                <a:cxnSpLocks/>
              </p:cNvCxnSpPr>
              <p:nvPr/>
            </p:nvCxnSpPr>
            <p:spPr>
              <a:xfrm flipH="1">
                <a:off x="7331579" y="8375978"/>
                <a:ext cx="282922" cy="23125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2CFCD9BB-DED4-CE18-0CC6-A149EC1E0BC8}"/>
                  </a:ext>
                </a:extLst>
              </p:cNvPr>
              <p:cNvCxnSpPr>
                <a:cxnSpLocks/>
              </p:cNvCxnSpPr>
              <p:nvPr/>
            </p:nvCxnSpPr>
            <p:spPr>
              <a:xfrm>
                <a:off x="7331579" y="7216842"/>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96F2C7C-6972-C795-1DC5-27C296682858}"/>
                  </a:ext>
                </a:extLst>
              </p:cNvPr>
              <p:cNvCxnSpPr>
                <a:cxnSpLocks/>
              </p:cNvCxnSpPr>
              <p:nvPr/>
            </p:nvCxnSpPr>
            <p:spPr>
              <a:xfrm>
                <a:off x="7331579" y="7680305"/>
                <a:ext cx="282922" cy="695673"/>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5036F9F-9889-051F-9559-4AAA3B9DC06B}"/>
                  </a:ext>
                </a:extLst>
              </p:cNvPr>
              <p:cNvCxnSpPr>
                <a:cxnSpLocks/>
              </p:cNvCxnSpPr>
              <p:nvPr/>
            </p:nvCxnSpPr>
            <p:spPr>
              <a:xfrm flipV="1">
                <a:off x="7331579" y="7912515"/>
                <a:ext cx="282922" cy="69471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6301D904-81ED-2312-1F49-D736B5CA95B7}"/>
                  </a:ext>
                </a:extLst>
              </p:cNvPr>
              <p:cNvCxnSpPr>
                <a:cxnSpLocks/>
              </p:cNvCxnSpPr>
              <p:nvPr/>
            </p:nvCxnSpPr>
            <p:spPr>
              <a:xfrm>
                <a:off x="7331579" y="7216842"/>
                <a:ext cx="282922" cy="1159136"/>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EC22CF3E-8C3E-F21E-EE4C-A3DE1AAA6A88}"/>
                  </a:ext>
                </a:extLst>
              </p:cNvPr>
              <p:cNvCxnSpPr>
                <a:cxnSpLocks/>
              </p:cNvCxnSpPr>
              <p:nvPr/>
            </p:nvCxnSpPr>
            <p:spPr>
              <a:xfrm flipV="1">
                <a:off x="7331579" y="7449052"/>
                <a:ext cx="282922" cy="1158179"/>
              </a:xfrm>
              <a:prstGeom prst="line">
                <a:avLst/>
              </a:prstGeom>
              <a:ln w="19050" cap="rnd">
                <a:solidFill>
                  <a:schemeClr val="bg1"/>
                </a:solidFill>
                <a:prstDash val="sysDot"/>
                <a:round/>
                <a:tailEnd type="none"/>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EAB808D1-5E43-6977-2D63-C498D1DA4503}"/>
                  </a:ext>
                </a:extLst>
              </p:cNvPr>
              <p:cNvSpPr>
                <a:spLocks noChangeAspect="1"/>
              </p:cNvSpPr>
              <p:nvPr/>
            </p:nvSpPr>
            <p:spPr>
              <a:xfrm>
                <a:off x="590744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7" name="Oval 66">
                <a:extLst>
                  <a:ext uri="{FF2B5EF4-FFF2-40B4-BE49-F238E27FC236}">
                    <a16:creationId xmlns:a16="http://schemas.microsoft.com/office/drawing/2014/main" id="{E388CC46-BCA7-59C2-1988-D9DA63D78134}"/>
                  </a:ext>
                </a:extLst>
              </p:cNvPr>
              <p:cNvSpPr>
                <a:spLocks noChangeAspect="1"/>
              </p:cNvSpPr>
              <p:nvPr/>
            </p:nvSpPr>
            <p:spPr>
              <a:xfrm>
                <a:off x="5907442"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8" name="Oval 67">
                <a:extLst>
                  <a:ext uri="{FF2B5EF4-FFF2-40B4-BE49-F238E27FC236}">
                    <a16:creationId xmlns:a16="http://schemas.microsoft.com/office/drawing/2014/main" id="{E6BD842A-790D-4040-91BF-4C98307FB168}"/>
                  </a:ext>
                </a:extLst>
              </p:cNvPr>
              <p:cNvSpPr>
                <a:spLocks noChangeAspect="1"/>
              </p:cNvSpPr>
              <p:nvPr/>
            </p:nvSpPr>
            <p:spPr>
              <a:xfrm>
                <a:off x="5907442"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69" name="Oval 68">
                <a:extLst>
                  <a:ext uri="{FF2B5EF4-FFF2-40B4-BE49-F238E27FC236}">
                    <a16:creationId xmlns:a16="http://schemas.microsoft.com/office/drawing/2014/main" id="{9A736233-CD73-2E07-4E40-E480DD6498FA}"/>
                  </a:ext>
                </a:extLst>
              </p:cNvPr>
              <p:cNvSpPr>
                <a:spLocks noChangeAspect="1"/>
              </p:cNvSpPr>
              <p:nvPr/>
            </p:nvSpPr>
            <p:spPr>
              <a:xfrm>
                <a:off x="7631753" y="7783132"/>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0" name="Oval 69">
                <a:extLst>
                  <a:ext uri="{FF2B5EF4-FFF2-40B4-BE49-F238E27FC236}">
                    <a16:creationId xmlns:a16="http://schemas.microsoft.com/office/drawing/2014/main" id="{C960BC36-ADD8-1D60-C5EF-62778B61FB31}"/>
                  </a:ext>
                </a:extLst>
              </p:cNvPr>
              <p:cNvSpPr>
                <a:spLocks noChangeAspect="1"/>
              </p:cNvSpPr>
              <p:nvPr/>
            </p:nvSpPr>
            <p:spPr>
              <a:xfrm>
                <a:off x="7631753" y="7319668"/>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1" name="Oval 70">
                <a:extLst>
                  <a:ext uri="{FF2B5EF4-FFF2-40B4-BE49-F238E27FC236}">
                    <a16:creationId xmlns:a16="http://schemas.microsoft.com/office/drawing/2014/main" id="{8683027D-C54A-67E7-6A4E-22289E6C6798}"/>
                  </a:ext>
                </a:extLst>
              </p:cNvPr>
              <p:cNvSpPr>
                <a:spLocks noChangeAspect="1"/>
              </p:cNvSpPr>
              <p:nvPr/>
            </p:nvSpPr>
            <p:spPr>
              <a:xfrm>
                <a:off x="7631754" y="8246596"/>
                <a:ext cx="258803"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2" name="Oval 71">
                <a:extLst>
                  <a:ext uri="{FF2B5EF4-FFF2-40B4-BE49-F238E27FC236}">
                    <a16:creationId xmlns:a16="http://schemas.microsoft.com/office/drawing/2014/main" id="{2D63AB1F-285C-0886-8FBC-5FB7767A91CF}"/>
                  </a:ext>
                </a:extLst>
              </p:cNvPr>
              <p:cNvSpPr>
                <a:spLocks noChangeAspect="1"/>
              </p:cNvSpPr>
              <p:nvPr/>
            </p:nvSpPr>
            <p:spPr>
              <a:xfrm>
                <a:off x="7055526"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3" name="Oval 72">
                <a:extLst>
                  <a:ext uri="{FF2B5EF4-FFF2-40B4-BE49-F238E27FC236}">
                    <a16:creationId xmlns:a16="http://schemas.microsoft.com/office/drawing/2014/main" id="{5AA06B4A-46A3-8D77-78B7-2120C32E5A1B}"/>
                  </a:ext>
                </a:extLst>
              </p:cNvPr>
              <p:cNvSpPr>
                <a:spLocks noChangeAspect="1"/>
              </p:cNvSpPr>
              <p:nvPr/>
            </p:nvSpPr>
            <p:spPr>
              <a:xfrm>
                <a:off x="7055526"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4" name="Oval 73">
                <a:extLst>
                  <a:ext uri="{FF2B5EF4-FFF2-40B4-BE49-F238E27FC236}">
                    <a16:creationId xmlns:a16="http://schemas.microsoft.com/office/drawing/2014/main" id="{C94634E4-F4FE-D7CD-BDC7-6E503CCE91F3}"/>
                  </a:ext>
                </a:extLst>
              </p:cNvPr>
              <p:cNvSpPr>
                <a:spLocks noChangeAspect="1"/>
              </p:cNvSpPr>
              <p:nvPr/>
            </p:nvSpPr>
            <p:spPr>
              <a:xfrm>
                <a:off x="7055526"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5" name="Oval 74">
                <a:extLst>
                  <a:ext uri="{FF2B5EF4-FFF2-40B4-BE49-F238E27FC236}">
                    <a16:creationId xmlns:a16="http://schemas.microsoft.com/office/drawing/2014/main" id="{FD563C54-509C-5161-11F8-26E161376FA5}"/>
                  </a:ext>
                </a:extLst>
              </p:cNvPr>
              <p:cNvSpPr>
                <a:spLocks noChangeAspect="1"/>
              </p:cNvSpPr>
              <p:nvPr/>
            </p:nvSpPr>
            <p:spPr>
              <a:xfrm>
                <a:off x="7055526"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6" name="Oval 75">
                <a:extLst>
                  <a:ext uri="{FF2B5EF4-FFF2-40B4-BE49-F238E27FC236}">
                    <a16:creationId xmlns:a16="http://schemas.microsoft.com/office/drawing/2014/main" id="{0041936A-E666-5BBD-D3BE-734561D7E79C}"/>
                  </a:ext>
                </a:extLst>
              </p:cNvPr>
              <p:cNvSpPr>
                <a:spLocks noChangeAspect="1"/>
              </p:cNvSpPr>
              <p:nvPr/>
            </p:nvSpPr>
            <p:spPr>
              <a:xfrm>
                <a:off x="6483668" y="8014386"/>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7" name="Oval 76">
                <a:extLst>
                  <a:ext uri="{FF2B5EF4-FFF2-40B4-BE49-F238E27FC236}">
                    <a16:creationId xmlns:a16="http://schemas.microsoft.com/office/drawing/2014/main" id="{A80867BE-B257-9270-6056-E0322ABBDBED}"/>
                  </a:ext>
                </a:extLst>
              </p:cNvPr>
              <p:cNvSpPr>
                <a:spLocks noChangeAspect="1"/>
              </p:cNvSpPr>
              <p:nvPr/>
            </p:nvSpPr>
            <p:spPr>
              <a:xfrm>
                <a:off x="6483668" y="7550922"/>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8" name="Oval 77">
                <a:extLst>
                  <a:ext uri="{FF2B5EF4-FFF2-40B4-BE49-F238E27FC236}">
                    <a16:creationId xmlns:a16="http://schemas.microsoft.com/office/drawing/2014/main" id="{39FE3819-82CF-B7E4-1646-7F237F5080C8}"/>
                  </a:ext>
                </a:extLst>
              </p:cNvPr>
              <p:cNvSpPr>
                <a:spLocks noChangeAspect="1"/>
              </p:cNvSpPr>
              <p:nvPr/>
            </p:nvSpPr>
            <p:spPr>
              <a:xfrm>
                <a:off x="6483668" y="8477850"/>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79" name="Oval 78">
                <a:extLst>
                  <a:ext uri="{FF2B5EF4-FFF2-40B4-BE49-F238E27FC236}">
                    <a16:creationId xmlns:a16="http://schemas.microsoft.com/office/drawing/2014/main" id="{4403368F-3B12-05B4-120F-5F78233565D3}"/>
                  </a:ext>
                </a:extLst>
              </p:cNvPr>
              <p:cNvSpPr>
                <a:spLocks noChangeAspect="1"/>
              </p:cNvSpPr>
              <p:nvPr/>
            </p:nvSpPr>
            <p:spPr>
              <a:xfrm>
                <a:off x="6483668" y="7087458"/>
                <a:ext cx="258802" cy="258803"/>
              </a:xfrm>
              <a:prstGeom prst="ellipse">
                <a:avLst/>
              </a:prstGeom>
              <a:solidFill>
                <a:schemeClr val="accent4"/>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grpSp>
      <p:sp>
        <p:nvSpPr>
          <p:cNvPr id="80" name="Rounded Rectangle 79">
            <a:extLst>
              <a:ext uri="{FF2B5EF4-FFF2-40B4-BE49-F238E27FC236}">
                <a16:creationId xmlns:a16="http://schemas.microsoft.com/office/drawing/2014/main" id="{76E3F50B-F667-845F-9A54-6EC00CF95936}"/>
              </a:ext>
            </a:extLst>
          </p:cNvPr>
          <p:cNvSpPr/>
          <p:nvPr/>
        </p:nvSpPr>
        <p:spPr>
          <a:xfrm>
            <a:off x="10817231" y="4960027"/>
            <a:ext cx="2447505" cy="768679"/>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Explain Output</a:t>
            </a:r>
          </a:p>
        </p:txBody>
      </p:sp>
      <p:grpSp>
        <p:nvGrpSpPr>
          <p:cNvPr id="81" name="Group 80">
            <a:extLst>
              <a:ext uri="{FF2B5EF4-FFF2-40B4-BE49-F238E27FC236}">
                <a16:creationId xmlns:a16="http://schemas.microsoft.com/office/drawing/2014/main" id="{633EB609-7F47-5185-4035-E5152448ED5A}"/>
              </a:ext>
            </a:extLst>
          </p:cNvPr>
          <p:cNvGrpSpPr/>
          <p:nvPr/>
        </p:nvGrpSpPr>
        <p:grpSpPr>
          <a:xfrm>
            <a:off x="14071610" y="8252576"/>
            <a:ext cx="2766044" cy="924126"/>
            <a:chOff x="14071610" y="8252576"/>
            <a:chExt cx="2766044" cy="924126"/>
          </a:xfrm>
        </p:grpSpPr>
        <p:sp>
          <p:nvSpPr>
            <p:cNvPr id="82" name="Rounded Rectangle 81">
              <a:extLst>
                <a:ext uri="{FF2B5EF4-FFF2-40B4-BE49-F238E27FC236}">
                  <a16:creationId xmlns:a16="http://schemas.microsoft.com/office/drawing/2014/main" id="{DC51CD83-1C46-8C86-D4C7-7179575B68F0}"/>
                </a:ext>
              </a:extLst>
            </p:cNvPr>
            <p:cNvSpPr/>
            <p:nvPr/>
          </p:nvSpPr>
          <p:spPr>
            <a:xfrm>
              <a:off x="14390149" y="8252576"/>
              <a:ext cx="2447505" cy="924126"/>
            </a:xfrm>
            <a:prstGeom prst="roundRect">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FFFFFF"/>
                  </a:solidFill>
                  <a:effectLst/>
                  <a:uLnTx/>
                  <a:uFillTx/>
                  <a:latin typeface="Anova Bold"/>
                  <a:ea typeface="+mn-ea"/>
                  <a:cs typeface="+mn-cs"/>
                </a:rPr>
                <a:t>Automatic</a:t>
              </a:r>
              <a:br>
                <a:rPr kumimoji="0" lang="en-US" sz="2000" b="0" i="0" u="none" strike="noStrike" kern="1200" cap="none" spc="100" normalizeH="0" baseline="0" noProof="0">
                  <a:ln>
                    <a:noFill/>
                  </a:ln>
                  <a:solidFill>
                    <a:srgbClr val="FFFFFF"/>
                  </a:solidFill>
                  <a:effectLst/>
                  <a:uLnTx/>
                  <a:uFillTx/>
                  <a:latin typeface="Anova Bold"/>
                  <a:ea typeface="+mn-ea"/>
                  <a:cs typeface="+mn-cs"/>
                </a:rPr>
              </a:br>
              <a:r>
                <a:rPr kumimoji="0" lang="en-US" sz="2000" b="0" i="0" u="none" strike="noStrike" kern="1200" cap="none" spc="100" normalizeH="0" baseline="0" noProof="0">
                  <a:ln>
                    <a:noFill/>
                  </a:ln>
                  <a:solidFill>
                    <a:srgbClr val="FFFFFF"/>
                  </a:solidFill>
                  <a:effectLst/>
                  <a:uLnTx/>
                  <a:uFillTx/>
                  <a:latin typeface="Anova Bold"/>
                  <a:ea typeface="+mn-ea"/>
                  <a:cs typeface="+mn-cs"/>
                </a:rPr>
                <a:t>Reply Sent</a:t>
              </a:r>
            </a:p>
          </p:txBody>
        </p:sp>
        <p:grpSp>
          <p:nvGrpSpPr>
            <p:cNvPr id="83" name="Group 82">
              <a:extLst>
                <a:ext uri="{FF2B5EF4-FFF2-40B4-BE49-F238E27FC236}">
                  <a16:creationId xmlns:a16="http://schemas.microsoft.com/office/drawing/2014/main" id="{0AED20D8-422D-A456-D1BB-3C5F0286A83F}"/>
                </a:ext>
              </a:extLst>
            </p:cNvPr>
            <p:cNvGrpSpPr>
              <a:grpSpLocks noChangeAspect="1"/>
            </p:cNvGrpSpPr>
            <p:nvPr/>
          </p:nvGrpSpPr>
          <p:grpSpPr>
            <a:xfrm>
              <a:off x="14071610" y="8491879"/>
              <a:ext cx="637077" cy="457200"/>
              <a:chOff x="12194555" y="8098828"/>
              <a:chExt cx="2530299" cy="1815880"/>
            </a:xfrm>
            <a:solidFill>
              <a:schemeClr val="bg1"/>
            </a:solidFill>
          </p:grpSpPr>
          <p:sp>
            <p:nvSpPr>
              <p:cNvPr id="84" name="Freeform 83">
                <a:extLst>
                  <a:ext uri="{FF2B5EF4-FFF2-40B4-BE49-F238E27FC236}">
                    <a16:creationId xmlns:a16="http://schemas.microsoft.com/office/drawing/2014/main" id="{AFEB9E48-59AF-45F3-8AF4-1662416E80A2}"/>
                  </a:ext>
                </a:extLst>
              </p:cNvPr>
              <p:cNvSpPr>
                <a:spLocks noChangeAspect="1"/>
              </p:cNvSpPr>
              <p:nvPr/>
            </p:nvSpPr>
            <p:spPr>
              <a:xfrm>
                <a:off x="12194555" y="8098828"/>
                <a:ext cx="2530299" cy="1815880"/>
              </a:xfrm>
              <a:custGeom>
                <a:avLst/>
                <a:gdLst>
                  <a:gd name="connsiteX0" fmla="*/ 1318428 w 1391051"/>
                  <a:gd name="connsiteY0" fmla="*/ 0 h 998292"/>
                  <a:gd name="connsiteX1" fmla="*/ 1391052 w 1391051"/>
                  <a:gd name="connsiteY1" fmla="*/ 72379 h 998292"/>
                  <a:gd name="connsiteX2" fmla="*/ 1391052 w 1391051"/>
                  <a:gd name="connsiteY2" fmla="*/ 925913 h 998292"/>
                  <a:gd name="connsiteX3" fmla="*/ 1318428 w 1391051"/>
                  <a:gd name="connsiteY3" fmla="*/ 998292 h 998292"/>
                  <a:gd name="connsiteX4" fmla="*/ 72624 w 1391051"/>
                  <a:gd name="connsiteY4" fmla="*/ 998292 h 998292"/>
                  <a:gd name="connsiteX5" fmla="*/ 0 w 1391051"/>
                  <a:gd name="connsiteY5" fmla="*/ 925913 h 998292"/>
                  <a:gd name="connsiteX6" fmla="*/ 0 w 1391051"/>
                  <a:gd name="connsiteY6" fmla="*/ 72379 h 998292"/>
                  <a:gd name="connsiteX7" fmla="*/ 72624 w 1391051"/>
                  <a:gd name="connsiteY7" fmla="*/ 0 h 99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1051" h="998292">
                    <a:moveTo>
                      <a:pt x="1318428" y="0"/>
                    </a:moveTo>
                    <a:cubicBezTo>
                      <a:pt x="1358537" y="0"/>
                      <a:pt x="1391052" y="32405"/>
                      <a:pt x="1391052" y="72379"/>
                    </a:cubicBezTo>
                    <a:lnTo>
                      <a:pt x="1391052" y="925913"/>
                    </a:lnTo>
                    <a:cubicBezTo>
                      <a:pt x="1391052" y="965887"/>
                      <a:pt x="1358537" y="998292"/>
                      <a:pt x="1318428" y="998292"/>
                    </a:cubicBezTo>
                    <a:lnTo>
                      <a:pt x="72624" y="998292"/>
                    </a:lnTo>
                    <a:cubicBezTo>
                      <a:pt x="32515" y="998292"/>
                      <a:pt x="0" y="965887"/>
                      <a:pt x="0" y="925913"/>
                    </a:cubicBezTo>
                    <a:lnTo>
                      <a:pt x="0" y="72379"/>
                    </a:lnTo>
                    <a:cubicBezTo>
                      <a:pt x="0" y="32405"/>
                      <a:pt x="32515" y="0"/>
                      <a:pt x="72624" y="0"/>
                    </a:cubicBezTo>
                    <a:close/>
                  </a:path>
                </a:pathLst>
              </a:custGeom>
              <a:grpFill/>
              <a:ln w="190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85" name="Freeform 84">
                <a:extLst>
                  <a:ext uri="{FF2B5EF4-FFF2-40B4-BE49-F238E27FC236}">
                    <a16:creationId xmlns:a16="http://schemas.microsoft.com/office/drawing/2014/main" id="{002C3DCA-2E78-5210-4AC3-4BEE8B6EBA56}"/>
                  </a:ext>
                </a:extLst>
              </p:cNvPr>
              <p:cNvSpPr>
                <a:spLocks noChangeAspect="1"/>
              </p:cNvSpPr>
              <p:nvPr/>
            </p:nvSpPr>
            <p:spPr>
              <a:xfrm>
                <a:off x="12246201" y="8152752"/>
                <a:ext cx="2428413" cy="921595"/>
              </a:xfrm>
              <a:custGeom>
                <a:avLst/>
                <a:gdLst>
                  <a:gd name="connsiteX0" fmla="*/ 0 w 1335038"/>
                  <a:gd name="connsiteY0" fmla="*/ 2887 h 506653"/>
                  <a:gd name="connsiteX1" fmla="*/ 667519 w 1335038"/>
                  <a:gd name="connsiteY1" fmla="*/ 506654 h 506653"/>
                  <a:gd name="connsiteX2" fmla="*/ 1335039 w 1335038"/>
                  <a:gd name="connsiteY2" fmla="*/ 0 h 506653"/>
                </a:gdLst>
                <a:ahLst/>
                <a:cxnLst>
                  <a:cxn ang="0">
                    <a:pos x="connsiteX0" y="connsiteY0"/>
                  </a:cxn>
                  <a:cxn ang="0">
                    <a:pos x="connsiteX1" y="connsiteY1"/>
                  </a:cxn>
                  <a:cxn ang="0">
                    <a:pos x="connsiteX2" y="connsiteY2"/>
                  </a:cxn>
                </a:cxnLst>
                <a:rect l="l" t="t" r="r" b="b"/>
                <a:pathLst>
                  <a:path w="1335038" h="506653">
                    <a:moveTo>
                      <a:pt x="0" y="2887"/>
                    </a:moveTo>
                    <a:lnTo>
                      <a:pt x="667519" y="506654"/>
                    </a:lnTo>
                    <a:lnTo>
                      <a:pt x="1335039" y="0"/>
                    </a:lnTo>
                  </a:path>
                </a:pathLst>
              </a:custGeom>
              <a:grpFill/>
              <a:ln w="19050" cap="rnd">
                <a:solidFill>
                  <a:schemeClr val="accent2"/>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grpSp>
      <p:grpSp>
        <p:nvGrpSpPr>
          <p:cNvPr id="86" name="Group 85">
            <a:extLst>
              <a:ext uri="{FF2B5EF4-FFF2-40B4-BE49-F238E27FC236}">
                <a16:creationId xmlns:a16="http://schemas.microsoft.com/office/drawing/2014/main" id="{50026CA8-BF93-4205-D641-886ED3183FDB}"/>
              </a:ext>
            </a:extLst>
          </p:cNvPr>
          <p:cNvGrpSpPr/>
          <p:nvPr/>
        </p:nvGrpSpPr>
        <p:grpSpPr>
          <a:xfrm>
            <a:off x="14071610" y="2665505"/>
            <a:ext cx="2766044" cy="924126"/>
            <a:chOff x="14071610" y="2665505"/>
            <a:chExt cx="2766044" cy="924126"/>
          </a:xfrm>
        </p:grpSpPr>
        <p:sp>
          <p:nvSpPr>
            <p:cNvPr id="87" name="Rounded Rectangle 86">
              <a:extLst>
                <a:ext uri="{FF2B5EF4-FFF2-40B4-BE49-F238E27FC236}">
                  <a16:creationId xmlns:a16="http://schemas.microsoft.com/office/drawing/2014/main" id="{F32A8440-8F0B-9A83-7099-9C634BBE0707}"/>
                </a:ext>
              </a:extLst>
            </p:cNvPr>
            <p:cNvSpPr/>
            <p:nvPr/>
          </p:nvSpPr>
          <p:spPr>
            <a:xfrm>
              <a:off x="14390149" y="2665505"/>
              <a:ext cx="2447505" cy="924126"/>
            </a:xfrm>
            <a:prstGeom prst="roundRect">
              <a:avLst/>
            </a:prstGeom>
            <a:solidFill>
              <a:schemeClr val="accent4"/>
            </a:solid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BAC0C9"/>
                  </a:solidFill>
                  <a:effectLst/>
                  <a:uLnTx/>
                  <a:uFillTx/>
                  <a:latin typeface="Anova Bold"/>
                  <a:ea typeface="+mn-ea"/>
                  <a:cs typeface="+mn-cs"/>
                </a:rPr>
                <a:t>Reply</a:t>
              </a:r>
              <a:br>
                <a:rPr kumimoji="0" lang="en-US" sz="2000" b="0" i="0" u="none" strike="noStrike" kern="1200" cap="none" spc="100" normalizeH="0" baseline="0" noProof="0">
                  <a:ln>
                    <a:noFill/>
                  </a:ln>
                  <a:solidFill>
                    <a:srgbClr val="BAC0C9"/>
                  </a:solidFill>
                  <a:effectLst/>
                  <a:uLnTx/>
                  <a:uFillTx/>
                  <a:latin typeface="Anova Bold"/>
                  <a:ea typeface="+mn-ea"/>
                  <a:cs typeface="+mn-cs"/>
                </a:rPr>
              </a:br>
              <a:r>
                <a:rPr kumimoji="0" lang="en-US" sz="2000" b="0" i="0" u="none" strike="noStrike" kern="1200" cap="none" spc="100" normalizeH="0" baseline="0" noProof="0">
                  <a:ln>
                    <a:noFill/>
                  </a:ln>
                  <a:solidFill>
                    <a:srgbClr val="BAC0C9"/>
                  </a:solidFill>
                  <a:effectLst/>
                  <a:uLnTx/>
                  <a:uFillTx/>
                  <a:latin typeface="Anova Bold"/>
                  <a:ea typeface="+mn-ea"/>
                  <a:cs typeface="+mn-cs"/>
                </a:rPr>
                <a:t>Generated</a:t>
              </a:r>
            </a:p>
          </p:txBody>
        </p:sp>
        <p:grpSp>
          <p:nvGrpSpPr>
            <p:cNvPr id="88" name="Group 87">
              <a:extLst>
                <a:ext uri="{FF2B5EF4-FFF2-40B4-BE49-F238E27FC236}">
                  <a16:creationId xmlns:a16="http://schemas.microsoft.com/office/drawing/2014/main" id="{2E44733C-9786-84EF-20C8-5000651BB40F}"/>
                </a:ext>
              </a:extLst>
            </p:cNvPr>
            <p:cNvGrpSpPr>
              <a:grpSpLocks noChangeAspect="1"/>
            </p:cNvGrpSpPr>
            <p:nvPr/>
          </p:nvGrpSpPr>
          <p:grpSpPr>
            <a:xfrm>
              <a:off x="14071610" y="2904132"/>
              <a:ext cx="637077" cy="457200"/>
              <a:chOff x="12194555" y="8098828"/>
              <a:chExt cx="2530299" cy="1815880"/>
            </a:xfrm>
            <a:solidFill>
              <a:schemeClr val="accent4"/>
            </a:solidFill>
          </p:grpSpPr>
          <p:sp>
            <p:nvSpPr>
              <p:cNvPr id="89" name="Freeform 88">
                <a:extLst>
                  <a:ext uri="{FF2B5EF4-FFF2-40B4-BE49-F238E27FC236}">
                    <a16:creationId xmlns:a16="http://schemas.microsoft.com/office/drawing/2014/main" id="{C6805280-2D4B-2AC4-549D-16EED4F4CDBF}"/>
                  </a:ext>
                </a:extLst>
              </p:cNvPr>
              <p:cNvSpPr>
                <a:spLocks noChangeAspect="1"/>
              </p:cNvSpPr>
              <p:nvPr/>
            </p:nvSpPr>
            <p:spPr>
              <a:xfrm>
                <a:off x="12194555" y="8098828"/>
                <a:ext cx="2530299" cy="1815880"/>
              </a:xfrm>
              <a:custGeom>
                <a:avLst/>
                <a:gdLst>
                  <a:gd name="connsiteX0" fmla="*/ 1318428 w 1391051"/>
                  <a:gd name="connsiteY0" fmla="*/ 0 h 998292"/>
                  <a:gd name="connsiteX1" fmla="*/ 1391052 w 1391051"/>
                  <a:gd name="connsiteY1" fmla="*/ 72379 h 998292"/>
                  <a:gd name="connsiteX2" fmla="*/ 1391052 w 1391051"/>
                  <a:gd name="connsiteY2" fmla="*/ 925913 h 998292"/>
                  <a:gd name="connsiteX3" fmla="*/ 1318428 w 1391051"/>
                  <a:gd name="connsiteY3" fmla="*/ 998292 h 998292"/>
                  <a:gd name="connsiteX4" fmla="*/ 72624 w 1391051"/>
                  <a:gd name="connsiteY4" fmla="*/ 998292 h 998292"/>
                  <a:gd name="connsiteX5" fmla="*/ 0 w 1391051"/>
                  <a:gd name="connsiteY5" fmla="*/ 925913 h 998292"/>
                  <a:gd name="connsiteX6" fmla="*/ 0 w 1391051"/>
                  <a:gd name="connsiteY6" fmla="*/ 72379 h 998292"/>
                  <a:gd name="connsiteX7" fmla="*/ 72624 w 1391051"/>
                  <a:gd name="connsiteY7" fmla="*/ 0 h 9982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91051" h="998292">
                    <a:moveTo>
                      <a:pt x="1318428" y="0"/>
                    </a:moveTo>
                    <a:cubicBezTo>
                      <a:pt x="1358537" y="0"/>
                      <a:pt x="1391052" y="32405"/>
                      <a:pt x="1391052" y="72379"/>
                    </a:cubicBezTo>
                    <a:lnTo>
                      <a:pt x="1391052" y="925913"/>
                    </a:lnTo>
                    <a:cubicBezTo>
                      <a:pt x="1391052" y="965887"/>
                      <a:pt x="1358537" y="998292"/>
                      <a:pt x="1318428" y="998292"/>
                    </a:cubicBezTo>
                    <a:lnTo>
                      <a:pt x="72624" y="998292"/>
                    </a:lnTo>
                    <a:cubicBezTo>
                      <a:pt x="32515" y="998292"/>
                      <a:pt x="0" y="965887"/>
                      <a:pt x="0" y="925913"/>
                    </a:cubicBezTo>
                    <a:lnTo>
                      <a:pt x="0" y="72379"/>
                    </a:lnTo>
                    <a:cubicBezTo>
                      <a:pt x="0" y="32405"/>
                      <a:pt x="32515" y="0"/>
                      <a:pt x="72624" y="0"/>
                    </a:cubicBezTo>
                    <a:close/>
                  </a:path>
                </a:pathLst>
              </a:custGeom>
              <a:grpFill/>
              <a:ln w="1905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90" name="Freeform 89">
                <a:extLst>
                  <a:ext uri="{FF2B5EF4-FFF2-40B4-BE49-F238E27FC236}">
                    <a16:creationId xmlns:a16="http://schemas.microsoft.com/office/drawing/2014/main" id="{CB4AC085-695C-7760-4FFF-14C615DFA334}"/>
                  </a:ext>
                </a:extLst>
              </p:cNvPr>
              <p:cNvSpPr>
                <a:spLocks noChangeAspect="1"/>
              </p:cNvSpPr>
              <p:nvPr/>
            </p:nvSpPr>
            <p:spPr>
              <a:xfrm>
                <a:off x="12246201" y="8152752"/>
                <a:ext cx="2428413" cy="921595"/>
              </a:xfrm>
              <a:custGeom>
                <a:avLst/>
                <a:gdLst>
                  <a:gd name="connsiteX0" fmla="*/ 0 w 1335038"/>
                  <a:gd name="connsiteY0" fmla="*/ 2887 h 506653"/>
                  <a:gd name="connsiteX1" fmla="*/ 667519 w 1335038"/>
                  <a:gd name="connsiteY1" fmla="*/ 506654 h 506653"/>
                  <a:gd name="connsiteX2" fmla="*/ 1335039 w 1335038"/>
                  <a:gd name="connsiteY2" fmla="*/ 0 h 506653"/>
                </a:gdLst>
                <a:ahLst/>
                <a:cxnLst>
                  <a:cxn ang="0">
                    <a:pos x="connsiteX0" y="connsiteY0"/>
                  </a:cxn>
                  <a:cxn ang="0">
                    <a:pos x="connsiteX1" y="connsiteY1"/>
                  </a:cxn>
                  <a:cxn ang="0">
                    <a:pos x="connsiteX2" y="connsiteY2"/>
                  </a:cxn>
                </a:cxnLst>
                <a:rect l="l" t="t" r="r" b="b"/>
                <a:pathLst>
                  <a:path w="1335038" h="506653">
                    <a:moveTo>
                      <a:pt x="0" y="2887"/>
                    </a:moveTo>
                    <a:lnTo>
                      <a:pt x="667519" y="506654"/>
                    </a:lnTo>
                    <a:lnTo>
                      <a:pt x="1335039" y="0"/>
                    </a:lnTo>
                  </a:path>
                </a:pathLst>
              </a:custGeom>
              <a:grpFill/>
              <a:ln w="19050" cap="rnd">
                <a:solidFill>
                  <a:schemeClr val="accent6"/>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grpSp>
      <p:grpSp>
        <p:nvGrpSpPr>
          <p:cNvPr id="91" name="Group 90">
            <a:extLst>
              <a:ext uri="{FF2B5EF4-FFF2-40B4-BE49-F238E27FC236}">
                <a16:creationId xmlns:a16="http://schemas.microsoft.com/office/drawing/2014/main" id="{06E20735-6356-5BF1-6AF6-CB7470A3CB6B}"/>
              </a:ext>
            </a:extLst>
          </p:cNvPr>
          <p:cNvGrpSpPr/>
          <p:nvPr/>
        </p:nvGrpSpPr>
        <p:grpSpPr>
          <a:xfrm>
            <a:off x="14133160" y="5061949"/>
            <a:ext cx="2961482" cy="1446736"/>
            <a:chOff x="14126221" y="5061949"/>
            <a:chExt cx="2961482" cy="1446736"/>
          </a:xfrm>
        </p:grpSpPr>
        <p:sp>
          <p:nvSpPr>
            <p:cNvPr id="92" name="Rounded Rectangle 91">
              <a:extLst>
                <a:ext uri="{FF2B5EF4-FFF2-40B4-BE49-F238E27FC236}">
                  <a16:creationId xmlns:a16="http://schemas.microsoft.com/office/drawing/2014/main" id="{1A6A081C-0E87-D987-1083-EFCAB6A9F431}"/>
                </a:ext>
              </a:extLst>
            </p:cNvPr>
            <p:cNvSpPr/>
            <p:nvPr/>
          </p:nvSpPr>
          <p:spPr>
            <a:xfrm>
              <a:off x="14126221" y="5061949"/>
              <a:ext cx="2961482" cy="1446736"/>
            </a:xfrm>
            <a:prstGeom prst="roundRect">
              <a:avLst/>
            </a:prstGeom>
            <a:solidFill>
              <a:schemeClr val="accent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none" tIns="914400"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100" normalizeH="0" baseline="0" noProof="0">
                  <a:ln>
                    <a:noFill/>
                  </a:ln>
                  <a:solidFill>
                    <a:srgbClr val="FFFFFF"/>
                  </a:solidFill>
                  <a:effectLst/>
                  <a:uLnTx/>
                  <a:uFillTx/>
                  <a:latin typeface="Anova Bold"/>
                  <a:ea typeface="+mn-ea"/>
                  <a:cs typeface="+mn-cs"/>
                </a:rPr>
                <a:t>OPERATOR APPROVAL</a:t>
              </a:r>
            </a:p>
          </p:txBody>
        </p:sp>
        <p:pic>
          <p:nvPicPr>
            <p:cNvPr id="93" name="Graphic 92" descr="Badge Tick outline">
              <a:extLst>
                <a:ext uri="{FF2B5EF4-FFF2-40B4-BE49-F238E27FC236}">
                  <a16:creationId xmlns:a16="http://schemas.microsoft.com/office/drawing/2014/main" id="{E5F82764-60D2-95DF-A2E1-591343D446DE}"/>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5117588" y="5096291"/>
              <a:ext cx="978747" cy="978747"/>
            </a:xfrm>
            <a:prstGeom prst="rect">
              <a:avLst/>
            </a:prstGeom>
          </p:spPr>
        </p:pic>
      </p:grpSp>
      <p:cxnSp>
        <p:nvCxnSpPr>
          <p:cNvPr id="94" name="Straight Arrow Connector 93">
            <a:extLst>
              <a:ext uri="{FF2B5EF4-FFF2-40B4-BE49-F238E27FC236}">
                <a16:creationId xmlns:a16="http://schemas.microsoft.com/office/drawing/2014/main" id="{AD22B736-AF16-D8B4-2B20-446F9661AFDD}"/>
              </a:ext>
            </a:extLst>
          </p:cNvPr>
          <p:cNvCxnSpPr/>
          <p:nvPr/>
        </p:nvCxnSpPr>
        <p:spPr>
          <a:xfrm>
            <a:off x="10407262" y="3127568"/>
            <a:ext cx="3430658" cy="0"/>
          </a:xfrm>
          <a:prstGeom prst="straightConnector1">
            <a:avLst/>
          </a:prstGeom>
          <a:ln w="41275">
            <a:gradFill flip="none" rotWithShape="1">
              <a:gsLst>
                <a:gs pos="83000">
                  <a:schemeClr val="accent6"/>
                </a:gs>
                <a:gs pos="100000">
                  <a:schemeClr val="accent5">
                    <a:alpha val="0"/>
                  </a:schemeClr>
                </a:gs>
              </a:gsLst>
              <a:lin ang="10800000" scaled="1"/>
              <a:tileRect/>
            </a:gradFill>
            <a:tailEnd type="arrow" w="lg" len="sm"/>
          </a:ln>
        </p:spPr>
        <p:style>
          <a:lnRef idx="1">
            <a:schemeClr val="accent1"/>
          </a:lnRef>
          <a:fillRef idx="0">
            <a:schemeClr val="accent1"/>
          </a:fillRef>
          <a:effectRef idx="0">
            <a:schemeClr val="accent1"/>
          </a:effectRef>
          <a:fontRef idx="minor">
            <a:schemeClr val="tx1"/>
          </a:fontRef>
        </p:style>
      </p:cxnSp>
      <p:cxnSp>
        <p:nvCxnSpPr>
          <p:cNvPr id="95" name="Straight Arrow Connector 94">
            <a:extLst>
              <a:ext uri="{FF2B5EF4-FFF2-40B4-BE49-F238E27FC236}">
                <a16:creationId xmlns:a16="http://schemas.microsoft.com/office/drawing/2014/main" id="{F30BB20B-6B6E-60D6-A5F0-D004438B93EE}"/>
              </a:ext>
            </a:extLst>
          </p:cNvPr>
          <p:cNvCxnSpPr>
            <a:stCxn id="87" idx="2"/>
          </p:cNvCxnSpPr>
          <p:nvPr/>
        </p:nvCxnSpPr>
        <p:spPr>
          <a:xfrm flipH="1">
            <a:off x="15613901" y="3589631"/>
            <a:ext cx="1" cy="1274451"/>
          </a:xfrm>
          <a:prstGeom prst="straightConnector1">
            <a:avLst/>
          </a:prstGeom>
          <a:ln w="41275">
            <a:gradFill flip="none" rotWithShape="1">
              <a:gsLst>
                <a:gs pos="57000">
                  <a:schemeClr val="accent6"/>
                </a:gs>
                <a:gs pos="100000">
                  <a:schemeClr val="accent5">
                    <a:alpha val="0"/>
                  </a:schemeClr>
                </a:gs>
              </a:gsLst>
              <a:lin ang="16200000" scaled="1"/>
              <a:tileRect/>
            </a:gradFill>
            <a:tailEnd type="arrow" w="lg" len="sm"/>
          </a:ln>
        </p:spPr>
        <p:style>
          <a:lnRef idx="1">
            <a:schemeClr val="accent1"/>
          </a:lnRef>
          <a:fillRef idx="0">
            <a:schemeClr val="accent1"/>
          </a:fillRef>
          <a:effectRef idx="0">
            <a:schemeClr val="accent1"/>
          </a:effectRef>
          <a:fontRef idx="minor">
            <a:schemeClr val="tx1"/>
          </a:fontRef>
        </p:style>
      </p:cxnSp>
      <p:sp>
        <p:nvSpPr>
          <p:cNvPr id="96" name="Rectangle 95">
            <a:extLst>
              <a:ext uri="{FF2B5EF4-FFF2-40B4-BE49-F238E27FC236}">
                <a16:creationId xmlns:a16="http://schemas.microsoft.com/office/drawing/2014/main" id="{F4B8A484-FB92-FE05-3CCF-DE76E1BCD1FF}"/>
              </a:ext>
            </a:extLst>
          </p:cNvPr>
          <p:cNvSpPr/>
          <p:nvPr/>
        </p:nvSpPr>
        <p:spPr>
          <a:xfrm>
            <a:off x="1290596" y="3950383"/>
            <a:ext cx="3741029" cy="1043345"/>
          </a:xfrm>
          <a:prstGeom prst="rect">
            <a:avLst/>
          </a:prstGeom>
          <a:solidFill>
            <a:schemeClr val="accent4">
              <a:lumMod val="75000"/>
              <a:lumOff val="25000"/>
            </a:schemeClr>
          </a:solidFill>
          <a:ln w="25400" cap="rnd">
            <a:solidFill>
              <a:schemeClr val="accent2"/>
            </a:solid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nvGrpSpPr>
          <p:cNvPr id="97" name="Group 96">
            <a:extLst>
              <a:ext uri="{FF2B5EF4-FFF2-40B4-BE49-F238E27FC236}">
                <a16:creationId xmlns:a16="http://schemas.microsoft.com/office/drawing/2014/main" id="{C4C300FC-C5C5-3096-0CB6-78A78ECC09AD}"/>
              </a:ext>
            </a:extLst>
          </p:cNvPr>
          <p:cNvGrpSpPr/>
          <p:nvPr/>
        </p:nvGrpSpPr>
        <p:grpSpPr>
          <a:xfrm>
            <a:off x="1487923" y="-152835"/>
            <a:ext cx="3239588" cy="25444199"/>
            <a:chOff x="13757848" y="2169190"/>
            <a:chExt cx="3239588" cy="25444199"/>
          </a:xfrm>
        </p:grpSpPr>
        <p:grpSp>
          <p:nvGrpSpPr>
            <p:cNvPr id="98" name="Group 97">
              <a:extLst>
                <a:ext uri="{FF2B5EF4-FFF2-40B4-BE49-F238E27FC236}">
                  <a16:creationId xmlns:a16="http://schemas.microsoft.com/office/drawing/2014/main" id="{6AD731F8-2B08-DC9D-2130-6C4C4352277B}"/>
                </a:ext>
              </a:extLst>
            </p:cNvPr>
            <p:cNvGrpSpPr/>
            <p:nvPr/>
          </p:nvGrpSpPr>
          <p:grpSpPr>
            <a:xfrm>
              <a:off x="13757848" y="2169190"/>
              <a:ext cx="3239588" cy="3005109"/>
              <a:chOff x="13757848" y="2169190"/>
              <a:chExt cx="3239588" cy="3005109"/>
            </a:xfrm>
          </p:grpSpPr>
          <p:grpSp>
            <p:nvGrpSpPr>
              <p:cNvPr id="365" name="Group 364">
                <a:extLst>
                  <a:ext uri="{FF2B5EF4-FFF2-40B4-BE49-F238E27FC236}">
                    <a16:creationId xmlns:a16="http://schemas.microsoft.com/office/drawing/2014/main" id="{D396012F-76C2-54F2-EA3A-C708E63CBD2A}"/>
                  </a:ext>
                </a:extLst>
              </p:cNvPr>
              <p:cNvGrpSpPr/>
              <p:nvPr/>
            </p:nvGrpSpPr>
            <p:grpSpPr>
              <a:xfrm>
                <a:off x="13816078" y="2169190"/>
                <a:ext cx="3096088" cy="707825"/>
                <a:chOff x="13816078" y="2169190"/>
                <a:chExt cx="3096088" cy="707825"/>
              </a:xfrm>
            </p:grpSpPr>
            <p:sp>
              <p:nvSpPr>
                <p:cNvPr id="392" name="Rounded Rectangle 391">
                  <a:extLst>
                    <a:ext uri="{FF2B5EF4-FFF2-40B4-BE49-F238E27FC236}">
                      <a16:creationId xmlns:a16="http://schemas.microsoft.com/office/drawing/2014/main" id="{9A17352C-5555-11C7-F8E4-57D600303437}"/>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93" name="Group 392">
                  <a:extLst>
                    <a:ext uri="{FF2B5EF4-FFF2-40B4-BE49-F238E27FC236}">
                      <a16:creationId xmlns:a16="http://schemas.microsoft.com/office/drawing/2014/main" id="{0C89D3B9-9AA9-C2DE-C744-09111296DD96}"/>
                    </a:ext>
                  </a:extLst>
                </p:cNvPr>
                <p:cNvGrpSpPr/>
                <p:nvPr/>
              </p:nvGrpSpPr>
              <p:grpSpPr>
                <a:xfrm>
                  <a:off x="14631249" y="2345047"/>
                  <a:ext cx="2132755" cy="339866"/>
                  <a:chOff x="3344204" y="2330315"/>
                  <a:chExt cx="1972263" cy="339866"/>
                </a:xfrm>
              </p:grpSpPr>
              <p:cxnSp>
                <p:nvCxnSpPr>
                  <p:cNvPr id="395" name="Straight Connector 394">
                    <a:extLst>
                      <a:ext uri="{FF2B5EF4-FFF2-40B4-BE49-F238E27FC236}">
                        <a16:creationId xmlns:a16="http://schemas.microsoft.com/office/drawing/2014/main" id="{131DB2D8-3A06-D509-5B87-3A2A6646CF79}"/>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BCE9A9C2-3603-A75F-2021-98F55D379FF8}"/>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26CD6E51-D26D-292F-16CC-B3AB8C657B24}"/>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215573F8-45F0-B9D7-242D-3B5149DCAB5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833EE89C-2B2A-5FF0-7C5E-C9105C0098BE}"/>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204501D-B7B3-E351-B470-CEFE71E214AF}"/>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0CFD1FB2-F7BA-CE19-D9C5-D6D1CE290ED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94" name="TextBox 393">
                  <a:extLst>
                    <a:ext uri="{FF2B5EF4-FFF2-40B4-BE49-F238E27FC236}">
                      <a16:creationId xmlns:a16="http://schemas.microsoft.com/office/drawing/2014/main" id="{87CF4168-603E-96D3-1FC0-36121A701E88}"/>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a:t>
                  </a:r>
                </a:p>
              </p:txBody>
            </p:sp>
          </p:grpSp>
          <p:grpSp>
            <p:nvGrpSpPr>
              <p:cNvPr id="366" name="Group 365">
                <a:extLst>
                  <a:ext uri="{FF2B5EF4-FFF2-40B4-BE49-F238E27FC236}">
                    <a16:creationId xmlns:a16="http://schemas.microsoft.com/office/drawing/2014/main" id="{C7D2F8C2-0643-87D8-2E47-B5BF027D84E4}"/>
                  </a:ext>
                </a:extLst>
              </p:cNvPr>
              <p:cNvGrpSpPr/>
              <p:nvPr/>
            </p:nvGrpSpPr>
            <p:grpSpPr>
              <a:xfrm>
                <a:off x="13816078" y="3243610"/>
                <a:ext cx="3096088" cy="707825"/>
                <a:chOff x="13816078" y="3243610"/>
                <a:chExt cx="3096088" cy="707825"/>
              </a:xfrm>
            </p:grpSpPr>
            <p:sp>
              <p:nvSpPr>
                <p:cNvPr id="381" name="Rounded Rectangle 380">
                  <a:extLst>
                    <a:ext uri="{FF2B5EF4-FFF2-40B4-BE49-F238E27FC236}">
                      <a16:creationId xmlns:a16="http://schemas.microsoft.com/office/drawing/2014/main" id="{2E9691EA-B2E1-798D-BE7D-3A507611BE67}"/>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82" name="Group 381">
                  <a:extLst>
                    <a:ext uri="{FF2B5EF4-FFF2-40B4-BE49-F238E27FC236}">
                      <a16:creationId xmlns:a16="http://schemas.microsoft.com/office/drawing/2014/main" id="{D2D59CB2-5BE9-C12E-A1EE-F83FC9CA4CE1}"/>
                    </a:ext>
                  </a:extLst>
                </p:cNvPr>
                <p:cNvGrpSpPr/>
                <p:nvPr/>
              </p:nvGrpSpPr>
              <p:grpSpPr>
                <a:xfrm>
                  <a:off x="14631249" y="3419467"/>
                  <a:ext cx="2132755" cy="339866"/>
                  <a:chOff x="3344204" y="2330315"/>
                  <a:chExt cx="1972263" cy="339866"/>
                </a:xfrm>
              </p:grpSpPr>
              <p:cxnSp>
                <p:nvCxnSpPr>
                  <p:cNvPr id="384" name="Straight Connector 383">
                    <a:extLst>
                      <a:ext uri="{FF2B5EF4-FFF2-40B4-BE49-F238E27FC236}">
                        <a16:creationId xmlns:a16="http://schemas.microsoft.com/office/drawing/2014/main" id="{2385607E-E52E-81A9-B4EF-9D80BAF915E8}"/>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39E4189-DD70-763C-B467-D0A2BF7E3E71}"/>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84CDDE7B-85AB-DC3D-AE2F-1410B468B7A8}"/>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A1B78518-680C-05DA-2030-77796A1735C9}"/>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AB6BF75F-3F96-0CF2-DA41-61B01BCD7B1B}"/>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52205826-7A78-E9EC-70AA-F04FA7D1BEA0}"/>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7D42F89E-6FB6-7339-1F4C-407EEA51369C}"/>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4F67A3BA-5313-4D18-C7B5-51FA02C8E4CB}"/>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83" name="TextBox 382">
                  <a:extLst>
                    <a:ext uri="{FF2B5EF4-FFF2-40B4-BE49-F238E27FC236}">
                      <a16:creationId xmlns:a16="http://schemas.microsoft.com/office/drawing/2014/main" id="{6F236FFF-44BC-721F-CA5D-86F4877D277F}"/>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a:t>
                  </a:r>
                </a:p>
              </p:txBody>
            </p:sp>
          </p:grpSp>
          <p:cxnSp>
            <p:nvCxnSpPr>
              <p:cNvPr id="367" name="Straight Connector 366">
                <a:extLst>
                  <a:ext uri="{FF2B5EF4-FFF2-40B4-BE49-F238E27FC236}">
                    <a16:creationId xmlns:a16="http://schemas.microsoft.com/office/drawing/2014/main" id="{0FDBE0B0-C2B5-BE3F-68D9-98FC1A32432D}"/>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368" name="Group 367">
                <a:extLst>
                  <a:ext uri="{FF2B5EF4-FFF2-40B4-BE49-F238E27FC236}">
                    <a16:creationId xmlns:a16="http://schemas.microsoft.com/office/drawing/2014/main" id="{C06D869B-7A16-2380-3F16-CFD8EFEBC6DD}"/>
                  </a:ext>
                </a:extLst>
              </p:cNvPr>
              <p:cNvGrpSpPr/>
              <p:nvPr/>
            </p:nvGrpSpPr>
            <p:grpSpPr>
              <a:xfrm>
                <a:off x="13816078" y="4288638"/>
                <a:ext cx="3096088" cy="707825"/>
                <a:chOff x="13816078" y="4288638"/>
                <a:chExt cx="3096088" cy="707825"/>
              </a:xfrm>
            </p:grpSpPr>
            <p:sp>
              <p:nvSpPr>
                <p:cNvPr id="371" name="Rounded Rectangle 370">
                  <a:extLst>
                    <a:ext uri="{FF2B5EF4-FFF2-40B4-BE49-F238E27FC236}">
                      <a16:creationId xmlns:a16="http://schemas.microsoft.com/office/drawing/2014/main" id="{4BE11980-3D23-E1CB-0CD7-4DF0B89B789F}"/>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72" name="Group 371">
                  <a:extLst>
                    <a:ext uri="{FF2B5EF4-FFF2-40B4-BE49-F238E27FC236}">
                      <a16:creationId xmlns:a16="http://schemas.microsoft.com/office/drawing/2014/main" id="{6B6FC53E-CAC3-659A-71C8-DD3713183E20}"/>
                    </a:ext>
                  </a:extLst>
                </p:cNvPr>
                <p:cNvGrpSpPr/>
                <p:nvPr/>
              </p:nvGrpSpPr>
              <p:grpSpPr>
                <a:xfrm>
                  <a:off x="14631244" y="4464495"/>
                  <a:ext cx="2132752" cy="339866"/>
                  <a:chOff x="3344204" y="2330315"/>
                  <a:chExt cx="1972263" cy="339866"/>
                </a:xfrm>
              </p:grpSpPr>
              <p:cxnSp>
                <p:nvCxnSpPr>
                  <p:cNvPr id="374" name="Straight Connector 373">
                    <a:extLst>
                      <a:ext uri="{FF2B5EF4-FFF2-40B4-BE49-F238E27FC236}">
                        <a16:creationId xmlns:a16="http://schemas.microsoft.com/office/drawing/2014/main" id="{03158329-BB3D-C407-BDF6-FC6A8140113A}"/>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617AE7C6-F406-CD53-572B-ED162B60B288}"/>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5FAB75C0-A91C-EDCE-E7B3-31EB5DB215A2}"/>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E2E1FFDF-A35B-E995-E536-CD5EABFAF948}"/>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9AAF9FB9-C57C-541F-9730-A4CD9430AC6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AD1598C5-82F3-C62C-BAE0-4E9C1D77929C}"/>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F429E408-15DF-F4CB-A86A-EB1C5BFA0281}"/>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73" name="TextBox 372">
                  <a:extLst>
                    <a:ext uri="{FF2B5EF4-FFF2-40B4-BE49-F238E27FC236}">
                      <a16:creationId xmlns:a16="http://schemas.microsoft.com/office/drawing/2014/main" id="{17C0315E-CCB5-B5AE-5E88-10B42F73D774}"/>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3</a:t>
                  </a:r>
                </a:p>
              </p:txBody>
            </p:sp>
          </p:grpSp>
          <p:cxnSp>
            <p:nvCxnSpPr>
              <p:cNvPr id="369" name="Straight Connector 368">
                <a:extLst>
                  <a:ext uri="{FF2B5EF4-FFF2-40B4-BE49-F238E27FC236}">
                    <a16:creationId xmlns:a16="http://schemas.microsoft.com/office/drawing/2014/main" id="{88528117-24E6-749D-6A15-633A76E03D71}"/>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70" name="Straight Connector 369">
                <a:extLst>
                  <a:ext uri="{FF2B5EF4-FFF2-40B4-BE49-F238E27FC236}">
                    <a16:creationId xmlns:a16="http://schemas.microsoft.com/office/drawing/2014/main" id="{6D9D0CA7-D4FB-0829-8B68-00F88BF2F01F}"/>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99" name="Group 98">
              <a:extLst>
                <a:ext uri="{FF2B5EF4-FFF2-40B4-BE49-F238E27FC236}">
                  <a16:creationId xmlns:a16="http://schemas.microsoft.com/office/drawing/2014/main" id="{C1EDAFC1-FBD0-D805-D49A-01BB595BD1B4}"/>
                </a:ext>
              </a:extLst>
            </p:cNvPr>
            <p:cNvGrpSpPr/>
            <p:nvPr/>
          </p:nvGrpSpPr>
          <p:grpSpPr>
            <a:xfrm>
              <a:off x="13757848" y="5374774"/>
              <a:ext cx="3239588" cy="3005109"/>
              <a:chOff x="13757848" y="2169190"/>
              <a:chExt cx="3239588" cy="3005109"/>
            </a:xfrm>
          </p:grpSpPr>
          <p:grpSp>
            <p:nvGrpSpPr>
              <p:cNvPr id="328" name="Group 327">
                <a:extLst>
                  <a:ext uri="{FF2B5EF4-FFF2-40B4-BE49-F238E27FC236}">
                    <a16:creationId xmlns:a16="http://schemas.microsoft.com/office/drawing/2014/main" id="{7CD406E3-8AB7-ABAA-394D-B3F29D405524}"/>
                  </a:ext>
                </a:extLst>
              </p:cNvPr>
              <p:cNvGrpSpPr/>
              <p:nvPr/>
            </p:nvGrpSpPr>
            <p:grpSpPr>
              <a:xfrm>
                <a:off x="13816078" y="2169190"/>
                <a:ext cx="3096088" cy="707825"/>
                <a:chOff x="13816078" y="2169190"/>
                <a:chExt cx="3096088" cy="707825"/>
              </a:xfrm>
            </p:grpSpPr>
            <p:sp>
              <p:nvSpPr>
                <p:cNvPr id="355" name="Rounded Rectangle 354">
                  <a:extLst>
                    <a:ext uri="{FF2B5EF4-FFF2-40B4-BE49-F238E27FC236}">
                      <a16:creationId xmlns:a16="http://schemas.microsoft.com/office/drawing/2014/main" id="{62DDF9B8-5CD3-B496-62AB-E1E9A70C707E}"/>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56" name="Group 355">
                  <a:extLst>
                    <a:ext uri="{FF2B5EF4-FFF2-40B4-BE49-F238E27FC236}">
                      <a16:creationId xmlns:a16="http://schemas.microsoft.com/office/drawing/2014/main" id="{5AAA860C-84CD-2049-904F-1DDE39039EF3}"/>
                    </a:ext>
                  </a:extLst>
                </p:cNvPr>
                <p:cNvGrpSpPr/>
                <p:nvPr/>
              </p:nvGrpSpPr>
              <p:grpSpPr>
                <a:xfrm>
                  <a:off x="14631249" y="2345047"/>
                  <a:ext cx="2132755" cy="339866"/>
                  <a:chOff x="3344204" y="2330315"/>
                  <a:chExt cx="1972263" cy="339866"/>
                </a:xfrm>
              </p:grpSpPr>
              <p:cxnSp>
                <p:nvCxnSpPr>
                  <p:cNvPr id="358" name="Straight Connector 357">
                    <a:extLst>
                      <a:ext uri="{FF2B5EF4-FFF2-40B4-BE49-F238E27FC236}">
                        <a16:creationId xmlns:a16="http://schemas.microsoft.com/office/drawing/2014/main" id="{E6DBEE61-8108-3944-4F1F-380051AA1007}"/>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1C050A89-B5FF-A505-A451-292936DE7F25}"/>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10E4425F-7846-DD8E-2C52-B9EFBD37C256}"/>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E9E08943-27B3-8B26-696B-1983F19618E2}"/>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08BBCA3A-A5BA-6A14-CBA1-DBBA51DF9176}"/>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2C4473D9-DB86-0C91-E8AF-AC04EBED2E35}"/>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7F0741FE-4C15-B6B6-D84E-9F42AB46792E}"/>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57" name="TextBox 356">
                  <a:extLst>
                    <a:ext uri="{FF2B5EF4-FFF2-40B4-BE49-F238E27FC236}">
                      <a16:creationId xmlns:a16="http://schemas.microsoft.com/office/drawing/2014/main" id="{E25B1866-1FAD-A936-1593-27F4C5F5BA73}"/>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4</a:t>
                  </a:r>
                </a:p>
              </p:txBody>
            </p:sp>
          </p:grpSp>
          <p:grpSp>
            <p:nvGrpSpPr>
              <p:cNvPr id="329" name="Group 328">
                <a:extLst>
                  <a:ext uri="{FF2B5EF4-FFF2-40B4-BE49-F238E27FC236}">
                    <a16:creationId xmlns:a16="http://schemas.microsoft.com/office/drawing/2014/main" id="{71F05D77-632A-AEBC-501E-76DC48CAACD3}"/>
                  </a:ext>
                </a:extLst>
              </p:cNvPr>
              <p:cNvGrpSpPr/>
              <p:nvPr/>
            </p:nvGrpSpPr>
            <p:grpSpPr>
              <a:xfrm>
                <a:off x="13816078" y="3243610"/>
                <a:ext cx="3096088" cy="707825"/>
                <a:chOff x="13816078" y="3243610"/>
                <a:chExt cx="3096088" cy="707825"/>
              </a:xfrm>
            </p:grpSpPr>
            <p:grpSp>
              <p:nvGrpSpPr>
                <p:cNvPr id="344" name="Group 343">
                  <a:extLst>
                    <a:ext uri="{FF2B5EF4-FFF2-40B4-BE49-F238E27FC236}">
                      <a16:creationId xmlns:a16="http://schemas.microsoft.com/office/drawing/2014/main" id="{18EE2B04-E649-B216-010B-254933FB8208}"/>
                    </a:ext>
                  </a:extLst>
                </p:cNvPr>
                <p:cNvGrpSpPr/>
                <p:nvPr/>
              </p:nvGrpSpPr>
              <p:grpSpPr>
                <a:xfrm>
                  <a:off x="14631245" y="3419467"/>
                  <a:ext cx="2132753" cy="339866"/>
                  <a:chOff x="3344204" y="2330315"/>
                  <a:chExt cx="1972263" cy="339866"/>
                </a:xfrm>
              </p:grpSpPr>
              <p:cxnSp>
                <p:nvCxnSpPr>
                  <p:cNvPr id="347" name="Straight Connector 346">
                    <a:extLst>
                      <a:ext uri="{FF2B5EF4-FFF2-40B4-BE49-F238E27FC236}">
                        <a16:creationId xmlns:a16="http://schemas.microsoft.com/office/drawing/2014/main" id="{8249EAC8-9246-DE86-616D-494F5D29225C}"/>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8" name="Straight Connector 347">
                    <a:extLst>
                      <a:ext uri="{FF2B5EF4-FFF2-40B4-BE49-F238E27FC236}">
                        <a16:creationId xmlns:a16="http://schemas.microsoft.com/office/drawing/2014/main" id="{4C394A99-5F59-A193-A769-66B5F0D5524A}"/>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9" name="Straight Connector 348">
                    <a:extLst>
                      <a:ext uri="{FF2B5EF4-FFF2-40B4-BE49-F238E27FC236}">
                        <a16:creationId xmlns:a16="http://schemas.microsoft.com/office/drawing/2014/main" id="{DAF310E0-ED39-04A4-B3A8-53C228CD2242}"/>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0" name="Straight Connector 349">
                    <a:extLst>
                      <a:ext uri="{FF2B5EF4-FFF2-40B4-BE49-F238E27FC236}">
                        <a16:creationId xmlns:a16="http://schemas.microsoft.com/office/drawing/2014/main" id="{0D18D03F-CD25-8384-1BD7-01990AFC2AA0}"/>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1" name="Straight Connector 350">
                    <a:extLst>
                      <a:ext uri="{FF2B5EF4-FFF2-40B4-BE49-F238E27FC236}">
                        <a16:creationId xmlns:a16="http://schemas.microsoft.com/office/drawing/2014/main" id="{30C5BDE3-0872-1CD8-590E-43AA4920ECD4}"/>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2" name="Straight Connector 351">
                    <a:extLst>
                      <a:ext uri="{FF2B5EF4-FFF2-40B4-BE49-F238E27FC236}">
                        <a16:creationId xmlns:a16="http://schemas.microsoft.com/office/drawing/2014/main" id="{23E59375-7209-FF6D-E306-9E2F0AFB50E8}"/>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3" name="Straight Connector 352">
                    <a:extLst>
                      <a:ext uri="{FF2B5EF4-FFF2-40B4-BE49-F238E27FC236}">
                        <a16:creationId xmlns:a16="http://schemas.microsoft.com/office/drawing/2014/main" id="{15FE3535-F62D-F149-0271-C624F308E98C}"/>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54" name="Straight Connector 353">
                    <a:extLst>
                      <a:ext uri="{FF2B5EF4-FFF2-40B4-BE49-F238E27FC236}">
                        <a16:creationId xmlns:a16="http://schemas.microsoft.com/office/drawing/2014/main" id="{64FD9130-4A81-5B69-1EFD-D352B65E5F5A}"/>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45" name="Rounded Rectangle 344">
                  <a:extLst>
                    <a:ext uri="{FF2B5EF4-FFF2-40B4-BE49-F238E27FC236}">
                      <a16:creationId xmlns:a16="http://schemas.microsoft.com/office/drawing/2014/main" id="{0A47D774-9D91-EA4C-8A9E-03D9DADBCDFE}"/>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sp>
              <p:nvSpPr>
                <p:cNvPr id="346" name="TextBox 345">
                  <a:extLst>
                    <a:ext uri="{FF2B5EF4-FFF2-40B4-BE49-F238E27FC236}">
                      <a16:creationId xmlns:a16="http://schemas.microsoft.com/office/drawing/2014/main" id="{C6644669-3D9D-428D-6B83-5C340A68942C}"/>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5</a:t>
                  </a:r>
                </a:p>
              </p:txBody>
            </p:sp>
          </p:grpSp>
          <p:grpSp>
            <p:nvGrpSpPr>
              <p:cNvPr id="330" name="Group 329">
                <a:extLst>
                  <a:ext uri="{FF2B5EF4-FFF2-40B4-BE49-F238E27FC236}">
                    <a16:creationId xmlns:a16="http://schemas.microsoft.com/office/drawing/2014/main" id="{2E378429-A8E3-059E-E9E6-F1B9DA0A9B0C}"/>
                  </a:ext>
                </a:extLst>
              </p:cNvPr>
              <p:cNvGrpSpPr/>
              <p:nvPr/>
            </p:nvGrpSpPr>
            <p:grpSpPr>
              <a:xfrm>
                <a:off x="13816078" y="4288638"/>
                <a:ext cx="3096088" cy="707825"/>
                <a:chOff x="13816078" y="4288638"/>
                <a:chExt cx="3096088" cy="707825"/>
              </a:xfrm>
            </p:grpSpPr>
            <p:sp>
              <p:nvSpPr>
                <p:cNvPr id="334" name="Rounded Rectangle 333">
                  <a:extLst>
                    <a:ext uri="{FF2B5EF4-FFF2-40B4-BE49-F238E27FC236}">
                      <a16:creationId xmlns:a16="http://schemas.microsoft.com/office/drawing/2014/main" id="{0B482FB5-B572-304F-6BC5-C3CE68836DA0}"/>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35" name="Group 334">
                  <a:extLst>
                    <a:ext uri="{FF2B5EF4-FFF2-40B4-BE49-F238E27FC236}">
                      <a16:creationId xmlns:a16="http://schemas.microsoft.com/office/drawing/2014/main" id="{14699203-8C36-E9F4-627A-771E453BAB7F}"/>
                    </a:ext>
                  </a:extLst>
                </p:cNvPr>
                <p:cNvGrpSpPr/>
                <p:nvPr/>
              </p:nvGrpSpPr>
              <p:grpSpPr>
                <a:xfrm>
                  <a:off x="14631244" y="4464495"/>
                  <a:ext cx="2132752" cy="339866"/>
                  <a:chOff x="3344204" y="2330315"/>
                  <a:chExt cx="1972263" cy="339866"/>
                </a:xfrm>
              </p:grpSpPr>
              <p:cxnSp>
                <p:nvCxnSpPr>
                  <p:cNvPr id="337" name="Straight Connector 336">
                    <a:extLst>
                      <a:ext uri="{FF2B5EF4-FFF2-40B4-BE49-F238E27FC236}">
                        <a16:creationId xmlns:a16="http://schemas.microsoft.com/office/drawing/2014/main" id="{36A87A91-769F-7C5D-D1B6-0E03B1D9A812}"/>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8" name="Straight Connector 337">
                    <a:extLst>
                      <a:ext uri="{FF2B5EF4-FFF2-40B4-BE49-F238E27FC236}">
                        <a16:creationId xmlns:a16="http://schemas.microsoft.com/office/drawing/2014/main" id="{D65989D1-D8E5-24CD-DD0E-0ACCA2332F6B}"/>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39" name="Straight Connector 338">
                    <a:extLst>
                      <a:ext uri="{FF2B5EF4-FFF2-40B4-BE49-F238E27FC236}">
                        <a16:creationId xmlns:a16="http://schemas.microsoft.com/office/drawing/2014/main" id="{F2FF12FB-3033-2B4D-06EE-041E381A32A4}"/>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4AE275E5-C9E6-B298-549C-A426F125365F}"/>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1" name="Straight Connector 340">
                    <a:extLst>
                      <a:ext uri="{FF2B5EF4-FFF2-40B4-BE49-F238E27FC236}">
                        <a16:creationId xmlns:a16="http://schemas.microsoft.com/office/drawing/2014/main" id="{74D04076-7719-06B2-1A0B-3C343BF847F4}"/>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2" name="Straight Connector 341">
                    <a:extLst>
                      <a:ext uri="{FF2B5EF4-FFF2-40B4-BE49-F238E27FC236}">
                        <a16:creationId xmlns:a16="http://schemas.microsoft.com/office/drawing/2014/main" id="{2BD6B8AA-32B3-10F1-278A-CA51C6A327B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43" name="Straight Connector 342">
                    <a:extLst>
                      <a:ext uri="{FF2B5EF4-FFF2-40B4-BE49-F238E27FC236}">
                        <a16:creationId xmlns:a16="http://schemas.microsoft.com/office/drawing/2014/main" id="{AABBF272-ABF9-1BF3-3020-50C53135219A}"/>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36" name="TextBox 335">
                  <a:extLst>
                    <a:ext uri="{FF2B5EF4-FFF2-40B4-BE49-F238E27FC236}">
                      <a16:creationId xmlns:a16="http://schemas.microsoft.com/office/drawing/2014/main" id="{9B0B5E48-5CC4-588A-8041-4B2E0551F4A4}"/>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6</a:t>
                  </a:r>
                </a:p>
              </p:txBody>
            </p:sp>
          </p:grpSp>
          <p:cxnSp>
            <p:nvCxnSpPr>
              <p:cNvPr id="331" name="Straight Connector 330">
                <a:extLst>
                  <a:ext uri="{FF2B5EF4-FFF2-40B4-BE49-F238E27FC236}">
                    <a16:creationId xmlns:a16="http://schemas.microsoft.com/office/drawing/2014/main" id="{573E74E7-EA24-A62A-5FAA-08CEF41B52E8}"/>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32" name="Straight Connector 331">
                <a:extLst>
                  <a:ext uri="{FF2B5EF4-FFF2-40B4-BE49-F238E27FC236}">
                    <a16:creationId xmlns:a16="http://schemas.microsoft.com/office/drawing/2014/main" id="{06D9B97D-7BCE-FC4A-8AD9-6FD05AD85A37}"/>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333" name="Straight Connector 332">
                <a:extLst>
                  <a:ext uri="{FF2B5EF4-FFF2-40B4-BE49-F238E27FC236}">
                    <a16:creationId xmlns:a16="http://schemas.microsoft.com/office/drawing/2014/main" id="{224303C5-2B11-0044-1013-0F415CCF9E4E}"/>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0" name="Group 99">
              <a:extLst>
                <a:ext uri="{FF2B5EF4-FFF2-40B4-BE49-F238E27FC236}">
                  <a16:creationId xmlns:a16="http://schemas.microsoft.com/office/drawing/2014/main" id="{0B244726-E188-D724-11F7-D22CCC81B116}"/>
                </a:ext>
              </a:extLst>
            </p:cNvPr>
            <p:cNvGrpSpPr/>
            <p:nvPr/>
          </p:nvGrpSpPr>
          <p:grpSpPr>
            <a:xfrm>
              <a:off x="13757848" y="8580358"/>
              <a:ext cx="3239588" cy="3005109"/>
              <a:chOff x="13757848" y="2169190"/>
              <a:chExt cx="3239588" cy="3005109"/>
            </a:xfrm>
          </p:grpSpPr>
          <p:grpSp>
            <p:nvGrpSpPr>
              <p:cNvPr id="291" name="Group 290">
                <a:extLst>
                  <a:ext uri="{FF2B5EF4-FFF2-40B4-BE49-F238E27FC236}">
                    <a16:creationId xmlns:a16="http://schemas.microsoft.com/office/drawing/2014/main" id="{0CE787D9-FCC3-016C-08A3-E519DDBD2737}"/>
                  </a:ext>
                </a:extLst>
              </p:cNvPr>
              <p:cNvGrpSpPr/>
              <p:nvPr/>
            </p:nvGrpSpPr>
            <p:grpSpPr>
              <a:xfrm>
                <a:off x="13816078" y="2169190"/>
                <a:ext cx="3096088" cy="707825"/>
                <a:chOff x="13816078" y="2169190"/>
                <a:chExt cx="3096088" cy="707825"/>
              </a:xfrm>
            </p:grpSpPr>
            <p:sp>
              <p:nvSpPr>
                <p:cNvPr id="318" name="Rounded Rectangle 317">
                  <a:extLst>
                    <a:ext uri="{FF2B5EF4-FFF2-40B4-BE49-F238E27FC236}">
                      <a16:creationId xmlns:a16="http://schemas.microsoft.com/office/drawing/2014/main" id="{F905DA52-6CA1-02A3-33D6-7D7DABFE986B}"/>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19" name="Group 318">
                  <a:extLst>
                    <a:ext uri="{FF2B5EF4-FFF2-40B4-BE49-F238E27FC236}">
                      <a16:creationId xmlns:a16="http://schemas.microsoft.com/office/drawing/2014/main" id="{796D9737-0775-EB53-28A2-920D83F7C19D}"/>
                    </a:ext>
                  </a:extLst>
                </p:cNvPr>
                <p:cNvGrpSpPr/>
                <p:nvPr/>
              </p:nvGrpSpPr>
              <p:grpSpPr>
                <a:xfrm>
                  <a:off x="14631249" y="2345047"/>
                  <a:ext cx="2132755" cy="339866"/>
                  <a:chOff x="3344204" y="2330315"/>
                  <a:chExt cx="1972263" cy="339866"/>
                </a:xfrm>
              </p:grpSpPr>
              <p:cxnSp>
                <p:nvCxnSpPr>
                  <p:cNvPr id="321" name="Straight Connector 320">
                    <a:extLst>
                      <a:ext uri="{FF2B5EF4-FFF2-40B4-BE49-F238E27FC236}">
                        <a16:creationId xmlns:a16="http://schemas.microsoft.com/office/drawing/2014/main" id="{39A27552-F5C3-4092-982E-C22F3E862A79}"/>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196F21D6-0433-27F8-2509-CF8CD4F4260A}"/>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75D506D4-E9CE-59C1-E5A8-393590FC88FF}"/>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D0DF7B4D-CF7E-AE31-125C-816414EABCFC}"/>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D02F5835-8A54-5026-9516-A17467BA5F29}"/>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08D31A6C-F90C-F81B-E9D0-7F880E335CAA}"/>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4FE4D05B-E9F2-8895-580B-F3A957FCF5E4}"/>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20" name="TextBox 319">
                  <a:extLst>
                    <a:ext uri="{FF2B5EF4-FFF2-40B4-BE49-F238E27FC236}">
                      <a16:creationId xmlns:a16="http://schemas.microsoft.com/office/drawing/2014/main" id="{963ABE14-8B1D-F544-6DF0-C26CB09A4F2F}"/>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7</a:t>
                  </a:r>
                </a:p>
              </p:txBody>
            </p:sp>
          </p:grpSp>
          <p:grpSp>
            <p:nvGrpSpPr>
              <p:cNvPr id="292" name="Group 291">
                <a:extLst>
                  <a:ext uri="{FF2B5EF4-FFF2-40B4-BE49-F238E27FC236}">
                    <a16:creationId xmlns:a16="http://schemas.microsoft.com/office/drawing/2014/main" id="{06EABFB3-84DD-B28F-A914-19B3A651B26D}"/>
                  </a:ext>
                </a:extLst>
              </p:cNvPr>
              <p:cNvGrpSpPr/>
              <p:nvPr/>
            </p:nvGrpSpPr>
            <p:grpSpPr>
              <a:xfrm>
                <a:off x="13816078" y="3243610"/>
                <a:ext cx="3096088" cy="707825"/>
                <a:chOff x="13816078" y="3243610"/>
                <a:chExt cx="3096088" cy="707825"/>
              </a:xfrm>
            </p:grpSpPr>
            <p:sp>
              <p:nvSpPr>
                <p:cNvPr id="307" name="Rounded Rectangle 306">
                  <a:extLst>
                    <a:ext uri="{FF2B5EF4-FFF2-40B4-BE49-F238E27FC236}">
                      <a16:creationId xmlns:a16="http://schemas.microsoft.com/office/drawing/2014/main" id="{7AAE2074-3B66-2D5D-243B-6BCA18EE154C}"/>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308" name="Group 307">
                  <a:extLst>
                    <a:ext uri="{FF2B5EF4-FFF2-40B4-BE49-F238E27FC236}">
                      <a16:creationId xmlns:a16="http://schemas.microsoft.com/office/drawing/2014/main" id="{855103FB-2EEE-9D08-B9CB-1D45A4471E64}"/>
                    </a:ext>
                  </a:extLst>
                </p:cNvPr>
                <p:cNvGrpSpPr/>
                <p:nvPr/>
              </p:nvGrpSpPr>
              <p:grpSpPr>
                <a:xfrm>
                  <a:off x="14631249" y="3419467"/>
                  <a:ext cx="2132755" cy="339866"/>
                  <a:chOff x="3344204" y="2330315"/>
                  <a:chExt cx="1972263" cy="339866"/>
                </a:xfrm>
              </p:grpSpPr>
              <p:cxnSp>
                <p:nvCxnSpPr>
                  <p:cNvPr id="310" name="Straight Connector 309">
                    <a:extLst>
                      <a:ext uri="{FF2B5EF4-FFF2-40B4-BE49-F238E27FC236}">
                        <a16:creationId xmlns:a16="http://schemas.microsoft.com/office/drawing/2014/main" id="{AFA6A02B-5FB9-A91D-4E4B-1E26AEC80311}"/>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8B8D7D8B-302D-7677-A0CF-CA5AFFD2CBB7}"/>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7D87A8C7-7173-78A6-263B-97D0CBB5F73F}"/>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1A441E73-9C36-609B-6B47-E019E8CDE8A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CCB5155F-8CD4-F4AC-C485-D860F6257536}"/>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233CF2E2-3ABF-1743-B20F-A4E2BCC90068}"/>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18745935-C0C5-0435-FD05-B4257EEAFAA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09B99176-21A1-8D7B-D1CF-F198C25687EB}"/>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309" name="TextBox 308">
                  <a:extLst>
                    <a:ext uri="{FF2B5EF4-FFF2-40B4-BE49-F238E27FC236}">
                      <a16:creationId xmlns:a16="http://schemas.microsoft.com/office/drawing/2014/main" id="{6AA50026-3793-32EC-EC5B-10458E2F095C}"/>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8</a:t>
                  </a:r>
                </a:p>
              </p:txBody>
            </p:sp>
          </p:grpSp>
          <p:cxnSp>
            <p:nvCxnSpPr>
              <p:cNvPr id="293" name="Straight Connector 292">
                <a:extLst>
                  <a:ext uri="{FF2B5EF4-FFF2-40B4-BE49-F238E27FC236}">
                    <a16:creationId xmlns:a16="http://schemas.microsoft.com/office/drawing/2014/main" id="{C2CF8AF4-E013-24D7-2D65-063244EB8394}"/>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94" name="Group 293">
                <a:extLst>
                  <a:ext uri="{FF2B5EF4-FFF2-40B4-BE49-F238E27FC236}">
                    <a16:creationId xmlns:a16="http://schemas.microsoft.com/office/drawing/2014/main" id="{8AF0F6B3-C4A8-850D-82DD-421D725AB204}"/>
                  </a:ext>
                </a:extLst>
              </p:cNvPr>
              <p:cNvGrpSpPr/>
              <p:nvPr/>
            </p:nvGrpSpPr>
            <p:grpSpPr>
              <a:xfrm>
                <a:off x="13816078" y="4288638"/>
                <a:ext cx="3096088" cy="707825"/>
                <a:chOff x="13816078" y="4288638"/>
                <a:chExt cx="3096088" cy="707825"/>
              </a:xfrm>
            </p:grpSpPr>
            <p:sp>
              <p:nvSpPr>
                <p:cNvPr id="297" name="Rounded Rectangle 296">
                  <a:extLst>
                    <a:ext uri="{FF2B5EF4-FFF2-40B4-BE49-F238E27FC236}">
                      <a16:creationId xmlns:a16="http://schemas.microsoft.com/office/drawing/2014/main" id="{14E97FBF-4993-E59A-E4D7-67CFEAD4D7A9}"/>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98" name="Group 297">
                  <a:extLst>
                    <a:ext uri="{FF2B5EF4-FFF2-40B4-BE49-F238E27FC236}">
                      <a16:creationId xmlns:a16="http://schemas.microsoft.com/office/drawing/2014/main" id="{FA187169-8256-C382-82FC-B8FF1BABE4E5}"/>
                    </a:ext>
                  </a:extLst>
                </p:cNvPr>
                <p:cNvGrpSpPr/>
                <p:nvPr/>
              </p:nvGrpSpPr>
              <p:grpSpPr>
                <a:xfrm>
                  <a:off x="14631244" y="4464495"/>
                  <a:ext cx="2132752" cy="339866"/>
                  <a:chOff x="3344204" y="2330315"/>
                  <a:chExt cx="1972263" cy="339866"/>
                </a:xfrm>
              </p:grpSpPr>
              <p:cxnSp>
                <p:nvCxnSpPr>
                  <p:cNvPr id="300" name="Straight Connector 299">
                    <a:extLst>
                      <a:ext uri="{FF2B5EF4-FFF2-40B4-BE49-F238E27FC236}">
                        <a16:creationId xmlns:a16="http://schemas.microsoft.com/office/drawing/2014/main" id="{F25E9A3B-0B12-47AA-3E07-B38BC22497F0}"/>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1" name="Straight Connector 300">
                    <a:extLst>
                      <a:ext uri="{FF2B5EF4-FFF2-40B4-BE49-F238E27FC236}">
                        <a16:creationId xmlns:a16="http://schemas.microsoft.com/office/drawing/2014/main" id="{44878BBE-E88B-1FFB-1A63-2D8D55C4E098}"/>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2" name="Straight Connector 301">
                    <a:extLst>
                      <a:ext uri="{FF2B5EF4-FFF2-40B4-BE49-F238E27FC236}">
                        <a16:creationId xmlns:a16="http://schemas.microsoft.com/office/drawing/2014/main" id="{C7A55E69-3A8A-FFBA-F375-7D940733E351}"/>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3" name="Straight Connector 302">
                    <a:extLst>
                      <a:ext uri="{FF2B5EF4-FFF2-40B4-BE49-F238E27FC236}">
                        <a16:creationId xmlns:a16="http://schemas.microsoft.com/office/drawing/2014/main" id="{1BE2CB07-8AB9-657E-4B5F-AD54B6FCD76A}"/>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4" name="Straight Connector 303">
                    <a:extLst>
                      <a:ext uri="{FF2B5EF4-FFF2-40B4-BE49-F238E27FC236}">
                        <a16:creationId xmlns:a16="http://schemas.microsoft.com/office/drawing/2014/main" id="{AB354F24-6810-035A-A88A-2FBCBFFE088B}"/>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5" name="Straight Connector 304">
                    <a:extLst>
                      <a:ext uri="{FF2B5EF4-FFF2-40B4-BE49-F238E27FC236}">
                        <a16:creationId xmlns:a16="http://schemas.microsoft.com/office/drawing/2014/main" id="{168F8249-B6E7-7CDF-0B6D-739B18E757A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306" name="Straight Connector 305">
                    <a:extLst>
                      <a:ext uri="{FF2B5EF4-FFF2-40B4-BE49-F238E27FC236}">
                        <a16:creationId xmlns:a16="http://schemas.microsoft.com/office/drawing/2014/main" id="{58A66B05-7912-BA34-BD64-50ECA6BA3F24}"/>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99" name="TextBox 298">
                  <a:extLst>
                    <a:ext uri="{FF2B5EF4-FFF2-40B4-BE49-F238E27FC236}">
                      <a16:creationId xmlns:a16="http://schemas.microsoft.com/office/drawing/2014/main" id="{DB5DF68B-6712-2E72-23E5-DDB8B2074E75}"/>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9</a:t>
                  </a:r>
                </a:p>
              </p:txBody>
            </p:sp>
          </p:grpSp>
          <p:cxnSp>
            <p:nvCxnSpPr>
              <p:cNvPr id="295" name="Straight Connector 294">
                <a:extLst>
                  <a:ext uri="{FF2B5EF4-FFF2-40B4-BE49-F238E27FC236}">
                    <a16:creationId xmlns:a16="http://schemas.microsoft.com/office/drawing/2014/main" id="{63F052D8-6C5A-3635-35FA-88DD7D513110}"/>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96" name="Straight Connector 295">
                <a:extLst>
                  <a:ext uri="{FF2B5EF4-FFF2-40B4-BE49-F238E27FC236}">
                    <a16:creationId xmlns:a16="http://schemas.microsoft.com/office/drawing/2014/main" id="{64C63764-4E0F-B090-ACA8-859621C6F4A6}"/>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1" name="Group 100">
              <a:extLst>
                <a:ext uri="{FF2B5EF4-FFF2-40B4-BE49-F238E27FC236}">
                  <a16:creationId xmlns:a16="http://schemas.microsoft.com/office/drawing/2014/main" id="{D7678F33-4023-809B-F98B-C510362CE09B}"/>
                </a:ext>
              </a:extLst>
            </p:cNvPr>
            <p:cNvGrpSpPr/>
            <p:nvPr/>
          </p:nvGrpSpPr>
          <p:grpSpPr>
            <a:xfrm>
              <a:off x="13757848" y="11785942"/>
              <a:ext cx="3239588" cy="3005109"/>
              <a:chOff x="13757848" y="2169190"/>
              <a:chExt cx="3239588" cy="3005109"/>
            </a:xfrm>
          </p:grpSpPr>
          <p:grpSp>
            <p:nvGrpSpPr>
              <p:cNvPr id="254" name="Group 253">
                <a:extLst>
                  <a:ext uri="{FF2B5EF4-FFF2-40B4-BE49-F238E27FC236}">
                    <a16:creationId xmlns:a16="http://schemas.microsoft.com/office/drawing/2014/main" id="{7BE1AC49-DA62-2155-F189-E66CEC4A82D7}"/>
                  </a:ext>
                </a:extLst>
              </p:cNvPr>
              <p:cNvGrpSpPr/>
              <p:nvPr/>
            </p:nvGrpSpPr>
            <p:grpSpPr>
              <a:xfrm>
                <a:off x="13816078" y="2169190"/>
                <a:ext cx="3096088" cy="707825"/>
                <a:chOff x="13816078" y="2169190"/>
                <a:chExt cx="3096088" cy="707825"/>
              </a:xfrm>
            </p:grpSpPr>
            <p:sp>
              <p:nvSpPr>
                <p:cNvPr id="281" name="Rounded Rectangle 280">
                  <a:extLst>
                    <a:ext uri="{FF2B5EF4-FFF2-40B4-BE49-F238E27FC236}">
                      <a16:creationId xmlns:a16="http://schemas.microsoft.com/office/drawing/2014/main" id="{C81C789D-68CF-D185-DA78-02C119E1BF87}"/>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82" name="Group 281">
                  <a:extLst>
                    <a:ext uri="{FF2B5EF4-FFF2-40B4-BE49-F238E27FC236}">
                      <a16:creationId xmlns:a16="http://schemas.microsoft.com/office/drawing/2014/main" id="{CFE2418B-498B-4A59-7917-AC8945AAABD4}"/>
                    </a:ext>
                  </a:extLst>
                </p:cNvPr>
                <p:cNvGrpSpPr/>
                <p:nvPr/>
              </p:nvGrpSpPr>
              <p:grpSpPr>
                <a:xfrm>
                  <a:off x="14631249" y="2345047"/>
                  <a:ext cx="2132755" cy="339866"/>
                  <a:chOff x="3344204" y="2330315"/>
                  <a:chExt cx="1972263" cy="339866"/>
                </a:xfrm>
              </p:grpSpPr>
              <p:cxnSp>
                <p:nvCxnSpPr>
                  <p:cNvPr id="284" name="Straight Connector 283">
                    <a:extLst>
                      <a:ext uri="{FF2B5EF4-FFF2-40B4-BE49-F238E27FC236}">
                        <a16:creationId xmlns:a16="http://schemas.microsoft.com/office/drawing/2014/main" id="{2F7A0038-2294-2DE9-0A03-C54DE3CABF4E}"/>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5" name="Straight Connector 284">
                    <a:extLst>
                      <a:ext uri="{FF2B5EF4-FFF2-40B4-BE49-F238E27FC236}">
                        <a16:creationId xmlns:a16="http://schemas.microsoft.com/office/drawing/2014/main" id="{B4D30FF3-FA59-0050-FA00-5E5DF5424F56}"/>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6" name="Straight Connector 285">
                    <a:extLst>
                      <a:ext uri="{FF2B5EF4-FFF2-40B4-BE49-F238E27FC236}">
                        <a16:creationId xmlns:a16="http://schemas.microsoft.com/office/drawing/2014/main" id="{7CDE9ABB-CFDE-F1C7-C411-F177F4BF89E8}"/>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7" name="Straight Connector 286">
                    <a:extLst>
                      <a:ext uri="{FF2B5EF4-FFF2-40B4-BE49-F238E27FC236}">
                        <a16:creationId xmlns:a16="http://schemas.microsoft.com/office/drawing/2014/main" id="{2B11A5FA-CB98-3AC7-7BE9-5E0E3C2AB52D}"/>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D2AC5ABB-183D-E0AB-E99B-C9A9A12FE367}"/>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647BDBF7-EAF1-2B55-E6A3-D5AE09F5E6A6}"/>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8C5D7085-2A32-3823-65B6-2B62B48CBAA8}"/>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83" name="TextBox 282">
                  <a:extLst>
                    <a:ext uri="{FF2B5EF4-FFF2-40B4-BE49-F238E27FC236}">
                      <a16:creationId xmlns:a16="http://schemas.microsoft.com/office/drawing/2014/main" id="{681020C8-4A9A-6742-A025-31F74FF7F5DD}"/>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0</a:t>
                  </a:r>
                </a:p>
              </p:txBody>
            </p:sp>
          </p:grpSp>
          <p:grpSp>
            <p:nvGrpSpPr>
              <p:cNvPr id="255" name="Group 254">
                <a:extLst>
                  <a:ext uri="{FF2B5EF4-FFF2-40B4-BE49-F238E27FC236}">
                    <a16:creationId xmlns:a16="http://schemas.microsoft.com/office/drawing/2014/main" id="{8C127DF1-5D21-7B57-6BC4-A3A6D22FE629}"/>
                  </a:ext>
                </a:extLst>
              </p:cNvPr>
              <p:cNvGrpSpPr/>
              <p:nvPr/>
            </p:nvGrpSpPr>
            <p:grpSpPr>
              <a:xfrm>
                <a:off x="13816078" y="3243610"/>
                <a:ext cx="3096088" cy="707825"/>
                <a:chOff x="13816078" y="3243610"/>
                <a:chExt cx="3096088" cy="707825"/>
              </a:xfrm>
            </p:grpSpPr>
            <p:sp>
              <p:nvSpPr>
                <p:cNvPr id="270" name="Rounded Rectangle 269">
                  <a:extLst>
                    <a:ext uri="{FF2B5EF4-FFF2-40B4-BE49-F238E27FC236}">
                      <a16:creationId xmlns:a16="http://schemas.microsoft.com/office/drawing/2014/main" id="{B00D5BD1-1634-B0D7-D17C-1EE791342270}"/>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71" name="Group 270">
                  <a:extLst>
                    <a:ext uri="{FF2B5EF4-FFF2-40B4-BE49-F238E27FC236}">
                      <a16:creationId xmlns:a16="http://schemas.microsoft.com/office/drawing/2014/main" id="{3FE84A4F-FECF-EE9C-9163-0A938D229933}"/>
                    </a:ext>
                  </a:extLst>
                </p:cNvPr>
                <p:cNvGrpSpPr/>
                <p:nvPr/>
              </p:nvGrpSpPr>
              <p:grpSpPr>
                <a:xfrm>
                  <a:off x="14631249" y="3419467"/>
                  <a:ext cx="2132755" cy="339866"/>
                  <a:chOff x="3344204" y="2330315"/>
                  <a:chExt cx="1972263" cy="339866"/>
                </a:xfrm>
              </p:grpSpPr>
              <p:cxnSp>
                <p:nvCxnSpPr>
                  <p:cNvPr id="273" name="Straight Connector 272">
                    <a:extLst>
                      <a:ext uri="{FF2B5EF4-FFF2-40B4-BE49-F238E27FC236}">
                        <a16:creationId xmlns:a16="http://schemas.microsoft.com/office/drawing/2014/main" id="{369AD0CC-BC06-5058-BF90-BD966CFB8224}"/>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4" name="Straight Connector 273">
                    <a:extLst>
                      <a:ext uri="{FF2B5EF4-FFF2-40B4-BE49-F238E27FC236}">
                        <a16:creationId xmlns:a16="http://schemas.microsoft.com/office/drawing/2014/main" id="{596538A3-1120-9753-84CE-C3E6A1801F15}"/>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5" name="Straight Connector 274">
                    <a:extLst>
                      <a:ext uri="{FF2B5EF4-FFF2-40B4-BE49-F238E27FC236}">
                        <a16:creationId xmlns:a16="http://schemas.microsoft.com/office/drawing/2014/main" id="{A8F676F5-0E02-CF00-FE02-B90F2DFD22FF}"/>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6" name="Straight Connector 275">
                    <a:extLst>
                      <a:ext uri="{FF2B5EF4-FFF2-40B4-BE49-F238E27FC236}">
                        <a16:creationId xmlns:a16="http://schemas.microsoft.com/office/drawing/2014/main" id="{44AA94EA-A6FD-A04E-E25B-12FBCF20EF04}"/>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7" name="Straight Connector 276">
                    <a:extLst>
                      <a:ext uri="{FF2B5EF4-FFF2-40B4-BE49-F238E27FC236}">
                        <a16:creationId xmlns:a16="http://schemas.microsoft.com/office/drawing/2014/main" id="{D37BB9DB-C74F-EEE9-A0AA-1C34B816F370}"/>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8" name="Straight Connector 277">
                    <a:extLst>
                      <a:ext uri="{FF2B5EF4-FFF2-40B4-BE49-F238E27FC236}">
                        <a16:creationId xmlns:a16="http://schemas.microsoft.com/office/drawing/2014/main" id="{69D529E8-3FFC-B965-690D-BE30F7915B5F}"/>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79" name="Straight Connector 278">
                    <a:extLst>
                      <a:ext uri="{FF2B5EF4-FFF2-40B4-BE49-F238E27FC236}">
                        <a16:creationId xmlns:a16="http://schemas.microsoft.com/office/drawing/2014/main" id="{66A6B888-6388-AA1C-AAA4-5919F5A1B6A6}"/>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80" name="Straight Connector 279">
                    <a:extLst>
                      <a:ext uri="{FF2B5EF4-FFF2-40B4-BE49-F238E27FC236}">
                        <a16:creationId xmlns:a16="http://schemas.microsoft.com/office/drawing/2014/main" id="{C9223698-8B4B-757A-155F-1095BCB83ED4}"/>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72" name="TextBox 271">
                  <a:extLst>
                    <a:ext uri="{FF2B5EF4-FFF2-40B4-BE49-F238E27FC236}">
                      <a16:creationId xmlns:a16="http://schemas.microsoft.com/office/drawing/2014/main" id="{4BF39AA1-D31F-7455-CB29-5019C6AE8C72}"/>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1</a:t>
                  </a:r>
                </a:p>
              </p:txBody>
            </p:sp>
          </p:grpSp>
          <p:cxnSp>
            <p:nvCxnSpPr>
              <p:cNvPr id="256" name="Straight Connector 255">
                <a:extLst>
                  <a:ext uri="{FF2B5EF4-FFF2-40B4-BE49-F238E27FC236}">
                    <a16:creationId xmlns:a16="http://schemas.microsoft.com/office/drawing/2014/main" id="{78C6CACB-FD82-2BE8-EA2C-E0EA25C3C18D}"/>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57" name="Group 256">
                <a:extLst>
                  <a:ext uri="{FF2B5EF4-FFF2-40B4-BE49-F238E27FC236}">
                    <a16:creationId xmlns:a16="http://schemas.microsoft.com/office/drawing/2014/main" id="{2809D779-E527-9B94-EA3D-8D3D2030D8DD}"/>
                  </a:ext>
                </a:extLst>
              </p:cNvPr>
              <p:cNvGrpSpPr/>
              <p:nvPr/>
            </p:nvGrpSpPr>
            <p:grpSpPr>
              <a:xfrm>
                <a:off x="13816078" y="4288638"/>
                <a:ext cx="3096088" cy="707825"/>
                <a:chOff x="13816078" y="4288638"/>
                <a:chExt cx="3096088" cy="707825"/>
              </a:xfrm>
            </p:grpSpPr>
            <p:sp>
              <p:nvSpPr>
                <p:cNvPr id="260" name="Rounded Rectangle 259">
                  <a:extLst>
                    <a:ext uri="{FF2B5EF4-FFF2-40B4-BE49-F238E27FC236}">
                      <a16:creationId xmlns:a16="http://schemas.microsoft.com/office/drawing/2014/main" id="{F878CE23-9EEB-4AEF-6E0C-4368B7F05171}"/>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61" name="Group 260">
                  <a:extLst>
                    <a:ext uri="{FF2B5EF4-FFF2-40B4-BE49-F238E27FC236}">
                      <a16:creationId xmlns:a16="http://schemas.microsoft.com/office/drawing/2014/main" id="{FE6A82D3-C020-71EF-9B1C-435E3C135C62}"/>
                    </a:ext>
                  </a:extLst>
                </p:cNvPr>
                <p:cNvGrpSpPr/>
                <p:nvPr/>
              </p:nvGrpSpPr>
              <p:grpSpPr>
                <a:xfrm>
                  <a:off x="14631244" y="4464495"/>
                  <a:ext cx="2132752" cy="339866"/>
                  <a:chOff x="3344204" y="2330315"/>
                  <a:chExt cx="1972263" cy="339866"/>
                </a:xfrm>
              </p:grpSpPr>
              <p:cxnSp>
                <p:nvCxnSpPr>
                  <p:cNvPr id="263" name="Straight Connector 262">
                    <a:extLst>
                      <a:ext uri="{FF2B5EF4-FFF2-40B4-BE49-F238E27FC236}">
                        <a16:creationId xmlns:a16="http://schemas.microsoft.com/office/drawing/2014/main" id="{AFFF264B-E836-7785-6D7B-D083B681E137}"/>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4" name="Straight Connector 263">
                    <a:extLst>
                      <a:ext uri="{FF2B5EF4-FFF2-40B4-BE49-F238E27FC236}">
                        <a16:creationId xmlns:a16="http://schemas.microsoft.com/office/drawing/2014/main" id="{62B6F2F0-8508-C1C9-B586-C034E2AA50CB}"/>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5" name="Straight Connector 264">
                    <a:extLst>
                      <a:ext uri="{FF2B5EF4-FFF2-40B4-BE49-F238E27FC236}">
                        <a16:creationId xmlns:a16="http://schemas.microsoft.com/office/drawing/2014/main" id="{877E0454-3101-A7D4-9345-DDA154DA2A51}"/>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6" name="Straight Connector 265">
                    <a:extLst>
                      <a:ext uri="{FF2B5EF4-FFF2-40B4-BE49-F238E27FC236}">
                        <a16:creationId xmlns:a16="http://schemas.microsoft.com/office/drawing/2014/main" id="{172A7F01-54D1-7C75-5B63-7468983B6C35}"/>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7" name="Straight Connector 266">
                    <a:extLst>
                      <a:ext uri="{FF2B5EF4-FFF2-40B4-BE49-F238E27FC236}">
                        <a16:creationId xmlns:a16="http://schemas.microsoft.com/office/drawing/2014/main" id="{4E7B269C-91A8-8FFA-D8D3-42986F870740}"/>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8" name="Straight Connector 267">
                    <a:extLst>
                      <a:ext uri="{FF2B5EF4-FFF2-40B4-BE49-F238E27FC236}">
                        <a16:creationId xmlns:a16="http://schemas.microsoft.com/office/drawing/2014/main" id="{5547A0F5-E6CF-1C01-D389-C17A082A33C5}"/>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69" name="Straight Connector 268">
                    <a:extLst>
                      <a:ext uri="{FF2B5EF4-FFF2-40B4-BE49-F238E27FC236}">
                        <a16:creationId xmlns:a16="http://schemas.microsoft.com/office/drawing/2014/main" id="{E9F2A8D5-0A3B-A7E8-647A-1C5CE71893D7}"/>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62" name="TextBox 261">
                  <a:extLst>
                    <a:ext uri="{FF2B5EF4-FFF2-40B4-BE49-F238E27FC236}">
                      <a16:creationId xmlns:a16="http://schemas.microsoft.com/office/drawing/2014/main" id="{C91B6AA0-8598-ACEA-772E-05AB8691F3C0}"/>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2</a:t>
                  </a:r>
                </a:p>
              </p:txBody>
            </p:sp>
          </p:grpSp>
          <p:cxnSp>
            <p:nvCxnSpPr>
              <p:cNvPr id="258" name="Straight Connector 257">
                <a:extLst>
                  <a:ext uri="{FF2B5EF4-FFF2-40B4-BE49-F238E27FC236}">
                    <a16:creationId xmlns:a16="http://schemas.microsoft.com/office/drawing/2014/main" id="{D5E12491-19B7-9B93-14B7-219AF357DC82}"/>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59" name="Straight Connector 258">
                <a:extLst>
                  <a:ext uri="{FF2B5EF4-FFF2-40B4-BE49-F238E27FC236}">
                    <a16:creationId xmlns:a16="http://schemas.microsoft.com/office/drawing/2014/main" id="{E17E3136-B5FB-EF46-8247-7CBE13EAE1B3}"/>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2" name="Group 101">
              <a:extLst>
                <a:ext uri="{FF2B5EF4-FFF2-40B4-BE49-F238E27FC236}">
                  <a16:creationId xmlns:a16="http://schemas.microsoft.com/office/drawing/2014/main" id="{ECBEE4EE-4874-075C-06BC-E6CB9DE6B08D}"/>
                </a:ext>
              </a:extLst>
            </p:cNvPr>
            <p:cNvGrpSpPr/>
            <p:nvPr/>
          </p:nvGrpSpPr>
          <p:grpSpPr>
            <a:xfrm>
              <a:off x="13757848" y="14991526"/>
              <a:ext cx="3239588" cy="3005109"/>
              <a:chOff x="13757848" y="2169190"/>
              <a:chExt cx="3239588" cy="3005109"/>
            </a:xfrm>
          </p:grpSpPr>
          <p:grpSp>
            <p:nvGrpSpPr>
              <p:cNvPr id="217" name="Group 216">
                <a:extLst>
                  <a:ext uri="{FF2B5EF4-FFF2-40B4-BE49-F238E27FC236}">
                    <a16:creationId xmlns:a16="http://schemas.microsoft.com/office/drawing/2014/main" id="{9A317FB3-73D3-B11D-634D-1664D5FE3B35}"/>
                  </a:ext>
                </a:extLst>
              </p:cNvPr>
              <p:cNvGrpSpPr/>
              <p:nvPr/>
            </p:nvGrpSpPr>
            <p:grpSpPr>
              <a:xfrm>
                <a:off x="13816078" y="2169190"/>
                <a:ext cx="3096088" cy="707825"/>
                <a:chOff x="13816078" y="2169190"/>
                <a:chExt cx="3096088" cy="707825"/>
              </a:xfrm>
            </p:grpSpPr>
            <p:sp>
              <p:nvSpPr>
                <p:cNvPr id="244" name="Rounded Rectangle 243">
                  <a:extLst>
                    <a:ext uri="{FF2B5EF4-FFF2-40B4-BE49-F238E27FC236}">
                      <a16:creationId xmlns:a16="http://schemas.microsoft.com/office/drawing/2014/main" id="{FD3B163F-3958-C2EF-D63B-BD58E77B9FA0}"/>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45" name="Group 244">
                  <a:extLst>
                    <a:ext uri="{FF2B5EF4-FFF2-40B4-BE49-F238E27FC236}">
                      <a16:creationId xmlns:a16="http://schemas.microsoft.com/office/drawing/2014/main" id="{F8B4B7FE-5B58-C451-C44E-C58DD3CC3A01}"/>
                    </a:ext>
                  </a:extLst>
                </p:cNvPr>
                <p:cNvGrpSpPr/>
                <p:nvPr/>
              </p:nvGrpSpPr>
              <p:grpSpPr>
                <a:xfrm>
                  <a:off x="14631249" y="2345047"/>
                  <a:ext cx="2132755" cy="339866"/>
                  <a:chOff x="3344204" y="2330315"/>
                  <a:chExt cx="1972263" cy="339866"/>
                </a:xfrm>
              </p:grpSpPr>
              <p:cxnSp>
                <p:nvCxnSpPr>
                  <p:cNvPr id="247" name="Straight Connector 246">
                    <a:extLst>
                      <a:ext uri="{FF2B5EF4-FFF2-40B4-BE49-F238E27FC236}">
                        <a16:creationId xmlns:a16="http://schemas.microsoft.com/office/drawing/2014/main" id="{97A09D34-327A-4B7C-9179-C756AA0D6724}"/>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A366BD7F-BE3D-70CC-3656-1CDB6C9AD5E4}"/>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5618D9B1-CE16-3135-A270-84A122BBA09F}"/>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0" name="Straight Connector 249">
                    <a:extLst>
                      <a:ext uri="{FF2B5EF4-FFF2-40B4-BE49-F238E27FC236}">
                        <a16:creationId xmlns:a16="http://schemas.microsoft.com/office/drawing/2014/main" id="{4084EF56-1596-32DF-926B-65676D8B2908}"/>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1" name="Straight Connector 250">
                    <a:extLst>
                      <a:ext uri="{FF2B5EF4-FFF2-40B4-BE49-F238E27FC236}">
                        <a16:creationId xmlns:a16="http://schemas.microsoft.com/office/drawing/2014/main" id="{E0A1A5D0-0A6A-25E1-D36E-06B0C503D14C}"/>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2" name="Straight Connector 251">
                    <a:extLst>
                      <a:ext uri="{FF2B5EF4-FFF2-40B4-BE49-F238E27FC236}">
                        <a16:creationId xmlns:a16="http://schemas.microsoft.com/office/drawing/2014/main" id="{8B77F129-C739-9781-3E15-B9C6C2F03FD5}"/>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53" name="Straight Connector 252">
                    <a:extLst>
                      <a:ext uri="{FF2B5EF4-FFF2-40B4-BE49-F238E27FC236}">
                        <a16:creationId xmlns:a16="http://schemas.microsoft.com/office/drawing/2014/main" id="{CFA832CB-2DCC-3ECB-9E45-BB19FA068AE8}"/>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46" name="TextBox 245">
                  <a:extLst>
                    <a:ext uri="{FF2B5EF4-FFF2-40B4-BE49-F238E27FC236}">
                      <a16:creationId xmlns:a16="http://schemas.microsoft.com/office/drawing/2014/main" id="{7FBAE301-3748-3F1D-7093-0EC5705512DE}"/>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3</a:t>
                  </a:r>
                </a:p>
              </p:txBody>
            </p:sp>
          </p:grpSp>
          <p:grpSp>
            <p:nvGrpSpPr>
              <p:cNvPr id="218" name="Group 217">
                <a:extLst>
                  <a:ext uri="{FF2B5EF4-FFF2-40B4-BE49-F238E27FC236}">
                    <a16:creationId xmlns:a16="http://schemas.microsoft.com/office/drawing/2014/main" id="{94A82953-51D9-D244-71F3-A1397C6D9228}"/>
                  </a:ext>
                </a:extLst>
              </p:cNvPr>
              <p:cNvGrpSpPr/>
              <p:nvPr/>
            </p:nvGrpSpPr>
            <p:grpSpPr>
              <a:xfrm>
                <a:off x="13816078" y="3243610"/>
                <a:ext cx="3096088" cy="707825"/>
                <a:chOff x="13816078" y="3243610"/>
                <a:chExt cx="3096088" cy="707825"/>
              </a:xfrm>
            </p:grpSpPr>
            <p:sp>
              <p:nvSpPr>
                <p:cNvPr id="233" name="Rounded Rectangle 232">
                  <a:extLst>
                    <a:ext uri="{FF2B5EF4-FFF2-40B4-BE49-F238E27FC236}">
                      <a16:creationId xmlns:a16="http://schemas.microsoft.com/office/drawing/2014/main" id="{EFCE0640-78ED-6934-7E7A-2D13026552FF}"/>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34" name="Group 233">
                  <a:extLst>
                    <a:ext uri="{FF2B5EF4-FFF2-40B4-BE49-F238E27FC236}">
                      <a16:creationId xmlns:a16="http://schemas.microsoft.com/office/drawing/2014/main" id="{BAA411F9-BEFD-52C0-A421-5A7BC8560702}"/>
                    </a:ext>
                  </a:extLst>
                </p:cNvPr>
                <p:cNvGrpSpPr/>
                <p:nvPr/>
              </p:nvGrpSpPr>
              <p:grpSpPr>
                <a:xfrm>
                  <a:off x="14631249" y="3419467"/>
                  <a:ext cx="2132755" cy="339866"/>
                  <a:chOff x="3344204" y="2330315"/>
                  <a:chExt cx="1972263" cy="339866"/>
                </a:xfrm>
              </p:grpSpPr>
              <p:cxnSp>
                <p:nvCxnSpPr>
                  <p:cNvPr id="236" name="Straight Connector 235">
                    <a:extLst>
                      <a:ext uri="{FF2B5EF4-FFF2-40B4-BE49-F238E27FC236}">
                        <a16:creationId xmlns:a16="http://schemas.microsoft.com/office/drawing/2014/main" id="{7BA2627C-CF5D-3774-B883-F83F77B6DC19}"/>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7" name="Straight Connector 236">
                    <a:extLst>
                      <a:ext uri="{FF2B5EF4-FFF2-40B4-BE49-F238E27FC236}">
                        <a16:creationId xmlns:a16="http://schemas.microsoft.com/office/drawing/2014/main" id="{E1291A57-3C51-90BA-0C05-22F033D79A21}"/>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8" name="Straight Connector 237">
                    <a:extLst>
                      <a:ext uri="{FF2B5EF4-FFF2-40B4-BE49-F238E27FC236}">
                        <a16:creationId xmlns:a16="http://schemas.microsoft.com/office/drawing/2014/main" id="{ECBBF6DE-17E6-8EE6-83D6-92B25CDF189B}"/>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506D5AAA-0C78-A91D-E5F9-9AD7E9F0E954}"/>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0" name="Straight Connector 239">
                    <a:extLst>
                      <a:ext uri="{FF2B5EF4-FFF2-40B4-BE49-F238E27FC236}">
                        <a16:creationId xmlns:a16="http://schemas.microsoft.com/office/drawing/2014/main" id="{DA8DB354-3C4D-12E8-1742-A86E5E3F8A8C}"/>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1" name="Straight Connector 240">
                    <a:extLst>
                      <a:ext uri="{FF2B5EF4-FFF2-40B4-BE49-F238E27FC236}">
                        <a16:creationId xmlns:a16="http://schemas.microsoft.com/office/drawing/2014/main" id="{1F1A2798-B090-EA35-6DF0-61D7469913AB}"/>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2" name="Straight Connector 241">
                    <a:extLst>
                      <a:ext uri="{FF2B5EF4-FFF2-40B4-BE49-F238E27FC236}">
                        <a16:creationId xmlns:a16="http://schemas.microsoft.com/office/drawing/2014/main" id="{43E597D4-2536-FBA3-2B5E-A67BD835006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931DD4CC-0F1A-D0CB-BE5E-6495B22785C4}"/>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35" name="TextBox 234">
                  <a:extLst>
                    <a:ext uri="{FF2B5EF4-FFF2-40B4-BE49-F238E27FC236}">
                      <a16:creationId xmlns:a16="http://schemas.microsoft.com/office/drawing/2014/main" id="{E82B0980-F4A1-4F5A-A934-8E97458738D4}"/>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4</a:t>
                  </a:r>
                </a:p>
              </p:txBody>
            </p:sp>
          </p:grpSp>
          <p:cxnSp>
            <p:nvCxnSpPr>
              <p:cNvPr id="219" name="Straight Connector 218">
                <a:extLst>
                  <a:ext uri="{FF2B5EF4-FFF2-40B4-BE49-F238E27FC236}">
                    <a16:creationId xmlns:a16="http://schemas.microsoft.com/office/drawing/2014/main" id="{40B381C0-6304-1134-0A67-48D6C261DF12}"/>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220" name="Group 219">
                <a:extLst>
                  <a:ext uri="{FF2B5EF4-FFF2-40B4-BE49-F238E27FC236}">
                    <a16:creationId xmlns:a16="http://schemas.microsoft.com/office/drawing/2014/main" id="{9E9EAC06-5A15-DD07-C503-85F43ACBC7CA}"/>
                  </a:ext>
                </a:extLst>
              </p:cNvPr>
              <p:cNvGrpSpPr/>
              <p:nvPr/>
            </p:nvGrpSpPr>
            <p:grpSpPr>
              <a:xfrm>
                <a:off x="13816078" y="4288638"/>
                <a:ext cx="3096088" cy="707825"/>
                <a:chOff x="13816078" y="4288638"/>
                <a:chExt cx="3096088" cy="707825"/>
              </a:xfrm>
            </p:grpSpPr>
            <p:sp>
              <p:nvSpPr>
                <p:cNvPr id="223" name="Rounded Rectangle 222">
                  <a:extLst>
                    <a:ext uri="{FF2B5EF4-FFF2-40B4-BE49-F238E27FC236}">
                      <a16:creationId xmlns:a16="http://schemas.microsoft.com/office/drawing/2014/main" id="{B6EF6540-4BEF-CDD9-4539-4C0F7B501CCD}"/>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24" name="Group 223">
                  <a:extLst>
                    <a:ext uri="{FF2B5EF4-FFF2-40B4-BE49-F238E27FC236}">
                      <a16:creationId xmlns:a16="http://schemas.microsoft.com/office/drawing/2014/main" id="{36D4D332-43EE-A21C-994A-A9FC7BF9F752}"/>
                    </a:ext>
                  </a:extLst>
                </p:cNvPr>
                <p:cNvGrpSpPr/>
                <p:nvPr/>
              </p:nvGrpSpPr>
              <p:grpSpPr>
                <a:xfrm>
                  <a:off x="14631244" y="4464495"/>
                  <a:ext cx="2132752" cy="339866"/>
                  <a:chOff x="3344204" y="2330315"/>
                  <a:chExt cx="1972263" cy="339866"/>
                </a:xfrm>
              </p:grpSpPr>
              <p:cxnSp>
                <p:nvCxnSpPr>
                  <p:cNvPr id="226" name="Straight Connector 225">
                    <a:extLst>
                      <a:ext uri="{FF2B5EF4-FFF2-40B4-BE49-F238E27FC236}">
                        <a16:creationId xmlns:a16="http://schemas.microsoft.com/office/drawing/2014/main" id="{20A08C40-95D7-0ACA-63FE-0E41144E8EC2}"/>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5EEBEA0F-17A5-201B-8B96-C178020043E5}"/>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F59A5B45-491D-1BB9-2B6C-34537A28A6ED}"/>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29" name="Straight Connector 228">
                    <a:extLst>
                      <a:ext uri="{FF2B5EF4-FFF2-40B4-BE49-F238E27FC236}">
                        <a16:creationId xmlns:a16="http://schemas.microsoft.com/office/drawing/2014/main" id="{A1B4A13B-695A-8ABC-5367-70C2A0ED9DE7}"/>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0" name="Straight Connector 229">
                    <a:extLst>
                      <a:ext uri="{FF2B5EF4-FFF2-40B4-BE49-F238E27FC236}">
                        <a16:creationId xmlns:a16="http://schemas.microsoft.com/office/drawing/2014/main" id="{E63CE4CD-A39C-7F16-4EFE-287D25325059}"/>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2D9D5629-C39E-8E91-9F83-70CD75C98DD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32" name="Straight Connector 231">
                    <a:extLst>
                      <a:ext uri="{FF2B5EF4-FFF2-40B4-BE49-F238E27FC236}">
                        <a16:creationId xmlns:a16="http://schemas.microsoft.com/office/drawing/2014/main" id="{6657778A-C715-185B-BB66-0C0254FF224F}"/>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25" name="TextBox 224">
                  <a:extLst>
                    <a:ext uri="{FF2B5EF4-FFF2-40B4-BE49-F238E27FC236}">
                      <a16:creationId xmlns:a16="http://schemas.microsoft.com/office/drawing/2014/main" id="{B3340662-B8DA-F093-12AE-A8CC4B4BF521}"/>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5</a:t>
                  </a:r>
                </a:p>
              </p:txBody>
            </p:sp>
          </p:grpSp>
          <p:cxnSp>
            <p:nvCxnSpPr>
              <p:cNvPr id="221" name="Straight Connector 220">
                <a:extLst>
                  <a:ext uri="{FF2B5EF4-FFF2-40B4-BE49-F238E27FC236}">
                    <a16:creationId xmlns:a16="http://schemas.microsoft.com/office/drawing/2014/main" id="{FA42F493-4D91-FA56-4C52-5D9BFBB13670}"/>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222" name="Straight Connector 221">
                <a:extLst>
                  <a:ext uri="{FF2B5EF4-FFF2-40B4-BE49-F238E27FC236}">
                    <a16:creationId xmlns:a16="http://schemas.microsoft.com/office/drawing/2014/main" id="{2EFF0473-F06E-5899-03CF-2EBCEE28526E}"/>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3" name="Group 102">
              <a:extLst>
                <a:ext uri="{FF2B5EF4-FFF2-40B4-BE49-F238E27FC236}">
                  <a16:creationId xmlns:a16="http://schemas.microsoft.com/office/drawing/2014/main" id="{C8E86234-C109-A1A1-D2DA-E5598A250D31}"/>
                </a:ext>
              </a:extLst>
            </p:cNvPr>
            <p:cNvGrpSpPr/>
            <p:nvPr/>
          </p:nvGrpSpPr>
          <p:grpSpPr>
            <a:xfrm>
              <a:off x="13757848" y="18197110"/>
              <a:ext cx="3239588" cy="3005109"/>
              <a:chOff x="13757848" y="2169190"/>
              <a:chExt cx="3239588" cy="3005109"/>
            </a:xfrm>
          </p:grpSpPr>
          <p:grpSp>
            <p:nvGrpSpPr>
              <p:cNvPr id="180" name="Group 179">
                <a:extLst>
                  <a:ext uri="{FF2B5EF4-FFF2-40B4-BE49-F238E27FC236}">
                    <a16:creationId xmlns:a16="http://schemas.microsoft.com/office/drawing/2014/main" id="{F3A5C7F6-A83E-9E04-C058-19B967B22192}"/>
                  </a:ext>
                </a:extLst>
              </p:cNvPr>
              <p:cNvGrpSpPr/>
              <p:nvPr/>
            </p:nvGrpSpPr>
            <p:grpSpPr>
              <a:xfrm>
                <a:off x="13816078" y="2169190"/>
                <a:ext cx="3096088" cy="707825"/>
                <a:chOff x="13816078" y="2169190"/>
                <a:chExt cx="3096088" cy="707825"/>
              </a:xfrm>
            </p:grpSpPr>
            <p:sp>
              <p:nvSpPr>
                <p:cNvPr id="207" name="Rounded Rectangle 206">
                  <a:extLst>
                    <a:ext uri="{FF2B5EF4-FFF2-40B4-BE49-F238E27FC236}">
                      <a16:creationId xmlns:a16="http://schemas.microsoft.com/office/drawing/2014/main" id="{CE7EF3E2-B8EB-5340-B1B9-CE2677C566A9}"/>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208" name="Group 207">
                  <a:extLst>
                    <a:ext uri="{FF2B5EF4-FFF2-40B4-BE49-F238E27FC236}">
                      <a16:creationId xmlns:a16="http://schemas.microsoft.com/office/drawing/2014/main" id="{968626BF-10BA-1818-F345-0BF8939AE5A9}"/>
                    </a:ext>
                  </a:extLst>
                </p:cNvPr>
                <p:cNvGrpSpPr/>
                <p:nvPr/>
              </p:nvGrpSpPr>
              <p:grpSpPr>
                <a:xfrm>
                  <a:off x="14631249" y="2345047"/>
                  <a:ext cx="2132755" cy="339866"/>
                  <a:chOff x="3344204" y="2330315"/>
                  <a:chExt cx="1972263" cy="339866"/>
                </a:xfrm>
              </p:grpSpPr>
              <p:cxnSp>
                <p:nvCxnSpPr>
                  <p:cNvPr id="210" name="Straight Connector 209">
                    <a:extLst>
                      <a:ext uri="{FF2B5EF4-FFF2-40B4-BE49-F238E27FC236}">
                        <a16:creationId xmlns:a16="http://schemas.microsoft.com/office/drawing/2014/main" id="{36B36AB4-FE0D-1DB9-DF77-78B8AC63DB60}"/>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1" name="Straight Connector 210">
                    <a:extLst>
                      <a:ext uri="{FF2B5EF4-FFF2-40B4-BE49-F238E27FC236}">
                        <a16:creationId xmlns:a16="http://schemas.microsoft.com/office/drawing/2014/main" id="{4A6CE9A2-9C72-5536-4ADD-EC94EE9D22CA}"/>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2" name="Straight Connector 211">
                    <a:extLst>
                      <a:ext uri="{FF2B5EF4-FFF2-40B4-BE49-F238E27FC236}">
                        <a16:creationId xmlns:a16="http://schemas.microsoft.com/office/drawing/2014/main" id="{4568B188-AC2B-D1A2-96D0-0FB0F33D463F}"/>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963AE562-FD9B-A398-A79F-5879A0C0E106}"/>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4" name="Straight Connector 213">
                    <a:extLst>
                      <a:ext uri="{FF2B5EF4-FFF2-40B4-BE49-F238E27FC236}">
                        <a16:creationId xmlns:a16="http://schemas.microsoft.com/office/drawing/2014/main" id="{175FF9AA-32BC-456C-28F3-D0347313B1FC}"/>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AC8C7372-36DB-0987-E53F-582ED0DEB3F1}"/>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16" name="Straight Connector 215">
                    <a:extLst>
                      <a:ext uri="{FF2B5EF4-FFF2-40B4-BE49-F238E27FC236}">
                        <a16:creationId xmlns:a16="http://schemas.microsoft.com/office/drawing/2014/main" id="{F28548D8-16EB-E393-503F-2BD2002D47AD}"/>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209" name="TextBox 208">
                  <a:extLst>
                    <a:ext uri="{FF2B5EF4-FFF2-40B4-BE49-F238E27FC236}">
                      <a16:creationId xmlns:a16="http://schemas.microsoft.com/office/drawing/2014/main" id="{504D91DB-5259-7E4D-7236-9A291CD32928}"/>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6</a:t>
                  </a:r>
                </a:p>
              </p:txBody>
            </p:sp>
          </p:grpSp>
          <p:grpSp>
            <p:nvGrpSpPr>
              <p:cNvPr id="181" name="Group 180">
                <a:extLst>
                  <a:ext uri="{FF2B5EF4-FFF2-40B4-BE49-F238E27FC236}">
                    <a16:creationId xmlns:a16="http://schemas.microsoft.com/office/drawing/2014/main" id="{E63D68AE-1105-3AE1-E549-5193966FB0A2}"/>
                  </a:ext>
                </a:extLst>
              </p:cNvPr>
              <p:cNvGrpSpPr/>
              <p:nvPr/>
            </p:nvGrpSpPr>
            <p:grpSpPr>
              <a:xfrm>
                <a:off x="13816078" y="3243610"/>
                <a:ext cx="3096088" cy="707825"/>
                <a:chOff x="13816078" y="3243610"/>
                <a:chExt cx="3096088" cy="707825"/>
              </a:xfrm>
            </p:grpSpPr>
            <p:sp>
              <p:nvSpPr>
                <p:cNvPr id="196" name="Rounded Rectangle 195">
                  <a:extLst>
                    <a:ext uri="{FF2B5EF4-FFF2-40B4-BE49-F238E27FC236}">
                      <a16:creationId xmlns:a16="http://schemas.microsoft.com/office/drawing/2014/main" id="{D201E679-20AB-EC06-935C-33956E36AF17}"/>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97" name="Group 196">
                  <a:extLst>
                    <a:ext uri="{FF2B5EF4-FFF2-40B4-BE49-F238E27FC236}">
                      <a16:creationId xmlns:a16="http://schemas.microsoft.com/office/drawing/2014/main" id="{F89AAA15-EA0B-D6EB-06CC-95120A7A32A9}"/>
                    </a:ext>
                  </a:extLst>
                </p:cNvPr>
                <p:cNvGrpSpPr/>
                <p:nvPr/>
              </p:nvGrpSpPr>
              <p:grpSpPr>
                <a:xfrm>
                  <a:off x="14631249" y="3419467"/>
                  <a:ext cx="2132755" cy="339866"/>
                  <a:chOff x="3344204" y="2330315"/>
                  <a:chExt cx="1972263" cy="339866"/>
                </a:xfrm>
              </p:grpSpPr>
              <p:cxnSp>
                <p:nvCxnSpPr>
                  <p:cNvPr id="199" name="Straight Connector 198">
                    <a:extLst>
                      <a:ext uri="{FF2B5EF4-FFF2-40B4-BE49-F238E27FC236}">
                        <a16:creationId xmlns:a16="http://schemas.microsoft.com/office/drawing/2014/main" id="{E3DA2657-83A9-4768-8138-9CC4F0800B60}"/>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0" name="Straight Connector 199">
                    <a:extLst>
                      <a:ext uri="{FF2B5EF4-FFF2-40B4-BE49-F238E27FC236}">
                        <a16:creationId xmlns:a16="http://schemas.microsoft.com/office/drawing/2014/main" id="{9EAD6B5C-9FC9-1D36-156B-DDBD88FA40D5}"/>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1" name="Straight Connector 200">
                    <a:extLst>
                      <a:ext uri="{FF2B5EF4-FFF2-40B4-BE49-F238E27FC236}">
                        <a16:creationId xmlns:a16="http://schemas.microsoft.com/office/drawing/2014/main" id="{689A36BB-2D0E-116E-1FC5-1A4AC9F2050D}"/>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29854F65-98A3-833C-1734-E78753F2D155}"/>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3" name="Straight Connector 202">
                    <a:extLst>
                      <a:ext uri="{FF2B5EF4-FFF2-40B4-BE49-F238E27FC236}">
                        <a16:creationId xmlns:a16="http://schemas.microsoft.com/office/drawing/2014/main" id="{3DC32E49-809B-47AF-D226-1F349028909D}"/>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4" name="Straight Connector 203">
                    <a:extLst>
                      <a:ext uri="{FF2B5EF4-FFF2-40B4-BE49-F238E27FC236}">
                        <a16:creationId xmlns:a16="http://schemas.microsoft.com/office/drawing/2014/main" id="{E0E01D9D-EAD3-F9D7-3634-D9AF6F7CEEDF}"/>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C0D151B1-5765-DA17-83B1-9CD9E7BA2A80}"/>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206" name="Straight Connector 205">
                    <a:extLst>
                      <a:ext uri="{FF2B5EF4-FFF2-40B4-BE49-F238E27FC236}">
                        <a16:creationId xmlns:a16="http://schemas.microsoft.com/office/drawing/2014/main" id="{929B1F1A-1BB4-FFE8-12B0-69A425D91281}"/>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98" name="TextBox 197">
                  <a:extLst>
                    <a:ext uri="{FF2B5EF4-FFF2-40B4-BE49-F238E27FC236}">
                      <a16:creationId xmlns:a16="http://schemas.microsoft.com/office/drawing/2014/main" id="{B83B2298-B2FF-B155-1FC7-9DB759F0651D}"/>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7</a:t>
                  </a:r>
                </a:p>
              </p:txBody>
            </p:sp>
          </p:grpSp>
          <p:cxnSp>
            <p:nvCxnSpPr>
              <p:cNvPr id="182" name="Straight Connector 181">
                <a:extLst>
                  <a:ext uri="{FF2B5EF4-FFF2-40B4-BE49-F238E27FC236}">
                    <a16:creationId xmlns:a16="http://schemas.microsoft.com/office/drawing/2014/main" id="{5AA5E5C1-3F0F-78AE-73DF-4DDF99AD32C6}"/>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83" name="Group 182">
                <a:extLst>
                  <a:ext uri="{FF2B5EF4-FFF2-40B4-BE49-F238E27FC236}">
                    <a16:creationId xmlns:a16="http://schemas.microsoft.com/office/drawing/2014/main" id="{B611EC4E-491A-EBAC-AE89-7E6FD5BC0318}"/>
                  </a:ext>
                </a:extLst>
              </p:cNvPr>
              <p:cNvGrpSpPr/>
              <p:nvPr/>
            </p:nvGrpSpPr>
            <p:grpSpPr>
              <a:xfrm>
                <a:off x="13816078" y="4288638"/>
                <a:ext cx="3096088" cy="707825"/>
                <a:chOff x="13816078" y="4288638"/>
                <a:chExt cx="3096088" cy="707825"/>
              </a:xfrm>
            </p:grpSpPr>
            <p:sp>
              <p:nvSpPr>
                <p:cNvPr id="186" name="Rounded Rectangle 185">
                  <a:extLst>
                    <a:ext uri="{FF2B5EF4-FFF2-40B4-BE49-F238E27FC236}">
                      <a16:creationId xmlns:a16="http://schemas.microsoft.com/office/drawing/2014/main" id="{B552DFE5-DDF2-D9D6-3D92-CB0A9E070C76}"/>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87" name="Group 186">
                  <a:extLst>
                    <a:ext uri="{FF2B5EF4-FFF2-40B4-BE49-F238E27FC236}">
                      <a16:creationId xmlns:a16="http://schemas.microsoft.com/office/drawing/2014/main" id="{8EF94D41-58F3-C4FA-CB34-96176C7CAB74}"/>
                    </a:ext>
                  </a:extLst>
                </p:cNvPr>
                <p:cNvGrpSpPr/>
                <p:nvPr/>
              </p:nvGrpSpPr>
              <p:grpSpPr>
                <a:xfrm>
                  <a:off x="14631244" y="4464495"/>
                  <a:ext cx="2132752" cy="339866"/>
                  <a:chOff x="3344204" y="2330315"/>
                  <a:chExt cx="1972263" cy="339866"/>
                </a:xfrm>
              </p:grpSpPr>
              <p:cxnSp>
                <p:nvCxnSpPr>
                  <p:cNvPr id="189" name="Straight Connector 188">
                    <a:extLst>
                      <a:ext uri="{FF2B5EF4-FFF2-40B4-BE49-F238E27FC236}">
                        <a16:creationId xmlns:a16="http://schemas.microsoft.com/office/drawing/2014/main" id="{1B53DCE9-52ED-331C-2347-28E3A4CCBA6C}"/>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181D8B50-3086-62D3-3179-6E11D65EC1D7}"/>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AA9B6C25-78E2-A1C4-E949-10D4F070EB96}"/>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52CB8BF2-86F0-D84E-913A-631C31905EE1}"/>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8CE4A03F-4B4F-736B-0C84-B8C789CA1293}"/>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CB37CEC4-BACC-ECB5-95BE-006559E8C8B8}"/>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710156FB-93C8-BE2B-F18C-FE300D2FFD95}"/>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88" name="TextBox 187">
                  <a:extLst>
                    <a:ext uri="{FF2B5EF4-FFF2-40B4-BE49-F238E27FC236}">
                      <a16:creationId xmlns:a16="http://schemas.microsoft.com/office/drawing/2014/main" id="{5E2125F3-C0D5-1EF3-611C-06E51D615E84}"/>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8</a:t>
                  </a:r>
                </a:p>
              </p:txBody>
            </p:sp>
          </p:grpSp>
          <p:cxnSp>
            <p:nvCxnSpPr>
              <p:cNvPr id="184" name="Straight Connector 183">
                <a:extLst>
                  <a:ext uri="{FF2B5EF4-FFF2-40B4-BE49-F238E27FC236}">
                    <a16:creationId xmlns:a16="http://schemas.microsoft.com/office/drawing/2014/main" id="{AF8C1A86-70FD-A629-B270-82847723FBBF}"/>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85" name="Straight Connector 184">
                <a:extLst>
                  <a:ext uri="{FF2B5EF4-FFF2-40B4-BE49-F238E27FC236}">
                    <a16:creationId xmlns:a16="http://schemas.microsoft.com/office/drawing/2014/main" id="{C088FA1E-6545-5FAC-14E8-2EF925E6582F}"/>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4" name="Group 103">
              <a:extLst>
                <a:ext uri="{FF2B5EF4-FFF2-40B4-BE49-F238E27FC236}">
                  <a16:creationId xmlns:a16="http://schemas.microsoft.com/office/drawing/2014/main" id="{01E4DC7D-6455-73FD-125D-B508CD750155}"/>
                </a:ext>
              </a:extLst>
            </p:cNvPr>
            <p:cNvGrpSpPr/>
            <p:nvPr/>
          </p:nvGrpSpPr>
          <p:grpSpPr>
            <a:xfrm>
              <a:off x="13757848" y="21402694"/>
              <a:ext cx="3239588" cy="3005109"/>
              <a:chOff x="13757848" y="2169190"/>
              <a:chExt cx="3239588" cy="3005109"/>
            </a:xfrm>
          </p:grpSpPr>
          <p:grpSp>
            <p:nvGrpSpPr>
              <p:cNvPr id="143" name="Group 142">
                <a:extLst>
                  <a:ext uri="{FF2B5EF4-FFF2-40B4-BE49-F238E27FC236}">
                    <a16:creationId xmlns:a16="http://schemas.microsoft.com/office/drawing/2014/main" id="{535A7D5C-E420-5686-C933-0BC2F4387614}"/>
                  </a:ext>
                </a:extLst>
              </p:cNvPr>
              <p:cNvGrpSpPr/>
              <p:nvPr/>
            </p:nvGrpSpPr>
            <p:grpSpPr>
              <a:xfrm>
                <a:off x="13816078" y="2169190"/>
                <a:ext cx="3096088" cy="707825"/>
                <a:chOff x="13816078" y="2169190"/>
                <a:chExt cx="3096088" cy="707825"/>
              </a:xfrm>
            </p:grpSpPr>
            <p:sp>
              <p:nvSpPr>
                <p:cNvPr id="170" name="Rounded Rectangle 169">
                  <a:extLst>
                    <a:ext uri="{FF2B5EF4-FFF2-40B4-BE49-F238E27FC236}">
                      <a16:creationId xmlns:a16="http://schemas.microsoft.com/office/drawing/2014/main" id="{1DAE0B50-2BC2-2811-EBFB-D9B11D17FF8F}"/>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71" name="Group 170">
                  <a:extLst>
                    <a:ext uri="{FF2B5EF4-FFF2-40B4-BE49-F238E27FC236}">
                      <a16:creationId xmlns:a16="http://schemas.microsoft.com/office/drawing/2014/main" id="{B6518F9B-3DBF-4F68-AFDC-E1137D1C841B}"/>
                    </a:ext>
                  </a:extLst>
                </p:cNvPr>
                <p:cNvGrpSpPr/>
                <p:nvPr/>
              </p:nvGrpSpPr>
              <p:grpSpPr>
                <a:xfrm>
                  <a:off x="14631249" y="2345047"/>
                  <a:ext cx="2132755" cy="339866"/>
                  <a:chOff x="3344204" y="2330315"/>
                  <a:chExt cx="1972263" cy="339866"/>
                </a:xfrm>
              </p:grpSpPr>
              <p:cxnSp>
                <p:nvCxnSpPr>
                  <p:cNvPr id="173" name="Straight Connector 172">
                    <a:extLst>
                      <a:ext uri="{FF2B5EF4-FFF2-40B4-BE49-F238E27FC236}">
                        <a16:creationId xmlns:a16="http://schemas.microsoft.com/office/drawing/2014/main" id="{16DF8476-4CDF-7738-7BE2-13A49A1165D0}"/>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715E650C-8376-6292-2062-89E6F1A6E3D0}"/>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5" name="Straight Connector 174">
                    <a:extLst>
                      <a:ext uri="{FF2B5EF4-FFF2-40B4-BE49-F238E27FC236}">
                        <a16:creationId xmlns:a16="http://schemas.microsoft.com/office/drawing/2014/main" id="{98C44E61-F759-ECB4-8AE6-1927264B4A0E}"/>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6" name="Straight Connector 175">
                    <a:extLst>
                      <a:ext uri="{FF2B5EF4-FFF2-40B4-BE49-F238E27FC236}">
                        <a16:creationId xmlns:a16="http://schemas.microsoft.com/office/drawing/2014/main" id="{C79FC591-5513-B325-B1FC-7DDEA6128852}"/>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47AD9F16-A4DD-FD01-C691-B1C160FA8F5D}"/>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8" name="Straight Connector 177">
                    <a:extLst>
                      <a:ext uri="{FF2B5EF4-FFF2-40B4-BE49-F238E27FC236}">
                        <a16:creationId xmlns:a16="http://schemas.microsoft.com/office/drawing/2014/main" id="{58C56480-FD9C-41C0-0DE2-40AE8310093D}"/>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79" name="Straight Connector 178">
                    <a:extLst>
                      <a:ext uri="{FF2B5EF4-FFF2-40B4-BE49-F238E27FC236}">
                        <a16:creationId xmlns:a16="http://schemas.microsoft.com/office/drawing/2014/main" id="{FFB1EA80-BD7D-001C-0E6C-27CB798736B7}"/>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72" name="TextBox 171">
                  <a:extLst>
                    <a:ext uri="{FF2B5EF4-FFF2-40B4-BE49-F238E27FC236}">
                      <a16:creationId xmlns:a16="http://schemas.microsoft.com/office/drawing/2014/main" id="{F08E9CA3-5F04-7E63-9A2A-3B5636835098}"/>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19</a:t>
                  </a:r>
                </a:p>
              </p:txBody>
            </p:sp>
          </p:grpSp>
          <p:grpSp>
            <p:nvGrpSpPr>
              <p:cNvPr id="144" name="Group 143">
                <a:extLst>
                  <a:ext uri="{FF2B5EF4-FFF2-40B4-BE49-F238E27FC236}">
                    <a16:creationId xmlns:a16="http://schemas.microsoft.com/office/drawing/2014/main" id="{A0848FB5-F013-A7E7-7A1A-453C5014B997}"/>
                  </a:ext>
                </a:extLst>
              </p:cNvPr>
              <p:cNvGrpSpPr/>
              <p:nvPr/>
            </p:nvGrpSpPr>
            <p:grpSpPr>
              <a:xfrm>
                <a:off x="13816078" y="3243610"/>
                <a:ext cx="3096088" cy="707825"/>
                <a:chOff x="13816078" y="3243610"/>
                <a:chExt cx="3096088" cy="707825"/>
              </a:xfrm>
            </p:grpSpPr>
            <p:sp>
              <p:nvSpPr>
                <p:cNvPr id="159" name="Rounded Rectangle 158">
                  <a:extLst>
                    <a:ext uri="{FF2B5EF4-FFF2-40B4-BE49-F238E27FC236}">
                      <a16:creationId xmlns:a16="http://schemas.microsoft.com/office/drawing/2014/main" id="{63D5704C-1AE5-1530-35E6-89C58556FB0B}"/>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60" name="Group 159">
                  <a:extLst>
                    <a:ext uri="{FF2B5EF4-FFF2-40B4-BE49-F238E27FC236}">
                      <a16:creationId xmlns:a16="http://schemas.microsoft.com/office/drawing/2014/main" id="{3E513929-3116-E815-C3F5-D94BFED61C3D}"/>
                    </a:ext>
                  </a:extLst>
                </p:cNvPr>
                <p:cNvGrpSpPr/>
                <p:nvPr/>
              </p:nvGrpSpPr>
              <p:grpSpPr>
                <a:xfrm>
                  <a:off x="14631249" y="3419467"/>
                  <a:ext cx="2132755" cy="339866"/>
                  <a:chOff x="3344204" y="2330315"/>
                  <a:chExt cx="1972263" cy="339866"/>
                </a:xfrm>
              </p:grpSpPr>
              <p:cxnSp>
                <p:nvCxnSpPr>
                  <p:cNvPr id="162" name="Straight Connector 161">
                    <a:extLst>
                      <a:ext uri="{FF2B5EF4-FFF2-40B4-BE49-F238E27FC236}">
                        <a16:creationId xmlns:a16="http://schemas.microsoft.com/office/drawing/2014/main" id="{F6E5C274-BDA8-29C0-98D1-53FFC8ECCFAB}"/>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3" name="Straight Connector 162">
                    <a:extLst>
                      <a:ext uri="{FF2B5EF4-FFF2-40B4-BE49-F238E27FC236}">
                        <a16:creationId xmlns:a16="http://schemas.microsoft.com/office/drawing/2014/main" id="{10A7F015-6375-46A6-9795-D725FD055FC0}"/>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4" name="Straight Connector 163">
                    <a:extLst>
                      <a:ext uri="{FF2B5EF4-FFF2-40B4-BE49-F238E27FC236}">
                        <a16:creationId xmlns:a16="http://schemas.microsoft.com/office/drawing/2014/main" id="{53A77A98-8540-1EAE-87ED-55B083C88C4A}"/>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5" name="Straight Connector 164">
                    <a:extLst>
                      <a:ext uri="{FF2B5EF4-FFF2-40B4-BE49-F238E27FC236}">
                        <a16:creationId xmlns:a16="http://schemas.microsoft.com/office/drawing/2014/main" id="{0D01E602-7B24-09FE-DA8A-E555DF7BF993}"/>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D7CD8E99-6877-3423-7B74-7EE2F54DB43B}"/>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7" name="Straight Connector 166">
                    <a:extLst>
                      <a:ext uri="{FF2B5EF4-FFF2-40B4-BE49-F238E27FC236}">
                        <a16:creationId xmlns:a16="http://schemas.microsoft.com/office/drawing/2014/main" id="{1392D365-6CFC-C728-1E94-A299A781E36A}"/>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8" name="Straight Connector 167">
                    <a:extLst>
                      <a:ext uri="{FF2B5EF4-FFF2-40B4-BE49-F238E27FC236}">
                        <a16:creationId xmlns:a16="http://schemas.microsoft.com/office/drawing/2014/main" id="{BD43E3FD-1370-BA63-D2EF-1A40060601E1}"/>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E0F0460D-48D1-C03A-0EF6-3A3D6435D7D6}"/>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61" name="TextBox 160">
                  <a:extLst>
                    <a:ext uri="{FF2B5EF4-FFF2-40B4-BE49-F238E27FC236}">
                      <a16:creationId xmlns:a16="http://schemas.microsoft.com/office/drawing/2014/main" id="{ABB2DB89-394A-4CB8-94EA-42432E69B7DB}"/>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0</a:t>
                  </a:r>
                </a:p>
              </p:txBody>
            </p:sp>
          </p:grpSp>
          <p:cxnSp>
            <p:nvCxnSpPr>
              <p:cNvPr id="145" name="Straight Connector 144">
                <a:extLst>
                  <a:ext uri="{FF2B5EF4-FFF2-40B4-BE49-F238E27FC236}">
                    <a16:creationId xmlns:a16="http://schemas.microsoft.com/office/drawing/2014/main" id="{8740F8CE-F849-5D54-7ED6-6D940E86FB37}"/>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46" name="Group 145">
                <a:extLst>
                  <a:ext uri="{FF2B5EF4-FFF2-40B4-BE49-F238E27FC236}">
                    <a16:creationId xmlns:a16="http://schemas.microsoft.com/office/drawing/2014/main" id="{3489DBCB-E4EE-18B2-1BE0-795E326DE2E1}"/>
                  </a:ext>
                </a:extLst>
              </p:cNvPr>
              <p:cNvGrpSpPr/>
              <p:nvPr/>
            </p:nvGrpSpPr>
            <p:grpSpPr>
              <a:xfrm>
                <a:off x="13816078" y="4288638"/>
                <a:ext cx="3096088" cy="707825"/>
                <a:chOff x="13816078" y="4288638"/>
                <a:chExt cx="3096088" cy="707825"/>
              </a:xfrm>
            </p:grpSpPr>
            <p:sp>
              <p:nvSpPr>
                <p:cNvPr id="149" name="Rounded Rectangle 148">
                  <a:extLst>
                    <a:ext uri="{FF2B5EF4-FFF2-40B4-BE49-F238E27FC236}">
                      <a16:creationId xmlns:a16="http://schemas.microsoft.com/office/drawing/2014/main" id="{85045F67-B373-6B8A-395C-66E3F7D3811B}"/>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50" name="Group 149">
                  <a:extLst>
                    <a:ext uri="{FF2B5EF4-FFF2-40B4-BE49-F238E27FC236}">
                      <a16:creationId xmlns:a16="http://schemas.microsoft.com/office/drawing/2014/main" id="{EEADDE61-A116-9D9E-9D39-B67468D28069}"/>
                    </a:ext>
                  </a:extLst>
                </p:cNvPr>
                <p:cNvGrpSpPr/>
                <p:nvPr/>
              </p:nvGrpSpPr>
              <p:grpSpPr>
                <a:xfrm>
                  <a:off x="14631244" y="4464495"/>
                  <a:ext cx="2132752" cy="339866"/>
                  <a:chOff x="3344204" y="2330315"/>
                  <a:chExt cx="1972263" cy="339866"/>
                </a:xfrm>
              </p:grpSpPr>
              <p:cxnSp>
                <p:nvCxnSpPr>
                  <p:cNvPr id="152" name="Straight Connector 151">
                    <a:extLst>
                      <a:ext uri="{FF2B5EF4-FFF2-40B4-BE49-F238E27FC236}">
                        <a16:creationId xmlns:a16="http://schemas.microsoft.com/office/drawing/2014/main" id="{A8EB3E3D-9A94-CC99-8707-20ADAA17C111}"/>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C2D94B83-F325-41B8-475D-09AC3B84E22B}"/>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B3077447-3F06-794C-13F3-C8CC82CBB1F8}"/>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5" name="Straight Connector 154">
                    <a:extLst>
                      <a:ext uri="{FF2B5EF4-FFF2-40B4-BE49-F238E27FC236}">
                        <a16:creationId xmlns:a16="http://schemas.microsoft.com/office/drawing/2014/main" id="{0C018354-6EF6-6C6D-69A4-32A114148784}"/>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6" name="Straight Connector 155">
                    <a:extLst>
                      <a:ext uri="{FF2B5EF4-FFF2-40B4-BE49-F238E27FC236}">
                        <a16:creationId xmlns:a16="http://schemas.microsoft.com/office/drawing/2014/main" id="{482288BA-0B2B-B0D2-B6F8-A6E1F2E01E87}"/>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83F87D5D-3455-5D84-1B37-DD77811C4742}"/>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8923E4CB-4E6D-0F47-9038-C6A866D7BAC1}"/>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51" name="TextBox 150">
                  <a:extLst>
                    <a:ext uri="{FF2B5EF4-FFF2-40B4-BE49-F238E27FC236}">
                      <a16:creationId xmlns:a16="http://schemas.microsoft.com/office/drawing/2014/main" id="{D90F58D8-3E8C-4205-366B-E732EAFEE10D}"/>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1</a:t>
                  </a:r>
                </a:p>
              </p:txBody>
            </p:sp>
          </p:grpSp>
          <p:cxnSp>
            <p:nvCxnSpPr>
              <p:cNvPr id="147" name="Straight Connector 146">
                <a:extLst>
                  <a:ext uri="{FF2B5EF4-FFF2-40B4-BE49-F238E27FC236}">
                    <a16:creationId xmlns:a16="http://schemas.microsoft.com/office/drawing/2014/main" id="{B850B9A2-5719-C879-9761-035681DD8AFC}"/>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48" name="Straight Connector 147">
                <a:extLst>
                  <a:ext uri="{FF2B5EF4-FFF2-40B4-BE49-F238E27FC236}">
                    <a16:creationId xmlns:a16="http://schemas.microsoft.com/office/drawing/2014/main" id="{38F79058-28D9-78B0-B687-EE21CE49EED3}"/>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nvGrpSpPr>
            <p:cNvPr id="105" name="Group 104">
              <a:extLst>
                <a:ext uri="{FF2B5EF4-FFF2-40B4-BE49-F238E27FC236}">
                  <a16:creationId xmlns:a16="http://schemas.microsoft.com/office/drawing/2014/main" id="{CB391FB8-5A31-D4F8-958D-70BF450F169F}"/>
                </a:ext>
              </a:extLst>
            </p:cNvPr>
            <p:cNvGrpSpPr/>
            <p:nvPr/>
          </p:nvGrpSpPr>
          <p:grpSpPr>
            <a:xfrm>
              <a:off x="13757848" y="24608280"/>
              <a:ext cx="3239588" cy="3005109"/>
              <a:chOff x="13757848" y="2169190"/>
              <a:chExt cx="3239588" cy="3005109"/>
            </a:xfrm>
          </p:grpSpPr>
          <p:grpSp>
            <p:nvGrpSpPr>
              <p:cNvPr id="106" name="Group 105">
                <a:extLst>
                  <a:ext uri="{FF2B5EF4-FFF2-40B4-BE49-F238E27FC236}">
                    <a16:creationId xmlns:a16="http://schemas.microsoft.com/office/drawing/2014/main" id="{E926DE72-0722-BB37-5C8B-A93437AFB4BC}"/>
                  </a:ext>
                </a:extLst>
              </p:cNvPr>
              <p:cNvGrpSpPr/>
              <p:nvPr/>
            </p:nvGrpSpPr>
            <p:grpSpPr>
              <a:xfrm>
                <a:off x="13816078" y="2169190"/>
                <a:ext cx="3096088" cy="707825"/>
                <a:chOff x="13816078" y="2169190"/>
                <a:chExt cx="3096088" cy="707825"/>
              </a:xfrm>
            </p:grpSpPr>
            <p:sp>
              <p:nvSpPr>
                <p:cNvPr id="133" name="Rounded Rectangle 132">
                  <a:extLst>
                    <a:ext uri="{FF2B5EF4-FFF2-40B4-BE49-F238E27FC236}">
                      <a16:creationId xmlns:a16="http://schemas.microsoft.com/office/drawing/2014/main" id="{7E8DEF5D-E7C2-585D-41E6-C4562D0A1C36}"/>
                    </a:ext>
                  </a:extLst>
                </p:cNvPr>
                <p:cNvSpPr/>
                <p:nvPr/>
              </p:nvSpPr>
              <p:spPr>
                <a:xfrm>
                  <a:off x="14483080" y="216919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34" name="Group 133">
                  <a:extLst>
                    <a:ext uri="{FF2B5EF4-FFF2-40B4-BE49-F238E27FC236}">
                      <a16:creationId xmlns:a16="http://schemas.microsoft.com/office/drawing/2014/main" id="{75DC9E0D-E6E1-4E01-1746-C7A2E6C5E093}"/>
                    </a:ext>
                  </a:extLst>
                </p:cNvPr>
                <p:cNvGrpSpPr/>
                <p:nvPr/>
              </p:nvGrpSpPr>
              <p:grpSpPr>
                <a:xfrm>
                  <a:off x="14631249" y="2345047"/>
                  <a:ext cx="2132755" cy="339866"/>
                  <a:chOff x="3344204" y="2330315"/>
                  <a:chExt cx="1972263" cy="339866"/>
                </a:xfrm>
              </p:grpSpPr>
              <p:cxnSp>
                <p:nvCxnSpPr>
                  <p:cNvPr id="136" name="Straight Connector 135">
                    <a:extLst>
                      <a:ext uri="{FF2B5EF4-FFF2-40B4-BE49-F238E27FC236}">
                        <a16:creationId xmlns:a16="http://schemas.microsoft.com/office/drawing/2014/main" id="{53BF3C71-9B9D-8065-C01E-3BE8F36403CF}"/>
                      </a:ext>
                    </a:extLst>
                  </p:cNvPr>
                  <p:cNvCxnSpPr>
                    <a:cxnSpLocks/>
                  </p:cNvCxnSpPr>
                  <p:nvPr/>
                </p:nvCxnSpPr>
                <p:spPr>
                  <a:xfrm>
                    <a:off x="3344204" y="2330315"/>
                    <a:ext cx="100615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9BDFD329-1409-124F-CA5E-A4992F44D985}"/>
                      </a:ext>
                    </a:extLst>
                  </p:cNvPr>
                  <p:cNvCxnSpPr>
                    <a:cxnSpLocks/>
                  </p:cNvCxnSpPr>
                  <p:nvPr/>
                </p:nvCxnSpPr>
                <p:spPr>
                  <a:xfrm>
                    <a:off x="4501365"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6B4EBC09-5802-4BC9-532D-43F12316C160}"/>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63F14C03-8443-ABB4-9A17-9505B8AF6F49}"/>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390EFE5-4E43-FA00-D39D-F64D9E1D3262}"/>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D110675F-B079-C18D-205F-0A07DAFBF567}"/>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8A38B850-AA91-F36C-47E6-49E29869A2CA}"/>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35" name="TextBox 134">
                  <a:extLst>
                    <a:ext uri="{FF2B5EF4-FFF2-40B4-BE49-F238E27FC236}">
                      <a16:creationId xmlns:a16="http://schemas.microsoft.com/office/drawing/2014/main" id="{F0D6B070-C65F-363D-751E-25AC0BBE161A}"/>
                    </a:ext>
                  </a:extLst>
                </p:cNvPr>
                <p:cNvSpPr txBox="1"/>
                <p:nvPr/>
              </p:nvSpPr>
              <p:spPr>
                <a:xfrm>
                  <a:off x="13816078" y="2372795"/>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2</a:t>
                  </a:r>
                </a:p>
              </p:txBody>
            </p:sp>
          </p:grpSp>
          <p:grpSp>
            <p:nvGrpSpPr>
              <p:cNvPr id="107" name="Group 106">
                <a:extLst>
                  <a:ext uri="{FF2B5EF4-FFF2-40B4-BE49-F238E27FC236}">
                    <a16:creationId xmlns:a16="http://schemas.microsoft.com/office/drawing/2014/main" id="{DAAA20CC-1C2E-A0D3-C7E7-B32408347FB8}"/>
                  </a:ext>
                </a:extLst>
              </p:cNvPr>
              <p:cNvGrpSpPr/>
              <p:nvPr/>
            </p:nvGrpSpPr>
            <p:grpSpPr>
              <a:xfrm>
                <a:off x="13816078" y="3243610"/>
                <a:ext cx="3096088" cy="707825"/>
                <a:chOff x="13816078" y="3243610"/>
                <a:chExt cx="3096088" cy="707825"/>
              </a:xfrm>
            </p:grpSpPr>
            <p:sp>
              <p:nvSpPr>
                <p:cNvPr id="122" name="Rounded Rectangle 121">
                  <a:extLst>
                    <a:ext uri="{FF2B5EF4-FFF2-40B4-BE49-F238E27FC236}">
                      <a16:creationId xmlns:a16="http://schemas.microsoft.com/office/drawing/2014/main" id="{E143BC20-A53D-B78F-5596-D6C67BA7A811}"/>
                    </a:ext>
                  </a:extLst>
                </p:cNvPr>
                <p:cNvSpPr/>
                <p:nvPr/>
              </p:nvSpPr>
              <p:spPr>
                <a:xfrm>
                  <a:off x="14483080" y="3243610"/>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23" name="Group 122">
                  <a:extLst>
                    <a:ext uri="{FF2B5EF4-FFF2-40B4-BE49-F238E27FC236}">
                      <a16:creationId xmlns:a16="http://schemas.microsoft.com/office/drawing/2014/main" id="{B6CBFC6F-353D-3F40-6721-2EA02761AB14}"/>
                    </a:ext>
                  </a:extLst>
                </p:cNvPr>
                <p:cNvGrpSpPr/>
                <p:nvPr/>
              </p:nvGrpSpPr>
              <p:grpSpPr>
                <a:xfrm>
                  <a:off x="14631249" y="3419467"/>
                  <a:ext cx="2132755" cy="339866"/>
                  <a:chOff x="3344204" y="2330315"/>
                  <a:chExt cx="1972263" cy="339866"/>
                </a:xfrm>
              </p:grpSpPr>
              <p:cxnSp>
                <p:nvCxnSpPr>
                  <p:cNvPr id="125" name="Straight Connector 124">
                    <a:extLst>
                      <a:ext uri="{FF2B5EF4-FFF2-40B4-BE49-F238E27FC236}">
                        <a16:creationId xmlns:a16="http://schemas.microsoft.com/office/drawing/2014/main" id="{90A0E72E-739E-BEF3-8891-5714862EFB6C}"/>
                      </a:ext>
                    </a:extLst>
                  </p:cNvPr>
                  <p:cNvCxnSpPr>
                    <a:cxnSpLocks/>
                  </p:cNvCxnSpPr>
                  <p:nvPr/>
                </p:nvCxnSpPr>
                <p:spPr>
                  <a:xfrm>
                    <a:off x="3344204" y="2330315"/>
                    <a:ext cx="507605"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CD61DA4A-5A3E-0037-EAA8-6A9F6897D665}"/>
                      </a:ext>
                    </a:extLst>
                  </p:cNvPr>
                  <p:cNvCxnSpPr>
                    <a:cxnSpLocks/>
                  </p:cNvCxnSpPr>
                  <p:nvPr/>
                </p:nvCxnSpPr>
                <p:spPr>
                  <a:xfrm>
                    <a:off x="4054613" y="2330315"/>
                    <a:ext cx="12618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43EC85CC-4CAF-81AF-1754-C4B7F65A1F82}"/>
                      </a:ext>
                    </a:extLst>
                  </p:cNvPr>
                  <p:cNvCxnSpPr>
                    <a:cxnSpLocks/>
                  </p:cNvCxnSpPr>
                  <p:nvPr/>
                </p:nvCxnSpPr>
                <p:spPr>
                  <a:xfrm>
                    <a:off x="4855221" y="2500248"/>
                    <a:ext cx="4612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7227BF9C-B815-E272-DD1A-F8926DBCAA9C}"/>
                      </a:ext>
                    </a:extLst>
                  </p:cNvPr>
                  <p:cNvCxnSpPr>
                    <a:cxnSpLocks/>
                  </p:cNvCxnSpPr>
                  <p:nvPr/>
                </p:nvCxnSpPr>
                <p:spPr>
                  <a:xfrm>
                    <a:off x="4163621" y="2500248"/>
                    <a:ext cx="521667"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96D8C22F-F10F-BAA4-4775-82F44B8B91DE}"/>
                      </a:ext>
                    </a:extLst>
                  </p:cNvPr>
                  <p:cNvCxnSpPr>
                    <a:cxnSpLocks/>
                  </p:cNvCxnSpPr>
                  <p:nvPr/>
                </p:nvCxnSpPr>
                <p:spPr>
                  <a:xfrm>
                    <a:off x="3344204" y="2500248"/>
                    <a:ext cx="1329191"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C50C46CC-ADB6-60BE-1063-8E2EBAA4A1E6}"/>
                      </a:ext>
                    </a:extLst>
                  </p:cNvPr>
                  <p:cNvCxnSpPr>
                    <a:cxnSpLocks/>
                  </p:cNvCxnSpPr>
                  <p:nvPr/>
                </p:nvCxnSpPr>
                <p:spPr>
                  <a:xfrm>
                    <a:off x="3851809" y="2670181"/>
                    <a:ext cx="64955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925CA1EC-76BE-791A-4D61-8750C007F5BF}"/>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F9B0B89F-7EB8-29D4-1B73-20747985A1AC}"/>
                      </a:ext>
                    </a:extLst>
                  </p:cNvPr>
                  <p:cNvCxnSpPr>
                    <a:cxnSpLocks/>
                  </p:cNvCxnSpPr>
                  <p:nvPr/>
                </p:nvCxnSpPr>
                <p:spPr>
                  <a:xfrm>
                    <a:off x="4673395" y="2670181"/>
                    <a:ext cx="64307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24" name="TextBox 123">
                  <a:extLst>
                    <a:ext uri="{FF2B5EF4-FFF2-40B4-BE49-F238E27FC236}">
                      <a16:creationId xmlns:a16="http://schemas.microsoft.com/office/drawing/2014/main" id="{99D91D5B-C1E7-D663-A7F3-97D1B1C0E082}"/>
                    </a:ext>
                  </a:extLst>
                </p:cNvPr>
                <p:cNvSpPr txBox="1"/>
                <p:nvPr/>
              </p:nvSpPr>
              <p:spPr>
                <a:xfrm>
                  <a:off x="13816078" y="3443633"/>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3</a:t>
                  </a:r>
                </a:p>
              </p:txBody>
            </p:sp>
          </p:grpSp>
          <p:cxnSp>
            <p:nvCxnSpPr>
              <p:cNvPr id="108" name="Straight Connector 107">
                <a:extLst>
                  <a:ext uri="{FF2B5EF4-FFF2-40B4-BE49-F238E27FC236}">
                    <a16:creationId xmlns:a16="http://schemas.microsoft.com/office/drawing/2014/main" id="{D7CE1F50-4323-5C8C-D435-3692BE0539B4}"/>
                  </a:ext>
                </a:extLst>
              </p:cNvPr>
              <p:cNvCxnSpPr/>
              <p:nvPr/>
            </p:nvCxnSpPr>
            <p:spPr>
              <a:xfrm>
                <a:off x="13757848" y="3066825"/>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nvGrpSpPr>
              <p:cNvPr id="109" name="Group 108">
                <a:extLst>
                  <a:ext uri="{FF2B5EF4-FFF2-40B4-BE49-F238E27FC236}">
                    <a16:creationId xmlns:a16="http://schemas.microsoft.com/office/drawing/2014/main" id="{C23BC440-2E94-CF94-8195-1D886DFA246A}"/>
                  </a:ext>
                </a:extLst>
              </p:cNvPr>
              <p:cNvGrpSpPr/>
              <p:nvPr/>
            </p:nvGrpSpPr>
            <p:grpSpPr>
              <a:xfrm>
                <a:off x="13816078" y="4288638"/>
                <a:ext cx="3096088" cy="707825"/>
                <a:chOff x="13816078" y="4288638"/>
                <a:chExt cx="3096088" cy="707825"/>
              </a:xfrm>
            </p:grpSpPr>
            <p:sp>
              <p:nvSpPr>
                <p:cNvPr id="112" name="Rounded Rectangle 111">
                  <a:extLst>
                    <a:ext uri="{FF2B5EF4-FFF2-40B4-BE49-F238E27FC236}">
                      <a16:creationId xmlns:a16="http://schemas.microsoft.com/office/drawing/2014/main" id="{393F989B-3391-AF70-CAA6-CB3B164D868B}"/>
                    </a:ext>
                  </a:extLst>
                </p:cNvPr>
                <p:cNvSpPr/>
                <p:nvPr/>
              </p:nvSpPr>
              <p:spPr>
                <a:xfrm>
                  <a:off x="14483080" y="4288638"/>
                  <a:ext cx="2429086" cy="707825"/>
                </a:xfrm>
                <a:prstGeom prst="roundRect">
                  <a:avLst/>
                </a:prstGeom>
                <a:noFill/>
                <a:ln w="254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100" normalizeH="0" baseline="0" noProof="0">
                    <a:ln>
                      <a:noFill/>
                    </a:ln>
                    <a:solidFill>
                      <a:srgbClr val="7E889A"/>
                    </a:solidFill>
                    <a:effectLst/>
                    <a:uLnTx/>
                    <a:uFillTx/>
                    <a:latin typeface="Anova Bold"/>
                    <a:ea typeface="+mn-ea"/>
                    <a:cs typeface="+mn-cs"/>
                  </a:endParaRPr>
                </a:p>
              </p:txBody>
            </p:sp>
            <p:grpSp>
              <p:nvGrpSpPr>
                <p:cNvPr id="113" name="Group 112">
                  <a:extLst>
                    <a:ext uri="{FF2B5EF4-FFF2-40B4-BE49-F238E27FC236}">
                      <a16:creationId xmlns:a16="http://schemas.microsoft.com/office/drawing/2014/main" id="{4D4BE529-3862-C592-F204-51FDCB3F1B63}"/>
                    </a:ext>
                  </a:extLst>
                </p:cNvPr>
                <p:cNvGrpSpPr/>
                <p:nvPr/>
              </p:nvGrpSpPr>
              <p:grpSpPr>
                <a:xfrm>
                  <a:off x="14631244" y="4464495"/>
                  <a:ext cx="2132752" cy="339866"/>
                  <a:chOff x="3344204" y="2330315"/>
                  <a:chExt cx="1972263" cy="339866"/>
                </a:xfrm>
              </p:grpSpPr>
              <p:cxnSp>
                <p:nvCxnSpPr>
                  <p:cNvPr id="115" name="Straight Connector 114">
                    <a:extLst>
                      <a:ext uri="{FF2B5EF4-FFF2-40B4-BE49-F238E27FC236}">
                        <a16:creationId xmlns:a16="http://schemas.microsoft.com/office/drawing/2014/main" id="{AD1F4016-56B9-E461-640B-68582B7CE9F7}"/>
                      </a:ext>
                    </a:extLst>
                  </p:cNvPr>
                  <p:cNvCxnSpPr>
                    <a:cxnSpLocks/>
                  </p:cNvCxnSpPr>
                  <p:nvPr/>
                </p:nvCxnSpPr>
                <p:spPr>
                  <a:xfrm>
                    <a:off x="3344204" y="2330315"/>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F7B84CFF-CA7E-7C2D-5763-B643C8BA57DA}"/>
                      </a:ext>
                    </a:extLst>
                  </p:cNvPr>
                  <p:cNvCxnSpPr>
                    <a:cxnSpLocks/>
                  </p:cNvCxnSpPr>
                  <p:nvPr/>
                </p:nvCxnSpPr>
                <p:spPr>
                  <a:xfrm>
                    <a:off x="3851809" y="2330315"/>
                    <a:ext cx="815102"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A1829174-903F-7249-F2BD-51108BECCD92}"/>
                      </a:ext>
                    </a:extLst>
                  </p:cNvPr>
                  <p:cNvCxnSpPr>
                    <a:cxnSpLocks/>
                  </p:cNvCxnSpPr>
                  <p:nvPr/>
                </p:nvCxnSpPr>
                <p:spPr>
                  <a:xfrm>
                    <a:off x="4163621" y="2500248"/>
                    <a:ext cx="1152846"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B6E4B014-36D4-D888-2729-147FE8AA1B19}"/>
                      </a:ext>
                    </a:extLst>
                  </p:cNvPr>
                  <p:cNvCxnSpPr>
                    <a:cxnSpLocks/>
                  </p:cNvCxnSpPr>
                  <p:nvPr/>
                </p:nvCxnSpPr>
                <p:spPr>
                  <a:xfrm>
                    <a:off x="3344204" y="2500248"/>
                    <a:ext cx="66135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22E17D31-DC39-AB7D-4B18-36EAFFF6CB0C}"/>
                      </a:ext>
                    </a:extLst>
                  </p:cNvPr>
                  <p:cNvCxnSpPr>
                    <a:cxnSpLocks/>
                  </p:cNvCxnSpPr>
                  <p:nvPr/>
                </p:nvCxnSpPr>
                <p:spPr>
                  <a:xfrm>
                    <a:off x="3851809" y="2670181"/>
                    <a:ext cx="1464658"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4527CD9F-9EC7-94EE-A2E8-04A3DAC176AB}"/>
                      </a:ext>
                    </a:extLst>
                  </p:cNvPr>
                  <p:cNvCxnSpPr>
                    <a:cxnSpLocks/>
                  </p:cNvCxnSpPr>
                  <p:nvPr/>
                </p:nvCxnSpPr>
                <p:spPr>
                  <a:xfrm>
                    <a:off x="3344204" y="2670181"/>
                    <a:ext cx="345764"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661D5A23-9F78-10AF-16B3-AF3D563AAD2B}"/>
                      </a:ext>
                    </a:extLst>
                  </p:cNvPr>
                  <p:cNvCxnSpPr>
                    <a:cxnSpLocks/>
                  </p:cNvCxnSpPr>
                  <p:nvPr/>
                </p:nvCxnSpPr>
                <p:spPr>
                  <a:xfrm>
                    <a:off x="4814397" y="2330315"/>
                    <a:ext cx="502070" cy="0"/>
                  </a:xfrm>
                  <a:prstGeom prst="line">
                    <a:avLst/>
                  </a:prstGeom>
                  <a:ln w="25400" cap="rnd">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sp>
              <p:nvSpPr>
                <p:cNvPr id="114" name="TextBox 113">
                  <a:extLst>
                    <a:ext uri="{FF2B5EF4-FFF2-40B4-BE49-F238E27FC236}">
                      <a16:creationId xmlns:a16="http://schemas.microsoft.com/office/drawing/2014/main" id="{1152C19E-7A43-02B0-209B-933E293C4BD1}"/>
                    </a:ext>
                  </a:extLst>
                </p:cNvPr>
                <p:cNvSpPr txBox="1"/>
                <p:nvPr/>
              </p:nvSpPr>
              <p:spPr>
                <a:xfrm>
                  <a:off x="13816078" y="4488661"/>
                  <a:ext cx="745901" cy="307777"/>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100" normalizeH="0" baseline="0" noProof="0">
                      <a:ln>
                        <a:noFill/>
                      </a:ln>
                      <a:solidFill>
                        <a:srgbClr val="7E889A"/>
                      </a:solidFill>
                      <a:effectLst/>
                      <a:uLnTx/>
                      <a:uFillTx/>
                      <a:latin typeface="Anova Bold"/>
                      <a:ea typeface="+mn-ea"/>
                      <a:cs typeface="+mn-cs"/>
                    </a:rPr>
                    <a:t>ID24</a:t>
                  </a:r>
                </a:p>
              </p:txBody>
            </p:sp>
          </p:grpSp>
          <p:cxnSp>
            <p:nvCxnSpPr>
              <p:cNvPr id="110" name="Straight Connector 109">
                <a:extLst>
                  <a:ext uri="{FF2B5EF4-FFF2-40B4-BE49-F238E27FC236}">
                    <a16:creationId xmlns:a16="http://schemas.microsoft.com/office/drawing/2014/main" id="{C74EA185-C24F-2CBC-9DAA-52E41568538C}"/>
                  </a:ext>
                </a:extLst>
              </p:cNvPr>
              <p:cNvCxnSpPr/>
              <p:nvPr/>
            </p:nvCxnSpPr>
            <p:spPr>
              <a:xfrm>
                <a:off x="13757848" y="4111853"/>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cxnSp>
            <p:nvCxnSpPr>
              <p:cNvPr id="111" name="Straight Connector 110">
                <a:extLst>
                  <a:ext uri="{FF2B5EF4-FFF2-40B4-BE49-F238E27FC236}">
                    <a16:creationId xmlns:a16="http://schemas.microsoft.com/office/drawing/2014/main" id="{B413D98E-AA2B-BCFF-27E6-43B979E46939}"/>
                  </a:ext>
                </a:extLst>
              </p:cNvPr>
              <p:cNvCxnSpPr/>
              <p:nvPr/>
            </p:nvCxnSpPr>
            <p:spPr>
              <a:xfrm>
                <a:off x="13757848" y="5174299"/>
                <a:ext cx="3239588" cy="0"/>
              </a:xfrm>
              <a:prstGeom prst="line">
                <a:avLst/>
              </a:prstGeom>
              <a:noFill/>
              <a:ln w="25400" cap="rnd">
                <a:solidFill>
                  <a:schemeClr val="accent6"/>
                </a:solidFill>
                <a:prstDash val="sysDot"/>
              </a:ln>
            </p:spPr>
            <p:style>
              <a:lnRef idx="2">
                <a:schemeClr val="accent1">
                  <a:shade val="50000"/>
                </a:schemeClr>
              </a:lnRef>
              <a:fillRef idx="1">
                <a:schemeClr val="accent1"/>
              </a:fillRef>
              <a:effectRef idx="0">
                <a:schemeClr val="accent1"/>
              </a:effectRef>
              <a:fontRef idx="minor">
                <a:schemeClr val="lt1"/>
              </a:fontRef>
            </p:style>
          </p:cxnSp>
        </p:grpSp>
      </p:grpSp>
      <p:grpSp>
        <p:nvGrpSpPr>
          <p:cNvPr id="403" name="Group 402">
            <a:extLst>
              <a:ext uri="{FF2B5EF4-FFF2-40B4-BE49-F238E27FC236}">
                <a16:creationId xmlns:a16="http://schemas.microsoft.com/office/drawing/2014/main" id="{E0462B6A-6AC7-30BC-53DE-01706C86F3F6}"/>
              </a:ext>
            </a:extLst>
          </p:cNvPr>
          <p:cNvGrpSpPr/>
          <p:nvPr/>
        </p:nvGrpSpPr>
        <p:grpSpPr>
          <a:xfrm>
            <a:off x="1324508" y="1149512"/>
            <a:ext cx="3563547" cy="7947435"/>
            <a:chOff x="1324571" y="1724348"/>
            <a:chExt cx="3563547" cy="7947435"/>
          </a:xfrm>
        </p:grpSpPr>
        <p:sp>
          <p:nvSpPr>
            <p:cNvPr id="404" name="Rounded Rectangle 403">
              <a:extLst>
                <a:ext uri="{FF2B5EF4-FFF2-40B4-BE49-F238E27FC236}">
                  <a16:creationId xmlns:a16="http://schemas.microsoft.com/office/drawing/2014/main" id="{0E543869-DBEE-6E77-87FC-008D9AB57211}"/>
                </a:ext>
              </a:extLst>
            </p:cNvPr>
            <p:cNvSpPr/>
            <p:nvPr/>
          </p:nvSpPr>
          <p:spPr>
            <a:xfrm>
              <a:off x="1324571" y="1724349"/>
              <a:ext cx="3563547" cy="7947434"/>
            </a:xfrm>
            <a:prstGeom prst="roundRect">
              <a:avLst>
                <a:gd name="adj" fmla="val 7160"/>
              </a:avLst>
            </a:prstGeom>
            <a:noFill/>
            <a:ln w="25400" cap="rnd">
              <a:solidFill>
                <a:schemeClr val="accent6"/>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405" name="Rounded Rectangle 404">
              <a:extLst>
                <a:ext uri="{FF2B5EF4-FFF2-40B4-BE49-F238E27FC236}">
                  <a16:creationId xmlns:a16="http://schemas.microsoft.com/office/drawing/2014/main" id="{DDC3AE8A-F8FC-4548-0564-1FD85295B790}"/>
                </a:ext>
              </a:extLst>
            </p:cNvPr>
            <p:cNvSpPr/>
            <p:nvPr/>
          </p:nvSpPr>
          <p:spPr>
            <a:xfrm>
              <a:off x="1324571" y="1724348"/>
              <a:ext cx="3563547" cy="1026770"/>
            </a:xfrm>
            <a:prstGeom prst="roundRect">
              <a:avLst>
                <a:gd name="adj" fmla="val 20484"/>
              </a:avLst>
            </a:prstGeom>
            <a:solidFill>
              <a:schemeClr val="accent5"/>
            </a:solidFill>
            <a:ln w="254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srgbClr val="FFFFFF"/>
                  </a:solidFill>
                  <a:effectLst/>
                  <a:uLnTx/>
                  <a:uFillTx/>
                  <a:latin typeface="Anova Bold"/>
                  <a:ea typeface="+mn-ea"/>
                  <a:cs typeface="+mn-cs"/>
                </a:rPr>
                <a:t>Customer ID</a:t>
              </a:r>
            </a:p>
          </p:txBody>
        </p:sp>
      </p:grpSp>
    </p:spTree>
    <p:extLst>
      <p:ext uri="{BB962C8B-B14F-4D97-AF65-F5344CB8AC3E}">
        <p14:creationId xmlns:p14="http://schemas.microsoft.com/office/powerpoint/2010/main" val="570199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95"/>
                                        </p:tgtEl>
                                        <p:attrNameLst>
                                          <p:attrName>style.visibility</p:attrName>
                                        </p:attrNameLst>
                                      </p:cBhvr>
                                      <p:to>
                                        <p:strVal val="visible"/>
                                      </p:to>
                                    </p:set>
                                    <p:animEffect transition="in" filter="wipe(up)">
                                      <p:cBhvr>
                                        <p:cTn id="7" dur="500"/>
                                        <p:tgtEl>
                                          <p:spTgt spid="95"/>
                                        </p:tgtEl>
                                      </p:cBhvr>
                                    </p:animEffect>
                                  </p:childTnLst>
                                </p:cTn>
                              </p:par>
                            </p:childTnLst>
                          </p:cTn>
                        </p:par>
                        <p:par>
                          <p:cTn id="8" fill="hold">
                            <p:stCondLst>
                              <p:cond delay="500"/>
                            </p:stCondLst>
                            <p:childTnLst>
                              <p:par>
                                <p:cTn id="9" presetID="53" presetClass="entr" presetSubtype="16"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 calcmode="lin" valueType="num">
                                      <p:cBhvr>
                                        <p:cTn id="11" dur="500" fill="hold"/>
                                        <p:tgtEl>
                                          <p:spTgt spid="10"/>
                                        </p:tgtEl>
                                        <p:attrNameLst>
                                          <p:attrName>ppt_w</p:attrName>
                                        </p:attrNameLst>
                                      </p:cBhvr>
                                      <p:tavLst>
                                        <p:tav tm="0">
                                          <p:val>
                                            <p:fltVal val="0"/>
                                          </p:val>
                                        </p:tav>
                                        <p:tav tm="100000">
                                          <p:val>
                                            <p:strVal val="#ppt_w"/>
                                          </p:val>
                                        </p:tav>
                                      </p:tavLst>
                                    </p:anim>
                                    <p:anim calcmode="lin" valueType="num">
                                      <p:cBhvr>
                                        <p:cTn id="12" dur="500" fill="hold"/>
                                        <p:tgtEl>
                                          <p:spTgt spid="10"/>
                                        </p:tgtEl>
                                        <p:attrNameLst>
                                          <p:attrName>ppt_h</p:attrName>
                                        </p:attrNameLst>
                                      </p:cBhvr>
                                      <p:tavLst>
                                        <p:tav tm="0">
                                          <p:val>
                                            <p:fltVal val="0"/>
                                          </p:val>
                                        </p:tav>
                                        <p:tav tm="100000">
                                          <p:val>
                                            <p:strVal val="#ppt_h"/>
                                          </p:val>
                                        </p:tav>
                                      </p:tavLst>
                                    </p:anim>
                                    <p:animEffect transition="in" filter="fade">
                                      <p:cBhvr>
                                        <p:cTn id="13" dur="500"/>
                                        <p:tgtEl>
                                          <p:spTgt spid="10"/>
                                        </p:tgtEl>
                                      </p:cBhvr>
                                    </p:animEffect>
                                  </p:childTnLst>
                                </p:cTn>
                              </p:par>
                            </p:childTnLst>
                          </p:cTn>
                        </p:par>
                        <p:par>
                          <p:cTn id="14" fill="hold">
                            <p:stCondLst>
                              <p:cond delay="1000"/>
                            </p:stCondLst>
                            <p:childTnLst>
                              <p:par>
                                <p:cTn id="15" presetID="10" presetClass="entr" presetSubtype="0" fill="hold" nodeType="afterEffect">
                                  <p:stCondLst>
                                    <p:cond delay="0"/>
                                  </p:stCondLst>
                                  <p:childTnLst>
                                    <p:set>
                                      <p:cBhvr>
                                        <p:cTn id="16" dur="1" fill="hold">
                                          <p:stCondLst>
                                            <p:cond delay="0"/>
                                          </p:stCondLst>
                                        </p:cTn>
                                        <p:tgtEl>
                                          <p:spTgt spid="91"/>
                                        </p:tgtEl>
                                        <p:attrNameLst>
                                          <p:attrName>style.visibility</p:attrName>
                                        </p:attrNameLst>
                                      </p:cBhvr>
                                      <p:to>
                                        <p:strVal val="visible"/>
                                      </p:to>
                                    </p:set>
                                    <p:animEffect transition="in" filter="fade">
                                      <p:cBhvr>
                                        <p:cTn id="17" dur="500"/>
                                        <p:tgtEl>
                                          <p:spTgt spid="91"/>
                                        </p:tgtEl>
                                      </p:cBhvr>
                                    </p:animEffect>
                                  </p:childTnLst>
                                </p:cTn>
                              </p:par>
                            </p:childTnLst>
                          </p:cTn>
                        </p:par>
                        <p:par>
                          <p:cTn id="18" fill="hold">
                            <p:stCondLst>
                              <p:cond delay="1500"/>
                            </p:stCondLst>
                            <p:childTnLst>
                              <p:par>
                                <p:cTn id="19" presetID="22" presetClass="entr" presetSubtype="1" fill="hold" nodeType="afterEffect">
                                  <p:stCondLst>
                                    <p:cond delay="0"/>
                                  </p:stCondLst>
                                  <p:childTnLst>
                                    <p:set>
                                      <p:cBhvr>
                                        <p:cTn id="20" dur="1" fill="hold">
                                          <p:stCondLst>
                                            <p:cond delay="0"/>
                                          </p:stCondLst>
                                        </p:cTn>
                                        <p:tgtEl>
                                          <p:spTgt spid="2"/>
                                        </p:tgtEl>
                                        <p:attrNameLst>
                                          <p:attrName>style.visibility</p:attrName>
                                        </p:attrNameLst>
                                      </p:cBhvr>
                                      <p:to>
                                        <p:strVal val="visible"/>
                                      </p:to>
                                    </p:set>
                                    <p:animEffect transition="in" filter="wipe(up)">
                                      <p:cBhvr>
                                        <p:cTn id="21" dur="500"/>
                                        <p:tgtEl>
                                          <p:spTgt spid="2"/>
                                        </p:tgtEl>
                                      </p:cBhvr>
                                    </p:animEffect>
                                  </p:childTnLst>
                                </p:cTn>
                              </p:par>
                            </p:childTnLst>
                          </p:cTn>
                        </p:par>
                        <p:par>
                          <p:cTn id="22" fill="hold">
                            <p:stCondLst>
                              <p:cond delay="2000"/>
                            </p:stCondLst>
                            <p:childTnLst>
                              <p:par>
                                <p:cTn id="23" presetID="12" presetClass="entr" presetSubtype="1" fill="hold" nodeType="afterEffect">
                                  <p:stCondLst>
                                    <p:cond delay="0"/>
                                  </p:stCondLst>
                                  <p:childTnLst>
                                    <p:set>
                                      <p:cBhvr>
                                        <p:cTn id="24" dur="1" fill="hold">
                                          <p:stCondLst>
                                            <p:cond delay="0"/>
                                          </p:stCondLst>
                                        </p:cTn>
                                        <p:tgtEl>
                                          <p:spTgt spid="81"/>
                                        </p:tgtEl>
                                        <p:attrNameLst>
                                          <p:attrName>style.visibility</p:attrName>
                                        </p:attrNameLst>
                                      </p:cBhvr>
                                      <p:to>
                                        <p:strVal val="visible"/>
                                      </p:to>
                                    </p:set>
                                    <p:anim calcmode="lin" valueType="num">
                                      <p:cBhvr additive="base">
                                        <p:cTn id="25" dur="500"/>
                                        <p:tgtEl>
                                          <p:spTgt spid="81"/>
                                        </p:tgtEl>
                                        <p:attrNameLst>
                                          <p:attrName>ppt_y</p:attrName>
                                        </p:attrNameLst>
                                      </p:cBhvr>
                                      <p:tavLst>
                                        <p:tav tm="0">
                                          <p:val>
                                            <p:strVal val="#ppt_y-#ppt_h*1.125000"/>
                                          </p:val>
                                        </p:tav>
                                        <p:tav tm="100000">
                                          <p:val>
                                            <p:strVal val="#ppt_y"/>
                                          </p:val>
                                        </p:tav>
                                      </p:tavLst>
                                    </p:anim>
                                    <p:animEffect transition="in" filter="wipe(down)">
                                      <p:cBhvr>
                                        <p:cTn id="26"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_ViyaLogo" descr="A blue letters on a black background&#10;&#10;Description automatically generated">
            <a:extLst>
              <a:ext uri="{FF2B5EF4-FFF2-40B4-BE49-F238E27FC236}">
                <a16:creationId xmlns:a16="http://schemas.microsoft.com/office/drawing/2014/main" id="{1842AC51-DD18-2150-A01D-3B8E8CDB783D}"/>
              </a:ext>
            </a:extLst>
          </p:cNvPr>
          <p:cNvPicPr>
            <a:picLocks noChangeAspect="1"/>
          </p:cNvPicPr>
          <p:nvPr/>
        </p:nvPicPr>
        <p:blipFill>
          <a:blip r:embed="rId3" cstate="print">
            <a:duotone>
              <a:prstClr val="black"/>
              <a:schemeClr val="accent4">
                <a:tint val="45000"/>
                <a:satMod val="400000"/>
              </a:schemeClr>
            </a:duotone>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a:xfrm>
            <a:off x="10729279" y="2597030"/>
            <a:ext cx="4392193" cy="1087945"/>
          </a:xfrm>
          <a:prstGeom prst="rect">
            <a:avLst/>
          </a:prstGeom>
        </p:spPr>
      </p:pic>
      <p:sp>
        <p:nvSpPr>
          <p:cNvPr id="3" name="TextBox 2">
            <a:extLst>
              <a:ext uri="{FF2B5EF4-FFF2-40B4-BE49-F238E27FC236}">
                <a16:creationId xmlns:a16="http://schemas.microsoft.com/office/drawing/2014/main" id="{ED020AD2-7338-3FD9-8B3B-346065601FC3}"/>
              </a:ext>
            </a:extLst>
          </p:cNvPr>
          <p:cNvSpPr txBox="1"/>
          <p:nvPr/>
        </p:nvSpPr>
        <p:spPr>
          <a:xfrm>
            <a:off x="10894767" y="4186127"/>
            <a:ext cx="6715287" cy="4001737"/>
          </a:xfrm>
          <a:prstGeom prst="rect">
            <a:avLst/>
          </a:prstGeom>
          <a:noFill/>
        </p:spPr>
        <p:txBody>
          <a:bodyPr wrap="square" lIns="0" tIns="0" rIns="0" bIns="0" rtlCol="0">
            <a:sp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6000" b="0" i="0" u="none" strike="noStrike" kern="1200" cap="none" spc="0" normalizeH="0" baseline="0" noProof="0">
                <a:ln>
                  <a:noFill/>
                </a:ln>
                <a:effectLst/>
                <a:uLnTx/>
                <a:uFillTx/>
                <a:latin typeface="Anova Bold"/>
                <a:ea typeface="+mn-ea"/>
                <a:cs typeface="+mn-cs"/>
              </a:rPr>
              <a:t>EXPLAI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6000" b="0" i="0" u="none" strike="noStrike" kern="1200" cap="none" spc="0" normalizeH="0" baseline="0" noProof="0">
                <a:ln>
                  <a:noFill/>
                </a:ln>
                <a:effectLst/>
                <a:uLnTx/>
                <a:uFillTx/>
                <a:latin typeface="Anova Bold"/>
                <a:ea typeface="+mn-ea"/>
                <a:cs typeface="+mn-cs"/>
              </a:rPr>
              <a:t>GOVERN</a:t>
            </a:r>
          </a:p>
          <a:p>
            <a:pPr marL="0" marR="0" lvl="0" indent="0" algn="l" defTabSz="914400" rtl="0" eaLnBrk="1" fontAlgn="auto" latinLnBrk="0" hangingPunct="1">
              <a:lnSpc>
                <a:spcPct val="150000"/>
              </a:lnSpc>
              <a:spcBef>
                <a:spcPts val="0"/>
              </a:spcBef>
              <a:spcAft>
                <a:spcPts val="0"/>
              </a:spcAft>
              <a:buClrTx/>
              <a:buSzTx/>
              <a:buFontTx/>
              <a:buNone/>
              <a:tabLst/>
              <a:defRPr/>
            </a:pPr>
            <a:r>
              <a:rPr kumimoji="0" lang="en-US" sz="6000" b="0" i="0" u="none" strike="noStrike" kern="1200" cap="none" spc="0" normalizeH="0" baseline="0" noProof="0">
                <a:ln>
                  <a:noFill/>
                </a:ln>
                <a:effectLst/>
                <a:uLnTx/>
                <a:uFillTx/>
                <a:latin typeface="Anova Bold"/>
                <a:ea typeface="+mn-ea"/>
                <a:cs typeface="+mn-cs"/>
              </a:rPr>
              <a:t>ORCHESTRATE</a:t>
            </a:r>
          </a:p>
        </p:txBody>
      </p:sp>
      <p:sp>
        <p:nvSpPr>
          <p:cNvPr id="4" name="Rounded Rectangle 284">
            <a:extLst>
              <a:ext uri="{FF2B5EF4-FFF2-40B4-BE49-F238E27FC236}">
                <a16:creationId xmlns:a16="http://schemas.microsoft.com/office/drawing/2014/main" id="{ABF648AA-A963-445F-0D6B-B09AED9D9057}"/>
              </a:ext>
            </a:extLst>
          </p:cNvPr>
          <p:cNvSpPr/>
          <p:nvPr/>
        </p:nvSpPr>
        <p:spPr>
          <a:xfrm>
            <a:off x="1702996" y="984659"/>
            <a:ext cx="7570465" cy="7842399"/>
          </a:xfrm>
          <a:custGeom>
            <a:avLst/>
            <a:gdLst>
              <a:gd name="connsiteX0" fmla="*/ 0 w 2794399"/>
              <a:gd name="connsiteY0" fmla="*/ 465742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465742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465742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88294 h 2892625"/>
              <a:gd name="connsiteX1" fmla="*/ 465742 w 2794399"/>
              <a:gd name="connsiteY1" fmla="*/ 0 h 2892625"/>
              <a:gd name="connsiteX2" fmla="*/ 2328657 w 2794399"/>
              <a:gd name="connsiteY2" fmla="*/ 0 h 2892625"/>
              <a:gd name="connsiteX3" fmla="*/ 2794399 w 2794399"/>
              <a:gd name="connsiteY3" fmla="*/ 693133 h 2892625"/>
              <a:gd name="connsiteX4" fmla="*/ 2794399 w 2794399"/>
              <a:gd name="connsiteY4" fmla="*/ 2426883 h 2892625"/>
              <a:gd name="connsiteX5" fmla="*/ 2328657 w 2794399"/>
              <a:gd name="connsiteY5" fmla="*/ 2892625 h 2892625"/>
              <a:gd name="connsiteX6" fmla="*/ 465742 w 2794399"/>
              <a:gd name="connsiteY6" fmla="*/ 2892625 h 2892625"/>
              <a:gd name="connsiteX7" fmla="*/ 0 w 2794399"/>
              <a:gd name="connsiteY7" fmla="*/ 2426883 h 2892625"/>
              <a:gd name="connsiteX8" fmla="*/ 0 w 2794399"/>
              <a:gd name="connsiteY8" fmla="*/ 688294 h 289262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 name="connsiteX0" fmla="*/ 0 w 2794399"/>
              <a:gd name="connsiteY0" fmla="*/ 690444 h 2894775"/>
              <a:gd name="connsiteX1" fmla="*/ 465742 w 2794399"/>
              <a:gd name="connsiteY1" fmla="*/ 2150 h 2894775"/>
              <a:gd name="connsiteX2" fmla="*/ 2328657 w 2794399"/>
              <a:gd name="connsiteY2" fmla="*/ 2150 h 2894775"/>
              <a:gd name="connsiteX3" fmla="*/ 2794399 w 2794399"/>
              <a:gd name="connsiteY3" fmla="*/ 695283 h 2894775"/>
              <a:gd name="connsiteX4" fmla="*/ 2794399 w 2794399"/>
              <a:gd name="connsiteY4" fmla="*/ 2429033 h 2894775"/>
              <a:gd name="connsiteX5" fmla="*/ 2328657 w 2794399"/>
              <a:gd name="connsiteY5" fmla="*/ 2894775 h 2894775"/>
              <a:gd name="connsiteX6" fmla="*/ 465742 w 2794399"/>
              <a:gd name="connsiteY6" fmla="*/ 2894775 h 2894775"/>
              <a:gd name="connsiteX7" fmla="*/ 0 w 2794399"/>
              <a:gd name="connsiteY7" fmla="*/ 2429033 h 2894775"/>
              <a:gd name="connsiteX8" fmla="*/ 0 w 2794399"/>
              <a:gd name="connsiteY8" fmla="*/ 690444 h 289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94399" h="2894775">
                <a:moveTo>
                  <a:pt x="0" y="690444"/>
                </a:moveTo>
                <a:cubicBezTo>
                  <a:pt x="0" y="433222"/>
                  <a:pt x="82729" y="6988"/>
                  <a:pt x="465742" y="2150"/>
                </a:cubicBezTo>
                <a:cubicBezTo>
                  <a:pt x="848755" y="-2688"/>
                  <a:pt x="1935968" y="2150"/>
                  <a:pt x="2328657" y="2150"/>
                </a:cubicBezTo>
                <a:cubicBezTo>
                  <a:pt x="2721346" y="2150"/>
                  <a:pt x="2794399" y="438061"/>
                  <a:pt x="2794399" y="695283"/>
                </a:cubicBezTo>
                <a:lnTo>
                  <a:pt x="2794399" y="2429033"/>
                </a:lnTo>
                <a:cubicBezTo>
                  <a:pt x="2794399" y="2686255"/>
                  <a:pt x="2585879" y="2894775"/>
                  <a:pt x="2328657" y="2894775"/>
                </a:cubicBezTo>
                <a:lnTo>
                  <a:pt x="465742" y="2894775"/>
                </a:lnTo>
                <a:cubicBezTo>
                  <a:pt x="208520" y="2894775"/>
                  <a:pt x="0" y="2686255"/>
                  <a:pt x="0" y="2429033"/>
                </a:cubicBezTo>
                <a:lnTo>
                  <a:pt x="0" y="690444"/>
                </a:lnTo>
                <a:close/>
              </a:path>
            </a:pathLst>
          </a:custGeom>
          <a:solidFill>
            <a:schemeClr val="accent4">
              <a:lumMod val="90000"/>
              <a:lumOff val="10000"/>
            </a:schemeClr>
          </a:solidFill>
          <a:ln w="158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5" name="Rounded Rectangle 4">
            <a:extLst>
              <a:ext uri="{FF2B5EF4-FFF2-40B4-BE49-F238E27FC236}">
                <a16:creationId xmlns:a16="http://schemas.microsoft.com/office/drawing/2014/main" id="{71BB853F-AEC3-A319-CA37-50E2A82EDBF7}"/>
              </a:ext>
            </a:extLst>
          </p:cNvPr>
          <p:cNvSpPr/>
          <p:nvPr/>
        </p:nvSpPr>
        <p:spPr>
          <a:xfrm>
            <a:off x="1702996" y="1644489"/>
            <a:ext cx="7570465" cy="7570465"/>
          </a:xfrm>
          <a:prstGeom prst="roundRect">
            <a:avLst/>
          </a:prstGeom>
          <a:solidFill>
            <a:schemeClr val="accent4"/>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flatTx/>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100" normalizeH="0" baseline="0" noProof="0">
                <a:ln>
                  <a:noFill/>
                </a:ln>
                <a:solidFill>
                  <a:srgbClr val="FFFFFF"/>
                </a:solidFill>
                <a:effectLst/>
                <a:uLnTx/>
                <a:uFillTx/>
                <a:latin typeface="Anova Bold"/>
                <a:ea typeface="+mn-ea"/>
                <a:cs typeface="+mn-cs"/>
              </a:rPr>
              <a:t>LARGE</a:t>
            </a:r>
            <a:br>
              <a:rPr kumimoji="0" lang="en-US" sz="3600" b="0" i="0" u="none" strike="noStrike" kern="1200" cap="none" spc="100" normalizeH="0" baseline="0" noProof="0">
                <a:ln>
                  <a:noFill/>
                </a:ln>
                <a:solidFill>
                  <a:srgbClr val="FFFFFF"/>
                </a:solidFill>
                <a:effectLst/>
                <a:uLnTx/>
                <a:uFillTx/>
                <a:latin typeface="Anova Bold"/>
                <a:ea typeface="+mn-ea"/>
                <a:cs typeface="+mn-cs"/>
              </a:rPr>
            </a:br>
            <a:r>
              <a:rPr kumimoji="0" lang="en-US" sz="3600" b="0" i="0" u="none" strike="noStrike" kern="1200" cap="none" spc="100" normalizeH="0" baseline="0" noProof="0">
                <a:ln>
                  <a:noFill/>
                </a:ln>
                <a:solidFill>
                  <a:srgbClr val="FFFFFF"/>
                </a:solidFill>
                <a:effectLst/>
                <a:uLnTx/>
                <a:uFillTx/>
                <a:latin typeface="Anova Bold"/>
                <a:ea typeface="+mn-ea"/>
                <a:cs typeface="+mn-cs"/>
              </a:rPr>
              <a:t>LANGUAGE MODEL</a:t>
            </a:r>
          </a:p>
        </p:txBody>
      </p:sp>
      <p:pic>
        <p:nvPicPr>
          <p:cNvPr id="6" name="Picture 5">
            <a:extLst>
              <a:ext uri="{FF2B5EF4-FFF2-40B4-BE49-F238E27FC236}">
                <a16:creationId xmlns:a16="http://schemas.microsoft.com/office/drawing/2014/main" id="{6C54C897-B269-5CD0-7827-A5B3A556D02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35086" t="-13999" r="-35086" b="-13999"/>
          <a:stretch/>
        </p:blipFill>
        <p:spPr bwMode="auto">
          <a:xfrm>
            <a:off x="677946" y="2992379"/>
            <a:ext cx="9628277" cy="6017677"/>
          </a:xfrm>
          <a:prstGeom prst="roundRect">
            <a:avLst>
              <a:gd name="adj" fmla="val 3622"/>
            </a:avLst>
          </a:prstGeom>
          <a:solidFill>
            <a:schemeClr val="tx2">
              <a:alpha val="0"/>
            </a:schemeClr>
          </a:solidFill>
          <a:ln w="254000">
            <a:noFill/>
          </a:ln>
        </p:spPr>
      </p:pic>
    </p:spTree>
    <p:extLst>
      <p:ext uri="{BB962C8B-B14F-4D97-AF65-F5344CB8AC3E}">
        <p14:creationId xmlns:p14="http://schemas.microsoft.com/office/powerpoint/2010/main" val="3549635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p:tgtEl>
                                          <p:spTgt spid="2"/>
                                        </p:tgtEl>
                                        <p:attrNameLst>
                                          <p:attrName>ppt_x</p:attrName>
                                        </p:attrNameLst>
                                      </p:cBhvr>
                                      <p:tavLst>
                                        <p:tav tm="0">
                                          <p:val>
                                            <p:strVal val="#ppt_x-#ppt_w*1.125000"/>
                                          </p:val>
                                        </p:tav>
                                        <p:tav tm="100000">
                                          <p:val>
                                            <p:strVal val="#ppt_x"/>
                                          </p:val>
                                        </p:tav>
                                      </p:tavLst>
                                    </p:anim>
                                    <p:animEffect transition="in" filter="wipe(right)">
                                      <p:cBhvr>
                                        <p:cTn id="8" dur="500"/>
                                        <p:tgtEl>
                                          <p:spTgt spid="2"/>
                                        </p:tgtEl>
                                      </p:cBhvr>
                                    </p:animEffect>
                                  </p:childTnLst>
                                </p:cTn>
                              </p:par>
                            </p:childTnLst>
                          </p:cTn>
                        </p:par>
                        <p:par>
                          <p:cTn id="9" fill="hold">
                            <p:stCondLst>
                              <p:cond delay="500"/>
                            </p:stCondLst>
                            <p:childTnLst>
                              <p:par>
                                <p:cTn id="10" presetID="12" presetClass="entr" presetSubtype="8" fill="hold" grpId="0" nodeType="afterEffect">
                                  <p:stCondLst>
                                    <p:cond delay="0"/>
                                  </p:stCondLst>
                                  <p:childTnLst>
                                    <p:set>
                                      <p:cBhvr>
                                        <p:cTn id="11" dur="1" fill="hold">
                                          <p:stCondLst>
                                            <p:cond delay="0"/>
                                          </p:stCondLst>
                                        </p:cTn>
                                        <p:tgtEl>
                                          <p:spTgt spid="3">
                                            <p:txEl>
                                              <p:pRg st="0" end="0"/>
                                            </p:txEl>
                                          </p:spTgt>
                                        </p:tgtEl>
                                        <p:attrNameLst>
                                          <p:attrName>style.visibility</p:attrName>
                                        </p:attrNameLst>
                                      </p:cBhvr>
                                      <p:to>
                                        <p:strVal val="visible"/>
                                      </p:to>
                                    </p:set>
                                    <p:anim calcmode="lin" valueType="num">
                                      <p:cBhvr additive="base">
                                        <p:cTn id="12" dur="500"/>
                                        <p:tgtEl>
                                          <p:spTgt spid="3">
                                            <p:txEl>
                                              <p:pRg st="0" end="0"/>
                                            </p:txEl>
                                          </p:spTgt>
                                        </p:tgtEl>
                                        <p:attrNameLst>
                                          <p:attrName>ppt_x</p:attrName>
                                        </p:attrNameLst>
                                      </p:cBhvr>
                                      <p:tavLst>
                                        <p:tav tm="0">
                                          <p:val>
                                            <p:strVal val="#ppt_x-#ppt_w*1.125000"/>
                                          </p:val>
                                        </p:tav>
                                        <p:tav tm="100000">
                                          <p:val>
                                            <p:strVal val="#ppt_x"/>
                                          </p:val>
                                        </p:tav>
                                      </p:tavLst>
                                    </p:anim>
                                    <p:animEffect transition="in" filter="wipe(right)">
                                      <p:cBhvr>
                                        <p:cTn id="13" dur="500"/>
                                        <p:tgtEl>
                                          <p:spTgt spid="3">
                                            <p:txEl>
                                              <p:pRg st="0" end="0"/>
                                            </p:txEl>
                                          </p:spTgt>
                                        </p:tgtEl>
                                      </p:cBhvr>
                                    </p:animEffect>
                                  </p:childTnLst>
                                </p:cTn>
                              </p:par>
                            </p:childTnLst>
                          </p:cTn>
                        </p:par>
                        <p:par>
                          <p:cTn id="14" fill="hold">
                            <p:stCondLst>
                              <p:cond delay="1000"/>
                            </p:stCondLst>
                            <p:childTnLst>
                              <p:par>
                                <p:cTn id="15" presetID="12" presetClass="entr" presetSubtype="8" fill="hold" grpId="0" nodeType="after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p:tgtEl>
                                          <p:spTgt spid="3">
                                            <p:txEl>
                                              <p:pRg st="1" end="1"/>
                                            </p:txEl>
                                          </p:spTgt>
                                        </p:tgtEl>
                                        <p:attrNameLst>
                                          <p:attrName>ppt_x</p:attrName>
                                        </p:attrNameLst>
                                      </p:cBhvr>
                                      <p:tavLst>
                                        <p:tav tm="0">
                                          <p:val>
                                            <p:strVal val="#ppt_x-#ppt_w*1.125000"/>
                                          </p:val>
                                        </p:tav>
                                        <p:tav tm="100000">
                                          <p:val>
                                            <p:strVal val="#ppt_x"/>
                                          </p:val>
                                        </p:tav>
                                      </p:tavLst>
                                    </p:anim>
                                    <p:animEffect transition="in" filter="wipe(right)">
                                      <p:cBhvr>
                                        <p:cTn id="18" dur="500"/>
                                        <p:tgtEl>
                                          <p:spTgt spid="3">
                                            <p:txEl>
                                              <p:pRg st="1" end="1"/>
                                            </p:txEl>
                                          </p:spTgt>
                                        </p:tgtEl>
                                      </p:cBhvr>
                                    </p:animEffect>
                                  </p:childTnLst>
                                </p:cTn>
                              </p:par>
                            </p:childTnLst>
                          </p:cTn>
                        </p:par>
                        <p:par>
                          <p:cTn id="19" fill="hold">
                            <p:stCondLst>
                              <p:cond delay="1500"/>
                            </p:stCondLst>
                            <p:childTnLst>
                              <p:par>
                                <p:cTn id="20" presetID="12" presetClass="entr" presetSubtype="8" fill="hold" grpId="0" nodeType="afterEffect">
                                  <p:stCondLst>
                                    <p:cond delay="0"/>
                                  </p:stCondLst>
                                  <p:childTnLst>
                                    <p:set>
                                      <p:cBhvr>
                                        <p:cTn id="21" dur="1" fill="hold">
                                          <p:stCondLst>
                                            <p:cond delay="0"/>
                                          </p:stCondLst>
                                        </p:cTn>
                                        <p:tgtEl>
                                          <p:spTgt spid="3">
                                            <p:txEl>
                                              <p:pRg st="2" end="2"/>
                                            </p:txEl>
                                          </p:spTgt>
                                        </p:tgtEl>
                                        <p:attrNameLst>
                                          <p:attrName>style.visibility</p:attrName>
                                        </p:attrNameLst>
                                      </p:cBhvr>
                                      <p:to>
                                        <p:strVal val="visible"/>
                                      </p:to>
                                    </p:set>
                                    <p:anim calcmode="lin" valueType="num">
                                      <p:cBhvr additive="base">
                                        <p:cTn id="22" dur="500"/>
                                        <p:tgtEl>
                                          <p:spTgt spid="3">
                                            <p:txEl>
                                              <p:pRg st="2" end="2"/>
                                            </p:txEl>
                                          </p:spTgt>
                                        </p:tgtEl>
                                        <p:attrNameLst>
                                          <p:attrName>ppt_x</p:attrName>
                                        </p:attrNameLst>
                                      </p:cBhvr>
                                      <p:tavLst>
                                        <p:tav tm="0">
                                          <p:val>
                                            <p:strVal val="#ppt_x-#ppt_w*1.125000"/>
                                          </p:val>
                                        </p:tav>
                                        <p:tav tm="100000">
                                          <p:val>
                                            <p:strVal val="#ppt_x"/>
                                          </p:val>
                                        </p:tav>
                                      </p:tavLst>
                                    </p:anim>
                                    <p:animEffect transition="in" filter="wipe(right)">
                                      <p:cBhvr>
                                        <p:cTn id="23" dur="500"/>
                                        <p:tgtEl>
                                          <p:spTgt spid="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eft Bracket 1">
            <a:extLst>
              <a:ext uri="{FF2B5EF4-FFF2-40B4-BE49-F238E27FC236}">
                <a16:creationId xmlns:a16="http://schemas.microsoft.com/office/drawing/2014/main" id="{41018C8B-C8E8-E162-B65C-55843D0DA3E4}"/>
              </a:ext>
            </a:extLst>
          </p:cNvPr>
          <p:cNvSpPr/>
          <p:nvPr/>
        </p:nvSpPr>
        <p:spPr>
          <a:xfrm>
            <a:off x="5716449" y="749481"/>
            <a:ext cx="732545" cy="8788039"/>
          </a:xfrm>
          <a:prstGeom prst="leftBracket">
            <a:avLst>
              <a:gd name="adj" fmla="val 0"/>
            </a:avLst>
          </a:prstGeom>
          <a:ln w="25400">
            <a:solidFill>
              <a:srgbClr val="3ADBE6"/>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cxnSp>
        <p:nvCxnSpPr>
          <p:cNvPr id="3" name="Straight Connector 2">
            <a:extLst>
              <a:ext uri="{FF2B5EF4-FFF2-40B4-BE49-F238E27FC236}">
                <a16:creationId xmlns:a16="http://schemas.microsoft.com/office/drawing/2014/main" id="{6ACEA58B-2B63-5524-62F4-58CBCF8462B2}"/>
              </a:ext>
            </a:extLst>
          </p:cNvPr>
          <p:cNvCxnSpPr>
            <a:cxnSpLocks/>
          </p:cNvCxnSpPr>
          <p:nvPr/>
        </p:nvCxnSpPr>
        <p:spPr>
          <a:xfrm>
            <a:off x="4815749" y="5143500"/>
            <a:ext cx="900700" cy="0"/>
          </a:xfrm>
          <a:prstGeom prst="line">
            <a:avLst/>
          </a:prstGeom>
          <a:ln w="25400">
            <a:solidFill>
              <a:srgbClr val="3ADBE6"/>
            </a:solidFill>
            <a:tailEnd type="none"/>
          </a:ln>
        </p:spPr>
        <p:style>
          <a:lnRef idx="1">
            <a:schemeClr val="accent1"/>
          </a:lnRef>
          <a:fillRef idx="0">
            <a:schemeClr val="accent1"/>
          </a:fillRef>
          <a:effectRef idx="0">
            <a:schemeClr val="accent1"/>
          </a:effectRef>
          <a:fontRef idx="minor">
            <a:schemeClr val="tx1"/>
          </a:fontRef>
        </p:style>
      </p:cxnSp>
      <p:sp>
        <p:nvSpPr>
          <p:cNvPr id="4" name="Rounded Rectangle 3">
            <a:extLst>
              <a:ext uri="{FF2B5EF4-FFF2-40B4-BE49-F238E27FC236}">
                <a16:creationId xmlns:a16="http://schemas.microsoft.com/office/drawing/2014/main" id="{B5B8D38A-2AFC-701D-AFA0-19BD778E0C8F}"/>
              </a:ext>
            </a:extLst>
          </p:cNvPr>
          <p:cNvSpPr/>
          <p:nvPr/>
        </p:nvSpPr>
        <p:spPr>
          <a:xfrm>
            <a:off x="824044" y="3302683"/>
            <a:ext cx="3991706" cy="3681635"/>
          </a:xfrm>
          <a:prstGeom prst="roundRect">
            <a:avLst>
              <a:gd name="adj" fmla="val 14422"/>
            </a:avLst>
          </a:prstGeom>
          <a:solidFill>
            <a:srgbClr val="3ADB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2954"/>
                </a:solidFill>
                <a:effectLst/>
                <a:uLnTx/>
                <a:uFillTx/>
                <a:latin typeface="Anova Light"/>
                <a:ea typeface="+mn-ea"/>
                <a:cs typeface="+mn-cs"/>
              </a:rPr>
              <a:t>Integrating</a:t>
            </a:r>
            <a:br>
              <a:rPr kumimoji="0" lang="en-US" sz="3600" b="1" i="0" u="none" strike="noStrike" kern="1200" cap="none" spc="0" normalizeH="0" baseline="0" noProof="0">
                <a:ln>
                  <a:noFill/>
                </a:ln>
                <a:solidFill>
                  <a:srgbClr val="032954"/>
                </a:solidFill>
                <a:effectLst/>
                <a:uLnTx/>
                <a:uFillTx/>
                <a:latin typeface="Anova Bold"/>
                <a:ea typeface="+mn-ea"/>
                <a:cs typeface="+mn-cs"/>
              </a:rPr>
            </a:br>
            <a:r>
              <a:rPr kumimoji="0" lang="en-US" sz="6600" b="1" i="0" u="none" strike="noStrike" kern="1200" cap="none" spc="0" normalizeH="0" baseline="0" noProof="0">
                <a:ln>
                  <a:noFill/>
                </a:ln>
                <a:solidFill>
                  <a:srgbClr val="032954"/>
                </a:solidFill>
                <a:effectLst/>
                <a:uLnTx/>
                <a:uFillTx/>
                <a:latin typeface="Anova Bold"/>
                <a:ea typeface="+mn-ea"/>
                <a:cs typeface="+mn-cs"/>
              </a:rPr>
              <a:t>Gen AI</a:t>
            </a:r>
            <a:endParaRPr kumimoji="0" lang="en-US" sz="3600" b="1" i="0" u="none" strike="noStrike" kern="1200" cap="none" spc="0" normalizeH="0" baseline="0" noProof="0">
              <a:ln>
                <a:noFill/>
              </a:ln>
              <a:solidFill>
                <a:srgbClr val="032954"/>
              </a:solidFill>
              <a:effectLst/>
              <a:uLnTx/>
              <a:uFillTx/>
              <a:latin typeface="Anova Bold"/>
              <a:ea typeface="+mn-ea"/>
              <a:cs typeface="+mn-cs"/>
            </a:endParaRP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2954"/>
                </a:solidFill>
                <a:effectLst/>
                <a:uLnTx/>
                <a:uFillTx/>
                <a:latin typeface="Anova Light"/>
                <a:ea typeface="+mn-ea"/>
                <a:cs typeface="+mn-cs"/>
              </a:rPr>
              <a:t>for real world benefits</a:t>
            </a:r>
          </a:p>
        </p:txBody>
      </p:sp>
      <p:sp>
        <p:nvSpPr>
          <p:cNvPr id="5" name="Rounded Rectangle 4">
            <a:extLst>
              <a:ext uri="{FF2B5EF4-FFF2-40B4-BE49-F238E27FC236}">
                <a16:creationId xmlns:a16="http://schemas.microsoft.com/office/drawing/2014/main" id="{4A1BEBA1-450C-B557-FFDB-0F3258043607}"/>
              </a:ext>
            </a:extLst>
          </p:cNvPr>
          <p:cNvSpPr/>
          <p:nvPr/>
        </p:nvSpPr>
        <p:spPr>
          <a:xfrm>
            <a:off x="6298149" y="1209706"/>
            <a:ext cx="11165807" cy="2315712"/>
          </a:xfrm>
          <a:prstGeom prst="roundRect">
            <a:avLst>
              <a:gd name="adj" fmla="val 50000"/>
            </a:avLst>
          </a:prstGeom>
          <a:solidFill>
            <a:schemeClr val="accent1">
              <a:lumMod val="50000"/>
            </a:schemeClr>
          </a:solidFill>
          <a:ln>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5120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t>in volume of complaints handled</a:t>
            </a:r>
          </a:p>
        </p:txBody>
      </p:sp>
      <p:sp>
        <p:nvSpPr>
          <p:cNvPr id="6" name="Rounded Rectangle 5">
            <a:extLst>
              <a:ext uri="{FF2B5EF4-FFF2-40B4-BE49-F238E27FC236}">
                <a16:creationId xmlns:a16="http://schemas.microsoft.com/office/drawing/2014/main" id="{2DABA041-4701-7A8D-F6F3-9EFAB1AE196D}"/>
              </a:ext>
            </a:extLst>
          </p:cNvPr>
          <p:cNvSpPr/>
          <p:nvPr/>
        </p:nvSpPr>
        <p:spPr>
          <a:xfrm>
            <a:off x="6298149" y="1209706"/>
            <a:ext cx="5116085" cy="2315712"/>
          </a:xfrm>
          <a:prstGeom prst="roundRect">
            <a:avLst>
              <a:gd name="adj" fmla="val 50000"/>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032954">
                    <a:lumMod val="90000"/>
                    <a:lumOff val="10000"/>
                  </a:srgbClr>
                </a:solidFill>
                <a:effectLst/>
                <a:uLnTx/>
                <a:uFillTx/>
                <a:latin typeface="Anova Bold"/>
                <a:ea typeface="+mn-ea"/>
                <a:cs typeface="+mn-cs"/>
              </a:rPr>
              <a:t>20%↑</a:t>
            </a:r>
          </a:p>
        </p:txBody>
      </p:sp>
      <p:sp>
        <p:nvSpPr>
          <p:cNvPr id="7" name="Rounded Rectangle 6">
            <a:extLst>
              <a:ext uri="{FF2B5EF4-FFF2-40B4-BE49-F238E27FC236}">
                <a16:creationId xmlns:a16="http://schemas.microsoft.com/office/drawing/2014/main" id="{76BB30BB-882D-376C-F60B-85BF0BC46566}"/>
              </a:ext>
            </a:extLst>
          </p:cNvPr>
          <p:cNvSpPr/>
          <p:nvPr/>
        </p:nvSpPr>
        <p:spPr>
          <a:xfrm>
            <a:off x="6298149" y="3985644"/>
            <a:ext cx="11165807" cy="2315712"/>
          </a:xfrm>
          <a:prstGeom prst="roundRect">
            <a:avLst>
              <a:gd name="adj" fmla="val 50000"/>
            </a:avLst>
          </a:prstGeom>
          <a:solidFill>
            <a:schemeClr val="accent1">
              <a:lumMod val="50000"/>
            </a:schemeClr>
          </a:solidFill>
          <a:ln>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5120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t>in average</a:t>
            </a:r>
            <a:b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br>
            <a: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t>response time</a:t>
            </a:r>
          </a:p>
        </p:txBody>
      </p:sp>
      <p:sp>
        <p:nvSpPr>
          <p:cNvPr id="8" name="Rounded Rectangle 7">
            <a:extLst>
              <a:ext uri="{FF2B5EF4-FFF2-40B4-BE49-F238E27FC236}">
                <a16:creationId xmlns:a16="http://schemas.microsoft.com/office/drawing/2014/main" id="{7E155E57-4981-47B8-77B8-132BE3F690A2}"/>
              </a:ext>
            </a:extLst>
          </p:cNvPr>
          <p:cNvSpPr/>
          <p:nvPr/>
        </p:nvSpPr>
        <p:spPr>
          <a:xfrm>
            <a:off x="6298149" y="3985644"/>
            <a:ext cx="5116085" cy="2315712"/>
          </a:xfrm>
          <a:prstGeom prst="roundRect">
            <a:avLst>
              <a:gd name="adj" fmla="val 50000"/>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032954">
                    <a:lumMod val="90000"/>
                    <a:lumOff val="10000"/>
                  </a:srgbClr>
                </a:solidFill>
                <a:effectLst/>
                <a:uLnTx/>
                <a:uFillTx/>
                <a:latin typeface="Anova Bold"/>
                <a:ea typeface="+mn-ea"/>
                <a:cs typeface="+mn-cs"/>
              </a:rPr>
              <a:t>30-40%↓</a:t>
            </a:r>
          </a:p>
        </p:txBody>
      </p:sp>
      <p:sp>
        <p:nvSpPr>
          <p:cNvPr id="9" name="Rounded Rectangle 8">
            <a:extLst>
              <a:ext uri="{FF2B5EF4-FFF2-40B4-BE49-F238E27FC236}">
                <a16:creationId xmlns:a16="http://schemas.microsoft.com/office/drawing/2014/main" id="{FE882B24-4D29-0AD5-D0E4-A25C9AB87C19}"/>
              </a:ext>
            </a:extLst>
          </p:cNvPr>
          <p:cNvSpPr/>
          <p:nvPr/>
        </p:nvSpPr>
        <p:spPr>
          <a:xfrm>
            <a:off x="6298149" y="6761582"/>
            <a:ext cx="11165807" cy="2315712"/>
          </a:xfrm>
          <a:prstGeom prst="roundRect">
            <a:avLst>
              <a:gd name="adj" fmla="val 50000"/>
            </a:avLst>
          </a:prstGeom>
          <a:solidFill>
            <a:schemeClr val="accent1">
              <a:lumMod val="50000"/>
            </a:schemeClr>
          </a:solidFill>
          <a:ln>
            <a:solidFill>
              <a:schemeClr val="accent4">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5120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t>in cost of</a:t>
            </a:r>
            <a:b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br>
            <a:r>
              <a:rPr kumimoji="0" lang="en-US" sz="4400" b="0" i="0" u="none" strike="noStrike" kern="1200" cap="none" spc="0" normalizeH="0" baseline="0" noProof="0">
                <a:ln>
                  <a:noFill/>
                </a:ln>
                <a:solidFill>
                  <a:srgbClr val="0766D1">
                    <a:lumMod val="50000"/>
                  </a:srgbClr>
                </a:solidFill>
                <a:effectLst/>
                <a:uLnTx/>
                <a:uFillTx/>
                <a:latin typeface="Anova Light"/>
                <a:ea typeface="+mn-ea"/>
                <a:cs typeface="+mn-cs"/>
              </a:rPr>
              <a:t>handling complaints</a:t>
            </a:r>
          </a:p>
        </p:txBody>
      </p:sp>
      <p:sp>
        <p:nvSpPr>
          <p:cNvPr id="10" name="Rounded Rectangle 9">
            <a:extLst>
              <a:ext uri="{FF2B5EF4-FFF2-40B4-BE49-F238E27FC236}">
                <a16:creationId xmlns:a16="http://schemas.microsoft.com/office/drawing/2014/main" id="{0BCC70E9-3DF6-F160-BC53-382A9378E529}"/>
              </a:ext>
            </a:extLst>
          </p:cNvPr>
          <p:cNvSpPr/>
          <p:nvPr/>
        </p:nvSpPr>
        <p:spPr>
          <a:xfrm>
            <a:off x="6298149" y="6761582"/>
            <a:ext cx="5116085" cy="2315712"/>
          </a:xfrm>
          <a:prstGeom prst="roundRect">
            <a:avLst>
              <a:gd name="adj" fmla="val 50000"/>
            </a:avLst>
          </a:prstGeom>
          <a:solidFill>
            <a:schemeClr val="accent4">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032954">
                    <a:lumMod val="90000"/>
                    <a:lumOff val="10000"/>
                  </a:srgbClr>
                </a:solidFill>
                <a:effectLst/>
                <a:uLnTx/>
                <a:uFillTx/>
                <a:latin typeface="Anova Bold"/>
                <a:ea typeface="+mn-ea"/>
                <a:cs typeface="+mn-cs"/>
              </a:rPr>
              <a:t>8-15%↓</a:t>
            </a:r>
          </a:p>
        </p:txBody>
      </p:sp>
    </p:spTree>
    <p:extLst>
      <p:ext uri="{BB962C8B-B14F-4D97-AF65-F5344CB8AC3E}">
        <p14:creationId xmlns:p14="http://schemas.microsoft.com/office/powerpoint/2010/main" val="697089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mph" presetSubtype="2" fill="hold" nodeType="clickEffect">
                                  <p:stCondLst>
                                    <p:cond delay="0"/>
                                  </p:stCondLst>
                                  <p:childTnLst>
                                    <p:animClr clrSpc="rgb" dir="cw">
                                      <p:cBhvr>
                                        <p:cTn id="6" dur="2000" fill="hold"/>
                                        <p:tgtEl>
                                          <p:spTgt spid="6"/>
                                        </p:tgtEl>
                                        <p:attrNameLst>
                                          <p:attrName>fillcolor</p:attrName>
                                        </p:attrNameLst>
                                      </p:cBhvr>
                                      <p:to>
                                        <a:schemeClr val="accent1"/>
                                      </p:to>
                                    </p:animClr>
                                    <p:set>
                                      <p:cBhvr>
                                        <p:cTn id="7" dur="2000" fill="hold"/>
                                        <p:tgtEl>
                                          <p:spTgt spid="6"/>
                                        </p:tgtEl>
                                        <p:attrNameLst>
                                          <p:attrName>fill.type</p:attrName>
                                        </p:attrNameLst>
                                      </p:cBhvr>
                                      <p:to>
                                        <p:strVal val="solid"/>
                                      </p:to>
                                    </p:set>
                                    <p:set>
                                      <p:cBhvr>
                                        <p:cTn id="8" dur="2000" fill="hold"/>
                                        <p:tgtEl>
                                          <p:spTgt spid="6"/>
                                        </p:tgtEl>
                                        <p:attrNameLst>
                                          <p:attrName>fill.on</p:attrName>
                                        </p:attrNameLst>
                                      </p:cBhvr>
                                      <p:to>
                                        <p:strVal val="true"/>
                                      </p:to>
                                    </p:set>
                                  </p:childTnLst>
                                </p:cTn>
                              </p:par>
                              <p:par>
                                <p:cTn id="9" presetID="3" presetClass="emph" presetSubtype="2" fill="hold" grpId="0" nodeType="withEffect">
                                  <p:stCondLst>
                                    <p:cond delay="0"/>
                                  </p:stCondLst>
                                  <p:childTnLst>
                                    <p:animClr clrSpc="rgb" dir="cw">
                                      <p:cBhvr override="childStyle">
                                        <p:cTn id="10" dur="2000" fill="hold"/>
                                        <p:tgtEl>
                                          <p:spTgt spid="6"/>
                                        </p:tgtEl>
                                        <p:attrNameLst>
                                          <p:attrName>style.color</p:attrName>
                                        </p:attrNameLst>
                                      </p:cBhvr>
                                      <p:to>
                                        <a:schemeClr val="bg1"/>
                                      </p:to>
                                    </p:animClr>
                                  </p:childTnLst>
                                </p:cTn>
                              </p:par>
                              <p:par>
                                <p:cTn id="11" presetID="22" presetClass="entr" presetSubtype="8" fill="hold" grpId="2" nodeType="with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wipe(left)">
                                      <p:cBhvr>
                                        <p:cTn id="13" dur="750"/>
                                        <p:tgtEl>
                                          <p:spTgt spid="5"/>
                                        </p:tgtEl>
                                      </p:cBhvr>
                                    </p:animEffect>
                                  </p:childTnLst>
                                </p:cTn>
                              </p:par>
                              <p:par>
                                <p:cTn id="14" presetID="7" presetClass="emph" presetSubtype="2" fill="hold" grpId="0" nodeType="withEffect">
                                  <p:stCondLst>
                                    <p:cond delay="0"/>
                                  </p:stCondLst>
                                  <p:childTnLst>
                                    <p:animClr clrSpc="rgb" dir="cw">
                                      <p:cBhvr>
                                        <p:cTn id="15" dur="2000" fill="hold"/>
                                        <p:tgtEl>
                                          <p:spTgt spid="5"/>
                                        </p:tgtEl>
                                        <p:attrNameLst>
                                          <p:attrName>stroke.color</p:attrName>
                                        </p:attrNameLst>
                                      </p:cBhvr>
                                      <p:to>
                                        <a:schemeClr val="accent1"/>
                                      </p:to>
                                    </p:animClr>
                                    <p:set>
                                      <p:cBhvr>
                                        <p:cTn id="16" dur="2000" fill="hold"/>
                                        <p:tgtEl>
                                          <p:spTgt spid="5"/>
                                        </p:tgtEl>
                                        <p:attrNameLst>
                                          <p:attrName>stroke.on</p:attrName>
                                        </p:attrNameLst>
                                      </p:cBhvr>
                                      <p:to>
                                        <p:strVal val="true"/>
                                      </p:to>
                                    </p:set>
                                  </p:childTnLst>
                                </p:cTn>
                              </p:par>
                              <p:par>
                                <p:cTn id="17" presetID="3" presetClass="emph" presetSubtype="2" fill="hold" grpId="1" nodeType="withEffect">
                                  <p:stCondLst>
                                    <p:cond delay="0"/>
                                  </p:stCondLst>
                                  <p:childTnLst>
                                    <p:animClr clrSpc="rgb" dir="cw">
                                      <p:cBhvr override="childStyle">
                                        <p:cTn id="18" dur="2000" fill="hold"/>
                                        <p:tgtEl>
                                          <p:spTgt spid="5"/>
                                        </p:tgtEl>
                                        <p:attrNameLst>
                                          <p:attrName>style.color</p:attrName>
                                        </p:attrNameLst>
                                      </p:cBhvr>
                                      <p:to>
                                        <a:schemeClr val="bg1"/>
                                      </p:to>
                                    </p:animClr>
                                  </p:childTnLst>
                                </p:cTn>
                              </p:par>
                            </p:childTnLst>
                          </p:cTn>
                        </p:par>
                      </p:childTnLst>
                    </p:cTn>
                  </p:par>
                  <p:par>
                    <p:cTn id="19" fill="hold">
                      <p:stCondLst>
                        <p:cond delay="indefinite"/>
                      </p:stCondLst>
                      <p:childTnLst>
                        <p:par>
                          <p:cTn id="20" fill="hold">
                            <p:stCondLst>
                              <p:cond delay="0"/>
                            </p:stCondLst>
                            <p:childTnLst>
                              <p:par>
                                <p:cTn id="21" presetID="1" presetClass="emph" presetSubtype="2" fill="hold" nodeType="clickEffect">
                                  <p:stCondLst>
                                    <p:cond delay="0"/>
                                  </p:stCondLst>
                                  <p:childTnLst>
                                    <p:animClr clrSpc="rgb" dir="cw">
                                      <p:cBhvr>
                                        <p:cTn id="22" dur="2000" fill="hold"/>
                                        <p:tgtEl>
                                          <p:spTgt spid="8"/>
                                        </p:tgtEl>
                                        <p:attrNameLst>
                                          <p:attrName>fillcolor</p:attrName>
                                        </p:attrNameLst>
                                      </p:cBhvr>
                                      <p:to>
                                        <a:schemeClr val="accent1"/>
                                      </p:to>
                                    </p:animClr>
                                    <p:set>
                                      <p:cBhvr>
                                        <p:cTn id="23" dur="2000" fill="hold"/>
                                        <p:tgtEl>
                                          <p:spTgt spid="8"/>
                                        </p:tgtEl>
                                        <p:attrNameLst>
                                          <p:attrName>fill.type</p:attrName>
                                        </p:attrNameLst>
                                      </p:cBhvr>
                                      <p:to>
                                        <p:strVal val="solid"/>
                                      </p:to>
                                    </p:set>
                                    <p:set>
                                      <p:cBhvr>
                                        <p:cTn id="24" dur="2000" fill="hold"/>
                                        <p:tgtEl>
                                          <p:spTgt spid="8"/>
                                        </p:tgtEl>
                                        <p:attrNameLst>
                                          <p:attrName>fill.on</p:attrName>
                                        </p:attrNameLst>
                                      </p:cBhvr>
                                      <p:to>
                                        <p:strVal val="true"/>
                                      </p:to>
                                    </p:set>
                                  </p:childTnLst>
                                </p:cTn>
                              </p:par>
                              <p:par>
                                <p:cTn id="25" presetID="3" presetClass="emph" presetSubtype="2" fill="hold" grpId="0" nodeType="withEffect">
                                  <p:stCondLst>
                                    <p:cond delay="0"/>
                                  </p:stCondLst>
                                  <p:childTnLst>
                                    <p:animClr clrSpc="rgb" dir="cw">
                                      <p:cBhvr override="childStyle">
                                        <p:cTn id="26" dur="2000" fill="hold"/>
                                        <p:tgtEl>
                                          <p:spTgt spid="8"/>
                                        </p:tgtEl>
                                        <p:attrNameLst>
                                          <p:attrName>style.color</p:attrName>
                                        </p:attrNameLst>
                                      </p:cBhvr>
                                      <p:to>
                                        <a:schemeClr val="bg1"/>
                                      </p:to>
                                    </p:animClr>
                                  </p:childTnLst>
                                </p:cTn>
                              </p:par>
                              <p:par>
                                <p:cTn id="27" presetID="22" presetClass="entr" presetSubtype="8" fill="hold" grpId="2" nodeType="withEffect">
                                  <p:stCondLst>
                                    <p:cond delay="0"/>
                                  </p:stCondLst>
                                  <p:childTnLst>
                                    <p:set>
                                      <p:cBhvr>
                                        <p:cTn id="28" dur="1" fill="hold">
                                          <p:stCondLst>
                                            <p:cond delay="0"/>
                                          </p:stCondLst>
                                        </p:cTn>
                                        <p:tgtEl>
                                          <p:spTgt spid="7"/>
                                        </p:tgtEl>
                                        <p:attrNameLst>
                                          <p:attrName>style.visibility</p:attrName>
                                        </p:attrNameLst>
                                      </p:cBhvr>
                                      <p:to>
                                        <p:strVal val="visible"/>
                                      </p:to>
                                    </p:set>
                                    <p:animEffect transition="in" filter="wipe(left)">
                                      <p:cBhvr>
                                        <p:cTn id="29" dur="750"/>
                                        <p:tgtEl>
                                          <p:spTgt spid="7"/>
                                        </p:tgtEl>
                                      </p:cBhvr>
                                    </p:animEffect>
                                  </p:childTnLst>
                                </p:cTn>
                              </p:par>
                              <p:par>
                                <p:cTn id="30" presetID="7" presetClass="emph" presetSubtype="2" fill="hold" grpId="0" nodeType="withEffect">
                                  <p:stCondLst>
                                    <p:cond delay="0"/>
                                  </p:stCondLst>
                                  <p:childTnLst>
                                    <p:animClr clrSpc="rgb" dir="cw">
                                      <p:cBhvr>
                                        <p:cTn id="31" dur="2000" fill="hold"/>
                                        <p:tgtEl>
                                          <p:spTgt spid="7"/>
                                        </p:tgtEl>
                                        <p:attrNameLst>
                                          <p:attrName>stroke.color</p:attrName>
                                        </p:attrNameLst>
                                      </p:cBhvr>
                                      <p:to>
                                        <a:schemeClr val="accent1"/>
                                      </p:to>
                                    </p:animClr>
                                    <p:set>
                                      <p:cBhvr>
                                        <p:cTn id="32" dur="2000" fill="hold"/>
                                        <p:tgtEl>
                                          <p:spTgt spid="7"/>
                                        </p:tgtEl>
                                        <p:attrNameLst>
                                          <p:attrName>stroke.on</p:attrName>
                                        </p:attrNameLst>
                                      </p:cBhvr>
                                      <p:to>
                                        <p:strVal val="true"/>
                                      </p:to>
                                    </p:set>
                                  </p:childTnLst>
                                </p:cTn>
                              </p:par>
                            </p:childTnLst>
                          </p:cTn>
                        </p:par>
                      </p:childTnLst>
                    </p:cTn>
                  </p:par>
                  <p:par>
                    <p:cTn id="33" fill="hold">
                      <p:stCondLst>
                        <p:cond delay="indefinite"/>
                      </p:stCondLst>
                      <p:childTnLst>
                        <p:par>
                          <p:cTn id="34" fill="hold">
                            <p:stCondLst>
                              <p:cond delay="0"/>
                            </p:stCondLst>
                            <p:childTnLst>
                              <p:par>
                                <p:cTn id="35" presetID="1" presetClass="emph" presetSubtype="2" fill="hold" nodeType="clickEffect">
                                  <p:stCondLst>
                                    <p:cond delay="0"/>
                                  </p:stCondLst>
                                  <p:childTnLst>
                                    <p:animClr clrSpc="rgb" dir="cw">
                                      <p:cBhvr>
                                        <p:cTn id="36" dur="2000" fill="hold"/>
                                        <p:tgtEl>
                                          <p:spTgt spid="10"/>
                                        </p:tgtEl>
                                        <p:attrNameLst>
                                          <p:attrName>fillcolor</p:attrName>
                                        </p:attrNameLst>
                                      </p:cBhvr>
                                      <p:to>
                                        <a:schemeClr val="accent1"/>
                                      </p:to>
                                    </p:animClr>
                                    <p:set>
                                      <p:cBhvr>
                                        <p:cTn id="37" dur="2000" fill="hold"/>
                                        <p:tgtEl>
                                          <p:spTgt spid="10"/>
                                        </p:tgtEl>
                                        <p:attrNameLst>
                                          <p:attrName>fill.type</p:attrName>
                                        </p:attrNameLst>
                                      </p:cBhvr>
                                      <p:to>
                                        <p:strVal val="solid"/>
                                      </p:to>
                                    </p:set>
                                    <p:set>
                                      <p:cBhvr>
                                        <p:cTn id="38" dur="2000" fill="hold"/>
                                        <p:tgtEl>
                                          <p:spTgt spid="10"/>
                                        </p:tgtEl>
                                        <p:attrNameLst>
                                          <p:attrName>fill.on</p:attrName>
                                        </p:attrNameLst>
                                      </p:cBhvr>
                                      <p:to>
                                        <p:strVal val="true"/>
                                      </p:to>
                                    </p:set>
                                  </p:childTnLst>
                                </p:cTn>
                              </p:par>
                              <p:par>
                                <p:cTn id="39" presetID="3" presetClass="emph" presetSubtype="2" fill="hold" grpId="0" nodeType="withEffect">
                                  <p:stCondLst>
                                    <p:cond delay="0"/>
                                  </p:stCondLst>
                                  <p:childTnLst>
                                    <p:animClr clrSpc="rgb" dir="cw">
                                      <p:cBhvr override="childStyle">
                                        <p:cTn id="40" dur="2000" fill="hold"/>
                                        <p:tgtEl>
                                          <p:spTgt spid="10"/>
                                        </p:tgtEl>
                                        <p:attrNameLst>
                                          <p:attrName>style.color</p:attrName>
                                        </p:attrNameLst>
                                      </p:cBhvr>
                                      <p:to>
                                        <a:schemeClr val="bg1"/>
                                      </p:to>
                                    </p:animClr>
                                  </p:childTnLst>
                                </p:cTn>
                              </p:par>
                              <p:par>
                                <p:cTn id="41" presetID="22" presetClass="entr" presetSubtype="8" fill="hold" grpId="2" nodeType="withEffect">
                                  <p:stCondLst>
                                    <p:cond delay="0"/>
                                  </p:stCondLst>
                                  <p:childTnLst>
                                    <p:set>
                                      <p:cBhvr>
                                        <p:cTn id="42" dur="1" fill="hold">
                                          <p:stCondLst>
                                            <p:cond delay="0"/>
                                          </p:stCondLst>
                                        </p:cTn>
                                        <p:tgtEl>
                                          <p:spTgt spid="9"/>
                                        </p:tgtEl>
                                        <p:attrNameLst>
                                          <p:attrName>style.visibility</p:attrName>
                                        </p:attrNameLst>
                                      </p:cBhvr>
                                      <p:to>
                                        <p:strVal val="visible"/>
                                      </p:to>
                                    </p:set>
                                    <p:animEffect transition="in" filter="wipe(left)">
                                      <p:cBhvr>
                                        <p:cTn id="43" dur="750"/>
                                        <p:tgtEl>
                                          <p:spTgt spid="9"/>
                                        </p:tgtEl>
                                      </p:cBhvr>
                                    </p:animEffect>
                                  </p:childTnLst>
                                </p:cTn>
                              </p:par>
                              <p:par>
                                <p:cTn id="44" presetID="7" presetClass="emph" presetSubtype="2" fill="hold" grpId="0" nodeType="withEffect">
                                  <p:stCondLst>
                                    <p:cond delay="0"/>
                                  </p:stCondLst>
                                  <p:childTnLst>
                                    <p:animClr clrSpc="rgb" dir="cw">
                                      <p:cBhvr>
                                        <p:cTn id="45" dur="2000" fill="hold"/>
                                        <p:tgtEl>
                                          <p:spTgt spid="9"/>
                                        </p:tgtEl>
                                        <p:attrNameLst>
                                          <p:attrName>stroke.color</p:attrName>
                                        </p:attrNameLst>
                                      </p:cBhvr>
                                      <p:to>
                                        <a:schemeClr val="accent1"/>
                                      </p:to>
                                    </p:animClr>
                                    <p:set>
                                      <p:cBhvr>
                                        <p:cTn id="46" dur="2000" fill="hold"/>
                                        <p:tgtEl>
                                          <p:spTgt spid="9"/>
                                        </p:tgtEl>
                                        <p:attrNameLst>
                                          <p:attrName>stroke.on</p:attrName>
                                        </p:attrNameLst>
                                      </p:cBhvr>
                                      <p:to>
                                        <p:strVal val="true"/>
                                      </p:to>
                                    </p:set>
                                  </p:childTnLst>
                                </p:cTn>
                              </p:par>
                              <p:par>
                                <p:cTn id="47" presetID="3" presetClass="emph" presetSubtype="2" fill="hold" grpId="1" nodeType="withEffect">
                                  <p:stCondLst>
                                    <p:cond delay="0"/>
                                  </p:stCondLst>
                                  <p:childTnLst>
                                    <p:animClr clrSpc="rgb" dir="cw">
                                      <p:cBhvr override="childStyle">
                                        <p:cTn id="48" dur="2000" fill="hold"/>
                                        <p:tgtEl>
                                          <p:spTgt spid="7"/>
                                        </p:tgtEl>
                                        <p:attrNameLst>
                                          <p:attrName>style.color</p:attrName>
                                        </p:attrNameLst>
                                      </p:cBhvr>
                                      <p:to>
                                        <a:schemeClr val="bg1"/>
                                      </p:to>
                                    </p:animClr>
                                  </p:childTnLst>
                                </p:cTn>
                              </p:par>
                              <p:par>
                                <p:cTn id="49" presetID="3" presetClass="emph" presetSubtype="2" fill="hold" grpId="1" nodeType="withEffect">
                                  <p:stCondLst>
                                    <p:cond delay="0"/>
                                  </p:stCondLst>
                                  <p:childTnLst>
                                    <p:animClr clrSpc="rgb" dir="cw">
                                      <p:cBhvr override="childStyle">
                                        <p:cTn id="50" dur="2000" fill="hold"/>
                                        <p:tgtEl>
                                          <p:spTgt spid="9"/>
                                        </p:tgtEl>
                                        <p:attrNameLst>
                                          <p:attrName>style.color</p:attrName>
                                        </p:attrNameLst>
                                      </p:cBhvr>
                                      <p:to>
                                        <a:schemeClr val="bg1"/>
                                      </p:to>
                                    </p:animClr>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6" grpId="0" animBg="1"/>
      <p:bldP spid="7" grpId="0" animBg="1"/>
      <p:bldP spid="7" grpId="1" animBg="1"/>
      <p:bldP spid="7" grpId="2" animBg="1"/>
      <p:bldP spid="8" grpId="0" animBg="1"/>
      <p:bldP spid="9" grpId="0" animBg="1"/>
      <p:bldP spid="9" grpId="1" animBg="1"/>
      <p:bldP spid="9" grpId="2" animBg="1"/>
      <p:bldP spid="1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Left Bracket 1">
            <a:extLst>
              <a:ext uri="{FF2B5EF4-FFF2-40B4-BE49-F238E27FC236}">
                <a16:creationId xmlns:a16="http://schemas.microsoft.com/office/drawing/2014/main" id="{F24496B0-90D3-A71E-6E99-32B47578B75A}"/>
              </a:ext>
            </a:extLst>
          </p:cNvPr>
          <p:cNvSpPr/>
          <p:nvPr/>
        </p:nvSpPr>
        <p:spPr>
          <a:xfrm>
            <a:off x="5716449" y="749481"/>
            <a:ext cx="732545" cy="8788039"/>
          </a:xfrm>
          <a:prstGeom prst="leftBracket">
            <a:avLst>
              <a:gd name="adj" fmla="val 0"/>
            </a:avLst>
          </a:prstGeom>
          <a:ln w="25400">
            <a:solidFill>
              <a:srgbClr val="3ADBE6"/>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cxnSp>
        <p:nvCxnSpPr>
          <p:cNvPr id="3" name="Straight Connector 2">
            <a:extLst>
              <a:ext uri="{FF2B5EF4-FFF2-40B4-BE49-F238E27FC236}">
                <a16:creationId xmlns:a16="http://schemas.microsoft.com/office/drawing/2014/main" id="{965124CC-490A-C9A0-2262-582329E5CDBB}"/>
              </a:ext>
            </a:extLst>
          </p:cNvPr>
          <p:cNvCxnSpPr>
            <a:cxnSpLocks/>
          </p:cNvCxnSpPr>
          <p:nvPr/>
        </p:nvCxnSpPr>
        <p:spPr>
          <a:xfrm>
            <a:off x="4815749" y="5143500"/>
            <a:ext cx="900700" cy="0"/>
          </a:xfrm>
          <a:prstGeom prst="line">
            <a:avLst/>
          </a:prstGeom>
          <a:ln w="25400">
            <a:solidFill>
              <a:srgbClr val="3ADBE6"/>
            </a:solidFill>
            <a:tailEnd type="none"/>
          </a:ln>
        </p:spPr>
        <p:style>
          <a:lnRef idx="1">
            <a:schemeClr val="accent1"/>
          </a:lnRef>
          <a:fillRef idx="0">
            <a:schemeClr val="accent1"/>
          </a:fillRef>
          <a:effectRef idx="0">
            <a:schemeClr val="accent1"/>
          </a:effectRef>
          <a:fontRef idx="minor">
            <a:schemeClr val="tx1"/>
          </a:fontRef>
        </p:style>
      </p:cxnSp>
      <p:sp>
        <p:nvSpPr>
          <p:cNvPr id="4" name="Rounded Rectangle 3">
            <a:extLst>
              <a:ext uri="{FF2B5EF4-FFF2-40B4-BE49-F238E27FC236}">
                <a16:creationId xmlns:a16="http://schemas.microsoft.com/office/drawing/2014/main" id="{D1830AF0-ACBC-83BA-B2EC-898957683DB7}"/>
              </a:ext>
            </a:extLst>
          </p:cNvPr>
          <p:cNvSpPr/>
          <p:nvPr/>
        </p:nvSpPr>
        <p:spPr>
          <a:xfrm>
            <a:off x="824044" y="3302683"/>
            <a:ext cx="3991706" cy="3681635"/>
          </a:xfrm>
          <a:prstGeom prst="roundRect">
            <a:avLst>
              <a:gd name="adj" fmla="val 14422"/>
            </a:avLst>
          </a:prstGeom>
          <a:solidFill>
            <a:srgbClr val="3ADB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2954"/>
                </a:solidFill>
                <a:effectLst/>
                <a:uLnTx/>
                <a:uFillTx/>
                <a:latin typeface="Anova Light"/>
                <a:ea typeface="+mn-ea"/>
                <a:cs typeface="+mn-cs"/>
              </a:rPr>
              <a:t>Integrating</a:t>
            </a:r>
            <a:br>
              <a:rPr kumimoji="0" lang="en-US" sz="3600" b="1" i="0" u="none" strike="noStrike" kern="1200" cap="none" spc="0" normalizeH="0" baseline="0" noProof="0">
                <a:ln>
                  <a:noFill/>
                </a:ln>
                <a:solidFill>
                  <a:srgbClr val="032954"/>
                </a:solidFill>
                <a:effectLst/>
                <a:uLnTx/>
                <a:uFillTx/>
                <a:latin typeface="Anova Bold"/>
                <a:ea typeface="+mn-ea"/>
                <a:cs typeface="+mn-cs"/>
              </a:rPr>
            </a:br>
            <a:r>
              <a:rPr kumimoji="0" lang="en-US" sz="6600" b="1" i="0" u="none" strike="noStrike" kern="1200" cap="none" spc="0" normalizeH="0" baseline="0" noProof="0">
                <a:ln>
                  <a:noFill/>
                </a:ln>
                <a:solidFill>
                  <a:srgbClr val="032954"/>
                </a:solidFill>
                <a:effectLst/>
                <a:uLnTx/>
                <a:uFillTx/>
                <a:latin typeface="Anova Bold"/>
                <a:ea typeface="+mn-ea"/>
                <a:cs typeface="+mn-cs"/>
              </a:rPr>
              <a:t>Gen AI</a:t>
            </a:r>
            <a:endParaRPr kumimoji="0" lang="en-US" sz="3600" b="1" i="0" u="none" strike="noStrike" kern="1200" cap="none" spc="0" normalizeH="0" baseline="0" noProof="0">
              <a:ln>
                <a:noFill/>
              </a:ln>
              <a:solidFill>
                <a:srgbClr val="032954"/>
              </a:solidFill>
              <a:effectLst/>
              <a:uLnTx/>
              <a:uFillTx/>
              <a:latin typeface="Anova Bold"/>
              <a:ea typeface="+mn-ea"/>
              <a:cs typeface="+mn-cs"/>
            </a:endParaRPr>
          </a:p>
          <a:p>
            <a:pPr marL="0" marR="0" lvl="0" indent="0" algn="ctr" defTabSz="914400" rtl="0" eaLnBrk="1" fontAlgn="auto" latinLnBrk="0" hangingPunct="1">
              <a:lnSpc>
                <a:spcPct val="95000"/>
              </a:lnSpc>
              <a:spcBef>
                <a:spcPts val="0"/>
              </a:spcBef>
              <a:spcAft>
                <a:spcPts val="0"/>
              </a:spcAft>
              <a:buClrTx/>
              <a:buSzTx/>
              <a:buFontTx/>
              <a:buNone/>
              <a:tabLst/>
              <a:defRPr/>
            </a:pPr>
            <a:r>
              <a:rPr kumimoji="0" lang="en-US" sz="3600" b="1" i="0" u="none" strike="noStrike" kern="1200" cap="none" spc="0" normalizeH="0" baseline="0" noProof="0">
                <a:ln>
                  <a:noFill/>
                </a:ln>
                <a:solidFill>
                  <a:srgbClr val="032954"/>
                </a:solidFill>
                <a:effectLst/>
                <a:uLnTx/>
                <a:uFillTx/>
                <a:latin typeface="Anova Light"/>
                <a:ea typeface="+mn-ea"/>
                <a:cs typeface="+mn-cs"/>
              </a:rPr>
              <a:t>for real world benefits</a:t>
            </a:r>
          </a:p>
        </p:txBody>
      </p:sp>
      <p:sp>
        <p:nvSpPr>
          <p:cNvPr id="5" name="Rounded Rectangle 4">
            <a:extLst>
              <a:ext uri="{FF2B5EF4-FFF2-40B4-BE49-F238E27FC236}">
                <a16:creationId xmlns:a16="http://schemas.microsoft.com/office/drawing/2014/main" id="{82144F24-D4D0-582A-82C9-A99192D0A991}"/>
              </a:ext>
            </a:extLst>
          </p:cNvPr>
          <p:cNvSpPr/>
          <p:nvPr/>
        </p:nvSpPr>
        <p:spPr>
          <a:xfrm>
            <a:off x="6298149" y="1209706"/>
            <a:ext cx="11165807" cy="2315712"/>
          </a:xfrm>
          <a:prstGeom prst="roundRect">
            <a:avLst>
              <a:gd name="adj" fmla="val 50000"/>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120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Anova Light"/>
                <a:ea typeface="+mn-ea"/>
                <a:cs typeface="+mn-cs"/>
              </a:rPr>
              <a:t>in volume of complaints handled</a:t>
            </a:r>
          </a:p>
        </p:txBody>
      </p:sp>
      <p:sp>
        <p:nvSpPr>
          <p:cNvPr id="6" name="Rounded Rectangle 5">
            <a:extLst>
              <a:ext uri="{FF2B5EF4-FFF2-40B4-BE49-F238E27FC236}">
                <a16:creationId xmlns:a16="http://schemas.microsoft.com/office/drawing/2014/main" id="{3B6167C2-33BD-7E1D-6876-E71A5F55C9A3}"/>
              </a:ext>
            </a:extLst>
          </p:cNvPr>
          <p:cNvSpPr/>
          <p:nvPr/>
        </p:nvSpPr>
        <p:spPr>
          <a:xfrm>
            <a:off x="6298149" y="1209706"/>
            <a:ext cx="5116085" cy="231571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FFFFFF"/>
                </a:solidFill>
                <a:effectLst/>
                <a:uLnTx/>
                <a:uFillTx/>
                <a:latin typeface="Anova Bold"/>
                <a:ea typeface="+mn-ea"/>
                <a:cs typeface="+mn-cs"/>
              </a:rPr>
              <a:t>20%↑</a:t>
            </a:r>
          </a:p>
        </p:txBody>
      </p:sp>
      <p:sp>
        <p:nvSpPr>
          <p:cNvPr id="7" name="Rounded Rectangle 6">
            <a:extLst>
              <a:ext uri="{FF2B5EF4-FFF2-40B4-BE49-F238E27FC236}">
                <a16:creationId xmlns:a16="http://schemas.microsoft.com/office/drawing/2014/main" id="{8BEE4C64-3EFA-6BD5-0C7B-73DFBD8B939E}"/>
              </a:ext>
            </a:extLst>
          </p:cNvPr>
          <p:cNvSpPr/>
          <p:nvPr/>
        </p:nvSpPr>
        <p:spPr>
          <a:xfrm>
            <a:off x="6298149" y="3985644"/>
            <a:ext cx="11165807" cy="2315712"/>
          </a:xfrm>
          <a:prstGeom prst="roundRect">
            <a:avLst>
              <a:gd name="adj" fmla="val 50000"/>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120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Anova Light"/>
                <a:ea typeface="+mn-ea"/>
                <a:cs typeface="+mn-cs"/>
              </a:rPr>
              <a:t>in average</a:t>
            </a:r>
            <a:br>
              <a:rPr kumimoji="0" lang="en-US" sz="4400" b="0" i="0" u="none" strike="noStrike" kern="1200" cap="none" spc="0" normalizeH="0" baseline="0" noProof="0">
                <a:ln>
                  <a:noFill/>
                </a:ln>
                <a:solidFill>
                  <a:srgbClr val="FFFFFF"/>
                </a:solidFill>
                <a:effectLst/>
                <a:uLnTx/>
                <a:uFillTx/>
                <a:latin typeface="Anova Light"/>
                <a:ea typeface="+mn-ea"/>
                <a:cs typeface="+mn-cs"/>
              </a:rPr>
            </a:br>
            <a:r>
              <a:rPr kumimoji="0" lang="en-US" sz="4400" b="0" i="0" u="none" strike="noStrike" kern="1200" cap="none" spc="0" normalizeH="0" baseline="0" noProof="0">
                <a:ln>
                  <a:noFill/>
                </a:ln>
                <a:solidFill>
                  <a:srgbClr val="FFFFFF"/>
                </a:solidFill>
                <a:effectLst/>
                <a:uLnTx/>
                <a:uFillTx/>
                <a:latin typeface="Anova Light"/>
                <a:ea typeface="+mn-ea"/>
                <a:cs typeface="+mn-cs"/>
              </a:rPr>
              <a:t>response time</a:t>
            </a:r>
          </a:p>
        </p:txBody>
      </p:sp>
      <p:sp>
        <p:nvSpPr>
          <p:cNvPr id="8" name="Rounded Rectangle 7">
            <a:extLst>
              <a:ext uri="{FF2B5EF4-FFF2-40B4-BE49-F238E27FC236}">
                <a16:creationId xmlns:a16="http://schemas.microsoft.com/office/drawing/2014/main" id="{9FE3D257-95D2-7796-108D-C20EBE1C6190}"/>
              </a:ext>
            </a:extLst>
          </p:cNvPr>
          <p:cNvSpPr/>
          <p:nvPr/>
        </p:nvSpPr>
        <p:spPr>
          <a:xfrm>
            <a:off x="6298149" y="3985644"/>
            <a:ext cx="5116085" cy="231571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FFFFFF"/>
                </a:solidFill>
                <a:effectLst/>
                <a:uLnTx/>
                <a:uFillTx/>
                <a:latin typeface="Anova Bold"/>
                <a:ea typeface="+mn-ea"/>
                <a:cs typeface="+mn-cs"/>
              </a:rPr>
              <a:t>30-40%↓</a:t>
            </a:r>
          </a:p>
        </p:txBody>
      </p:sp>
      <p:sp>
        <p:nvSpPr>
          <p:cNvPr id="9" name="Rounded Rectangle 8">
            <a:extLst>
              <a:ext uri="{FF2B5EF4-FFF2-40B4-BE49-F238E27FC236}">
                <a16:creationId xmlns:a16="http://schemas.microsoft.com/office/drawing/2014/main" id="{91562BD4-2FFE-FA3D-3514-621A2236F1C4}"/>
              </a:ext>
            </a:extLst>
          </p:cNvPr>
          <p:cNvSpPr/>
          <p:nvPr/>
        </p:nvSpPr>
        <p:spPr>
          <a:xfrm>
            <a:off x="6298149" y="6761582"/>
            <a:ext cx="11165807" cy="2315712"/>
          </a:xfrm>
          <a:prstGeom prst="roundRect">
            <a:avLst>
              <a:gd name="adj" fmla="val 50000"/>
            </a:avLst>
          </a:prstGeom>
          <a:solidFill>
            <a:schemeClr val="accent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12064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a:ln>
                  <a:noFill/>
                </a:ln>
                <a:solidFill>
                  <a:srgbClr val="FFFFFF"/>
                </a:solidFill>
                <a:effectLst/>
                <a:uLnTx/>
                <a:uFillTx/>
                <a:latin typeface="Anova Light"/>
                <a:ea typeface="+mn-ea"/>
                <a:cs typeface="+mn-cs"/>
              </a:rPr>
              <a:t>in cost of</a:t>
            </a:r>
            <a:br>
              <a:rPr kumimoji="0" lang="en-US" sz="4400" b="0" i="0" u="none" strike="noStrike" kern="1200" cap="none" spc="0" normalizeH="0" baseline="0" noProof="0">
                <a:ln>
                  <a:noFill/>
                </a:ln>
                <a:solidFill>
                  <a:srgbClr val="FFFFFF"/>
                </a:solidFill>
                <a:effectLst/>
                <a:uLnTx/>
                <a:uFillTx/>
                <a:latin typeface="Anova Light"/>
                <a:ea typeface="+mn-ea"/>
                <a:cs typeface="+mn-cs"/>
              </a:rPr>
            </a:br>
            <a:r>
              <a:rPr kumimoji="0" lang="en-US" sz="4400" b="0" i="0" u="none" strike="noStrike" kern="1200" cap="none" spc="0" normalizeH="0" baseline="0" noProof="0">
                <a:ln>
                  <a:noFill/>
                </a:ln>
                <a:solidFill>
                  <a:srgbClr val="FFFFFF"/>
                </a:solidFill>
                <a:effectLst/>
                <a:uLnTx/>
                <a:uFillTx/>
                <a:latin typeface="Anova Light"/>
                <a:ea typeface="+mn-ea"/>
                <a:cs typeface="+mn-cs"/>
              </a:rPr>
              <a:t>handling complaints</a:t>
            </a:r>
          </a:p>
        </p:txBody>
      </p:sp>
      <p:sp>
        <p:nvSpPr>
          <p:cNvPr id="10" name="Rounded Rectangle 9">
            <a:extLst>
              <a:ext uri="{FF2B5EF4-FFF2-40B4-BE49-F238E27FC236}">
                <a16:creationId xmlns:a16="http://schemas.microsoft.com/office/drawing/2014/main" id="{EE0AECC1-77A7-E42D-10ED-855296623EF5}"/>
              </a:ext>
            </a:extLst>
          </p:cNvPr>
          <p:cNvSpPr/>
          <p:nvPr/>
        </p:nvSpPr>
        <p:spPr>
          <a:xfrm>
            <a:off x="6298149" y="6761582"/>
            <a:ext cx="5116085" cy="2315712"/>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200" b="0" i="0" u="none" strike="noStrike" kern="1200" cap="none" spc="0" normalizeH="0" baseline="0" noProof="0">
                <a:ln>
                  <a:noFill/>
                </a:ln>
                <a:solidFill>
                  <a:srgbClr val="FFFFFF"/>
                </a:solidFill>
                <a:effectLst/>
                <a:uLnTx/>
                <a:uFillTx/>
                <a:latin typeface="Anova Bold"/>
                <a:ea typeface="+mn-ea"/>
                <a:cs typeface="+mn-cs"/>
              </a:rPr>
              <a:t>8-15%↓</a:t>
            </a:r>
          </a:p>
        </p:txBody>
      </p:sp>
    </p:spTree>
    <p:extLst>
      <p:ext uri="{BB962C8B-B14F-4D97-AF65-F5344CB8AC3E}">
        <p14:creationId xmlns:p14="http://schemas.microsoft.com/office/powerpoint/2010/main" val="1742401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F99720F-E2D1-1872-D02A-B760B8491AEF}"/>
              </a:ext>
            </a:extLst>
          </p:cNvPr>
          <p:cNvSpPr>
            <a:spLocks noGrp="1"/>
          </p:cNvSpPr>
          <p:nvPr>
            <p:ph type="title"/>
          </p:nvPr>
        </p:nvSpPr>
        <p:spPr>
          <a:xfrm>
            <a:off x="0" y="4497169"/>
            <a:ext cx="18288000" cy="1292662"/>
          </a:xfrm>
        </p:spPr>
        <p:txBody>
          <a:bodyPr/>
          <a:lstStyle/>
          <a:p>
            <a:pPr algn="ctr"/>
            <a:r>
              <a:rPr lang="en-US"/>
              <a:t>Thank You</a:t>
            </a:r>
          </a:p>
        </p:txBody>
      </p:sp>
      <p:sp>
        <p:nvSpPr>
          <p:cNvPr id="2" name="Text Placeholder 1">
            <a:extLst>
              <a:ext uri="{FF2B5EF4-FFF2-40B4-BE49-F238E27FC236}">
                <a16:creationId xmlns:a16="http://schemas.microsoft.com/office/drawing/2014/main" id="{96A5EDD4-86AC-4670-9322-8A061FC40FA3}"/>
              </a:ext>
            </a:extLst>
          </p:cNvPr>
          <p:cNvSpPr>
            <a:spLocks noGrp="1"/>
          </p:cNvSpPr>
          <p:nvPr>
            <p:ph type="body" sz="quarter" idx="11"/>
          </p:nvPr>
        </p:nvSpPr>
        <p:spPr>
          <a:xfrm>
            <a:off x="0" y="8276977"/>
            <a:ext cx="18288000" cy="1057522"/>
          </a:xfrm>
        </p:spPr>
        <p:txBody>
          <a:bodyPr/>
          <a:lstStyle/>
          <a:p>
            <a:pPr algn="ctr"/>
            <a:r>
              <a:rPr lang="en-US" b="1">
                <a:solidFill>
                  <a:schemeClr val="bg1"/>
                </a:solidFill>
              </a:rPr>
              <a:t>sas.com</a:t>
            </a:r>
          </a:p>
        </p:txBody>
      </p:sp>
    </p:spTree>
    <p:extLst>
      <p:ext uri="{BB962C8B-B14F-4D97-AF65-F5344CB8AC3E}">
        <p14:creationId xmlns:p14="http://schemas.microsoft.com/office/powerpoint/2010/main" val="3178501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E5B3FEB-F2BE-67D3-4C1A-C287243B137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572"/>
            <a:ext cx="18288000" cy="10279856"/>
          </a:xfrm>
          <a:prstGeom prst="rect">
            <a:avLst/>
          </a:prstGeom>
        </p:spPr>
      </p:pic>
      <p:sp>
        <p:nvSpPr>
          <p:cNvPr id="2" name="!!_SAS_Text">
            <a:extLst>
              <a:ext uri="{FF2B5EF4-FFF2-40B4-BE49-F238E27FC236}">
                <a16:creationId xmlns:a16="http://schemas.microsoft.com/office/drawing/2014/main" id="{FE9A8B17-F782-0C1D-BC3A-88811F113890}"/>
              </a:ext>
            </a:extLst>
          </p:cNvPr>
          <p:cNvSpPr txBox="1"/>
          <p:nvPr/>
        </p:nvSpPr>
        <p:spPr>
          <a:xfrm>
            <a:off x="2631198" y="1614702"/>
            <a:ext cx="10609943" cy="707886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0" b="0" i="0" u="none" strike="noStrike" kern="1200" cap="none" spc="0" normalizeH="0" baseline="0" noProof="0">
                <a:ln>
                  <a:noFill/>
                </a:ln>
                <a:solidFill>
                  <a:srgbClr val="000000"/>
                </a:solidFill>
                <a:effectLst/>
                <a:uLnTx/>
                <a:uFillTx/>
                <a:latin typeface="Anova Light"/>
                <a:ea typeface="Calibri" panose="020F0502020204030204" pitchFamily="34" charset="0"/>
                <a:cs typeface="Arial" panose="020B0604020202020204" pitchFamily="34" charset="0"/>
              </a:rPr>
              <a:t>SAS is a </a:t>
            </a:r>
            <a:br>
              <a:rPr kumimoji="0" lang="en-GB" sz="11500" b="0" i="0" u="none" strike="noStrike" kern="1200" cap="none" spc="0" normalizeH="0" baseline="0" noProof="0">
                <a:ln>
                  <a:noFill/>
                </a:ln>
                <a:solidFill>
                  <a:srgbClr val="000000"/>
                </a:solidFill>
                <a:effectLst/>
                <a:uLnTx/>
                <a:uFillTx/>
                <a:latin typeface="Anova Light"/>
                <a:ea typeface="Calibri" panose="020F0502020204030204" pitchFamily="34" charset="0"/>
                <a:cs typeface="Arial" panose="020B0604020202020204" pitchFamily="34" charset="0"/>
              </a:rPr>
            </a:br>
            <a:r>
              <a:rPr kumimoji="0" lang="en-GB" sz="11500" b="0" i="0" u="none" strike="noStrike" kern="1200" cap="none" spc="0" normalizeH="0" baseline="0" noProof="0">
                <a:ln>
                  <a:noFill/>
                </a:ln>
                <a:solidFill>
                  <a:srgbClr val="000000"/>
                </a:solidFill>
                <a:effectLst/>
                <a:uLnTx/>
                <a:uFillTx/>
                <a:latin typeface="Anova Light"/>
                <a:ea typeface="Calibri" panose="020F0502020204030204" pitchFamily="34" charset="0"/>
                <a:cs typeface="Arial" panose="020B0604020202020204" pitchFamily="34" charset="0"/>
              </a:rPr>
              <a:t>cloud native data and AI company</a:t>
            </a:r>
            <a:endParaRPr kumimoji="0" lang="en-GB" sz="11500" b="0" i="0" u="none" strike="noStrike" kern="1200" cap="none" spc="0" normalizeH="0" baseline="0" noProof="0">
              <a:ln>
                <a:noFill/>
              </a:ln>
              <a:solidFill>
                <a:srgbClr val="000000"/>
              </a:solidFill>
              <a:effectLst/>
              <a:uLnTx/>
              <a:uFillTx/>
              <a:latin typeface="Anova Light"/>
              <a:ea typeface="+mn-ea"/>
              <a:cs typeface="+mn-cs"/>
            </a:endParaRPr>
          </a:p>
        </p:txBody>
      </p:sp>
    </p:spTree>
    <p:extLst>
      <p:ext uri="{BB962C8B-B14F-4D97-AF65-F5344CB8AC3E}">
        <p14:creationId xmlns:p14="http://schemas.microsoft.com/office/powerpoint/2010/main" val="3294854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5">
            <a:extLst>
              <a:ext uri="{FF2B5EF4-FFF2-40B4-BE49-F238E27FC236}">
                <a16:creationId xmlns:a16="http://schemas.microsoft.com/office/drawing/2014/main" id="{F1A96987-2E32-4913-0E11-F8108AEEBB3F}"/>
              </a:ext>
            </a:extLst>
          </p:cNvPr>
          <p:cNvSpPr>
            <a:spLocks noGrp="1"/>
          </p:cNvSpPr>
          <p:nvPr>
            <p:ph type="title"/>
          </p:nvPr>
        </p:nvSpPr>
        <p:spPr>
          <a:xfrm>
            <a:off x="1257300" y="710304"/>
            <a:ext cx="15773400" cy="1551194"/>
          </a:xfrm>
        </p:spPr>
        <p:txBody>
          <a:bodyPr anchor="t"/>
          <a:lstStyle/>
          <a:p>
            <a:r>
              <a:rPr lang="en-US" dirty="0">
                <a:latin typeface="Anova Bold"/>
              </a:rPr>
              <a:t>Digital Business Demands a Comprehensive Data and AI Platform</a:t>
            </a:r>
          </a:p>
        </p:txBody>
      </p:sp>
      <p:pic>
        <p:nvPicPr>
          <p:cNvPr id="2" name="Graphic 1">
            <a:extLst>
              <a:ext uri="{FF2B5EF4-FFF2-40B4-BE49-F238E27FC236}">
                <a16:creationId xmlns:a16="http://schemas.microsoft.com/office/drawing/2014/main" id="{C37C3D0A-580C-9DF9-CDD5-4263B44F5FC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57300" y="3109379"/>
            <a:ext cx="15789563" cy="5084362"/>
          </a:xfrm>
          <a:prstGeom prst="rect">
            <a:avLst/>
          </a:prstGeom>
        </p:spPr>
      </p:pic>
    </p:spTree>
    <p:custDataLst>
      <p:tags r:id="rId1"/>
    </p:custDataLst>
    <p:extLst>
      <p:ext uri="{BB962C8B-B14F-4D97-AF65-F5344CB8AC3E}">
        <p14:creationId xmlns:p14="http://schemas.microsoft.com/office/powerpoint/2010/main" val="1646275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6" name="Group 535">
            <a:extLst>
              <a:ext uri="{FF2B5EF4-FFF2-40B4-BE49-F238E27FC236}">
                <a16:creationId xmlns:a16="http://schemas.microsoft.com/office/drawing/2014/main" id="{2035138D-8928-E838-A7FF-F325234A81D4}"/>
              </a:ext>
            </a:extLst>
          </p:cNvPr>
          <p:cNvGrpSpPr/>
          <p:nvPr/>
        </p:nvGrpSpPr>
        <p:grpSpPr>
          <a:xfrm>
            <a:off x="2806352" y="4044901"/>
            <a:ext cx="12734920" cy="3556002"/>
            <a:chOff x="1403176" y="2022449"/>
            <a:chExt cx="6367460" cy="1778001"/>
          </a:xfrm>
        </p:grpSpPr>
        <p:grpSp>
          <p:nvGrpSpPr>
            <p:cNvPr id="537" name="Group 536">
              <a:extLst>
                <a:ext uri="{FF2B5EF4-FFF2-40B4-BE49-F238E27FC236}">
                  <a16:creationId xmlns:a16="http://schemas.microsoft.com/office/drawing/2014/main" id="{958727AD-41D1-A708-4734-A4E622EBFC7A}"/>
                </a:ext>
              </a:extLst>
            </p:cNvPr>
            <p:cNvGrpSpPr/>
            <p:nvPr/>
          </p:nvGrpSpPr>
          <p:grpSpPr>
            <a:xfrm>
              <a:off x="1403176" y="2022449"/>
              <a:ext cx="6367460" cy="1778001"/>
              <a:chOff x="1403176" y="2022449"/>
              <a:chExt cx="6367460" cy="1778001"/>
            </a:xfrm>
          </p:grpSpPr>
          <p:sp>
            <p:nvSpPr>
              <p:cNvPr id="539" name="Rectangle: Top Corners Rounded 538">
                <a:extLst>
                  <a:ext uri="{FF2B5EF4-FFF2-40B4-BE49-F238E27FC236}">
                    <a16:creationId xmlns:a16="http://schemas.microsoft.com/office/drawing/2014/main" id="{4995A92C-AE4E-4B40-F804-902B31298146}"/>
                  </a:ext>
                </a:extLst>
              </p:cNvPr>
              <p:cNvSpPr/>
              <p:nvPr/>
            </p:nvSpPr>
            <p:spPr>
              <a:xfrm rot="16200000">
                <a:off x="1203536" y="2222089"/>
                <a:ext cx="1778001" cy="1378721"/>
              </a:xfrm>
              <a:prstGeom prst="round2SameRect">
                <a:avLst>
                  <a:gd name="adj1" fmla="val 3547"/>
                  <a:gd name="adj2" fmla="val 0"/>
                </a:avLst>
              </a:prstGeom>
              <a:solidFill>
                <a:schemeClr val="accent6">
                  <a:lumMod val="20000"/>
                  <a:lumOff val="80000"/>
                </a:schemeClr>
              </a:solidFill>
              <a:ln w="63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40" name="Rectangle: Top Corners Rounded 539">
                <a:extLst>
                  <a:ext uri="{FF2B5EF4-FFF2-40B4-BE49-F238E27FC236}">
                    <a16:creationId xmlns:a16="http://schemas.microsoft.com/office/drawing/2014/main" id="{F2B042D6-E6B4-7D7A-D3D9-26377B4599CE}"/>
                  </a:ext>
                </a:extLst>
              </p:cNvPr>
              <p:cNvSpPr/>
              <p:nvPr/>
            </p:nvSpPr>
            <p:spPr>
              <a:xfrm rot="5400000">
                <a:off x="4387231" y="417045"/>
                <a:ext cx="1778001" cy="4988809"/>
              </a:xfrm>
              <a:prstGeom prst="round2SameRect">
                <a:avLst>
                  <a:gd name="adj1" fmla="val 3547"/>
                  <a:gd name="adj2" fmla="val 0"/>
                </a:avLst>
              </a:prstGeom>
              <a:solidFill>
                <a:schemeClr val="bg1"/>
              </a:solidFill>
              <a:ln w="6350">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grpSp>
        <p:pic>
          <p:nvPicPr>
            <p:cNvPr id="538" name="Picture 537" descr="A close-up of a diagram&#10;&#10;Description automatically generated">
              <a:extLst>
                <a:ext uri="{FF2B5EF4-FFF2-40B4-BE49-F238E27FC236}">
                  <a16:creationId xmlns:a16="http://schemas.microsoft.com/office/drawing/2014/main" id="{DF0503E1-3B24-1950-877E-67652EF70E0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96417" y="2235071"/>
              <a:ext cx="4352069" cy="1402567"/>
            </a:xfrm>
            <a:prstGeom prst="rect">
              <a:avLst/>
            </a:prstGeom>
          </p:spPr>
        </p:pic>
      </p:grpSp>
      <p:grpSp>
        <p:nvGrpSpPr>
          <p:cNvPr id="541" name="Group 540">
            <a:extLst>
              <a:ext uri="{FF2B5EF4-FFF2-40B4-BE49-F238E27FC236}">
                <a16:creationId xmlns:a16="http://schemas.microsoft.com/office/drawing/2014/main" id="{1672173F-72A1-F654-39A0-29FE915ACB0A}"/>
              </a:ext>
            </a:extLst>
          </p:cNvPr>
          <p:cNvGrpSpPr/>
          <p:nvPr/>
        </p:nvGrpSpPr>
        <p:grpSpPr>
          <a:xfrm>
            <a:off x="2806350" y="1041402"/>
            <a:ext cx="12734928" cy="2460624"/>
            <a:chOff x="1403175" y="520701"/>
            <a:chExt cx="6367464" cy="1230312"/>
          </a:xfrm>
        </p:grpSpPr>
        <p:grpSp>
          <p:nvGrpSpPr>
            <p:cNvPr id="542" name="Group 541">
              <a:extLst>
                <a:ext uri="{FF2B5EF4-FFF2-40B4-BE49-F238E27FC236}">
                  <a16:creationId xmlns:a16="http://schemas.microsoft.com/office/drawing/2014/main" id="{B2E07894-4733-8EAE-80A8-8CF2D4D9A5B9}"/>
                </a:ext>
              </a:extLst>
            </p:cNvPr>
            <p:cNvGrpSpPr/>
            <p:nvPr/>
          </p:nvGrpSpPr>
          <p:grpSpPr>
            <a:xfrm>
              <a:off x="1403175" y="520701"/>
              <a:ext cx="6367464" cy="1230312"/>
              <a:chOff x="1184275" y="520701"/>
              <a:chExt cx="6367464" cy="1230312"/>
            </a:xfrm>
          </p:grpSpPr>
          <p:sp>
            <p:nvSpPr>
              <p:cNvPr id="544" name="Rectangle: Rounded Corners 543">
                <a:extLst>
                  <a:ext uri="{FF2B5EF4-FFF2-40B4-BE49-F238E27FC236}">
                    <a16:creationId xmlns:a16="http://schemas.microsoft.com/office/drawing/2014/main" id="{CFECE990-2AA5-327F-0478-B16195EF206E}"/>
                  </a:ext>
                </a:extLst>
              </p:cNvPr>
              <p:cNvSpPr/>
              <p:nvPr/>
            </p:nvSpPr>
            <p:spPr>
              <a:xfrm>
                <a:off x="1184275" y="520701"/>
                <a:ext cx="6367464" cy="1230312"/>
              </a:xfrm>
              <a:prstGeom prst="roundRect">
                <a:avLst>
                  <a:gd name="adj" fmla="val 489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dirty="0">
                  <a:ln>
                    <a:noFill/>
                  </a:ln>
                  <a:solidFill>
                    <a:srgbClr val="FFFFFF"/>
                  </a:solidFill>
                  <a:effectLst/>
                  <a:uLnTx/>
                  <a:uFillTx/>
                  <a:latin typeface="Anova Light"/>
                  <a:ea typeface="+mn-ea"/>
                  <a:cs typeface="+mn-cs"/>
                </a:endParaRPr>
              </a:p>
            </p:txBody>
          </p:sp>
          <p:sp>
            <p:nvSpPr>
              <p:cNvPr id="545" name="Rectangle 544">
                <a:extLst>
                  <a:ext uri="{FF2B5EF4-FFF2-40B4-BE49-F238E27FC236}">
                    <a16:creationId xmlns:a16="http://schemas.microsoft.com/office/drawing/2014/main" id="{AD775968-6C32-42E1-F4F0-D9D96A151B69}"/>
                  </a:ext>
                </a:extLst>
              </p:cNvPr>
              <p:cNvSpPr/>
              <p:nvPr/>
            </p:nvSpPr>
            <p:spPr>
              <a:xfrm>
                <a:off x="1269281" y="807007"/>
                <a:ext cx="1355726" cy="649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solidFill>
                      <a:srgbClr val="FFFFFF"/>
                    </a:solidFill>
                    <a:effectLst/>
                    <a:uLnTx/>
                    <a:uFillTx/>
                    <a:latin typeface="Anova Bold" panose="020B0503020203020204" pitchFamily="34" charset="0"/>
                    <a:ea typeface="+mn-ea"/>
                    <a:cs typeface="+mn-cs"/>
                    <a:sym typeface="AvenirNextW1G-Demi"/>
                    <a:rtl val="0"/>
                  </a:rPr>
                  <a:t>SA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600" b="1" i="0" u="none" strike="noStrike" kern="1200" cap="none" spc="0" normalizeH="0" baseline="0" noProof="0">
                    <a:ln/>
                    <a:solidFill>
                      <a:srgbClr val="FFFFFF"/>
                    </a:solidFill>
                    <a:effectLst/>
                    <a:uLnTx/>
                    <a:uFillTx/>
                    <a:latin typeface="Anova Bold" panose="020B0503020203020204" pitchFamily="34" charset="0"/>
                    <a:ea typeface="+mn-ea"/>
                    <a:cs typeface="+mn-cs"/>
                    <a:sym typeface="AvenirNextW1G-Demi"/>
                    <a:rtl val="0"/>
                  </a:rPr>
                  <a:t>Solutions</a:t>
                </a:r>
              </a:p>
            </p:txBody>
          </p:sp>
          <p:sp>
            <p:nvSpPr>
              <p:cNvPr id="546" name="TextBox 545">
                <a:extLst>
                  <a:ext uri="{FF2B5EF4-FFF2-40B4-BE49-F238E27FC236}">
                    <a16:creationId xmlns:a16="http://schemas.microsoft.com/office/drawing/2014/main" id="{FC546E53-A8E8-E4DE-94CC-BC34D6072F39}"/>
                  </a:ext>
                </a:extLst>
              </p:cNvPr>
              <p:cNvSpPr txBox="1">
                <a:spLocks/>
              </p:cNvSpPr>
              <p:nvPr/>
            </p:nvSpPr>
            <p:spPr>
              <a:xfrm>
                <a:off x="2674249" y="1204021"/>
                <a:ext cx="1082674" cy="41046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Clinical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Innovation</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547" name="TextBox 546">
                <a:extLst>
                  <a:ext uri="{FF2B5EF4-FFF2-40B4-BE49-F238E27FC236}">
                    <a16:creationId xmlns:a16="http://schemas.microsoft.com/office/drawing/2014/main" id="{3120D842-2C27-3E03-6D72-90788CE0B1D3}"/>
                  </a:ext>
                </a:extLst>
              </p:cNvPr>
              <p:cNvSpPr txBox="1">
                <a:spLocks/>
              </p:cNvSpPr>
              <p:nvPr/>
            </p:nvSpPr>
            <p:spPr>
              <a:xfrm>
                <a:off x="3900347" y="1204021"/>
                <a:ext cx="1082674" cy="41046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Health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Outcomes</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sp>
            <p:nvSpPr>
              <p:cNvPr id="549" name="TextBox 548">
                <a:extLst>
                  <a:ext uri="{FF2B5EF4-FFF2-40B4-BE49-F238E27FC236}">
                    <a16:creationId xmlns:a16="http://schemas.microsoft.com/office/drawing/2014/main" id="{09F92C2B-94B3-151B-A21D-45E19B851B37}"/>
                  </a:ext>
                </a:extLst>
              </p:cNvPr>
              <p:cNvSpPr txBox="1">
                <a:spLocks/>
              </p:cNvSpPr>
              <p:nvPr/>
            </p:nvSpPr>
            <p:spPr>
              <a:xfrm>
                <a:off x="5121976" y="1196600"/>
                <a:ext cx="1082674" cy="410467"/>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32954"/>
                    </a:solidFill>
                    <a:effectLst/>
                    <a:uLnTx/>
                    <a:uFillTx/>
                    <a:latin typeface="Anova Light"/>
                    <a:ea typeface="+mn-ea"/>
                    <a:cs typeface="+mn-cs"/>
                  </a:rPr>
                  <a:t>Suppl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32954"/>
                    </a:solidFill>
                    <a:effectLst/>
                    <a:uLnTx/>
                    <a:uFillTx/>
                    <a:latin typeface="Anova Light"/>
                    <a:ea typeface="+mn-ea"/>
                    <a:cs typeface="+mn-cs"/>
                  </a:rPr>
                  <a:t>Chain</a:t>
                </a:r>
                <a:endParaRPr kumimoji="0" lang="en-GB" sz="2000" b="0" i="0" u="none" strike="noStrike" kern="1200" cap="none" spc="0" normalizeH="0" baseline="0" noProof="0" dirty="0">
                  <a:ln>
                    <a:noFill/>
                  </a:ln>
                  <a:solidFill>
                    <a:srgbClr val="032954"/>
                  </a:solidFill>
                  <a:effectLst/>
                  <a:uLnTx/>
                  <a:uFillTx/>
                  <a:latin typeface="Anova Light"/>
                  <a:ea typeface="+mn-ea"/>
                  <a:cs typeface="+mn-cs"/>
                </a:endParaRPr>
              </a:p>
            </p:txBody>
          </p:sp>
          <p:sp>
            <p:nvSpPr>
              <p:cNvPr id="550" name="TextBox 549">
                <a:extLst>
                  <a:ext uri="{FF2B5EF4-FFF2-40B4-BE49-F238E27FC236}">
                    <a16:creationId xmlns:a16="http://schemas.microsoft.com/office/drawing/2014/main" id="{6F08BB07-D7B6-4382-D297-049EE2E77C9D}"/>
                  </a:ext>
                </a:extLst>
              </p:cNvPr>
              <p:cNvSpPr txBox="1">
                <a:spLocks/>
              </p:cNvSpPr>
              <p:nvPr/>
            </p:nvSpPr>
            <p:spPr>
              <a:xfrm>
                <a:off x="2676526" y="657225"/>
                <a:ext cx="1082674" cy="410466"/>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nova Light"/>
                    <a:ea typeface="+mn-ea"/>
                    <a:cs typeface="+mn-cs"/>
                  </a:rPr>
                  <a:t>Fraud &amp; Security</a:t>
                </a:r>
                <a:br>
                  <a:rPr kumimoji="0" lang="en-US" sz="2000" b="0" i="0" u="none" strike="noStrike" kern="1200" cap="none" spc="0" normalizeH="0" baseline="0" noProof="0">
                    <a:ln>
                      <a:noFill/>
                    </a:ln>
                    <a:solidFill>
                      <a:srgbClr val="FFFFFF"/>
                    </a:solidFill>
                    <a:effectLst/>
                    <a:uLnTx/>
                    <a:uFillTx/>
                    <a:latin typeface="Anova Light"/>
                    <a:ea typeface="+mn-ea"/>
                    <a:cs typeface="+mn-cs"/>
                  </a:rPr>
                </a:br>
                <a:r>
                  <a:rPr kumimoji="0" lang="en-US" sz="2000" b="0" i="0" u="none" strike="noStrike" kern="1200" cap="none" spc="0" normalizeH="0" baseline="0" noProof="0">
                    <a:ln>
                      <a:noFill/>
                    </a:ln>
                    <a:solidFill>
                      <a:srgbClr val="FFFFFF"/>
                    </a:solidFill>
                    <a:effectLst/>
                    <a:uLnTx/>
                    <a:uFillTx/>
                    <a:latin typeface="Anova Light"/>
                    <a:ea typeface="+mn-ea"/>
                    <a:cs typeface="+mn-cs"/>
                  </a:rPr>
                  <a:t>Intelligence</a:t>
                </a:r>
                <a:endParaRPr kumimoji="0" lang="en-GB" sz="2000" b="0" i="0" u="none" strike="noStrike" kern="1200" cap="none" spc="0" normalizeH="0" baseline="0" noProof="0">
                  <a:ln>
                    <a:noFill/>
                  </a:ln>
                  <a:solidFill>
                    <a:srgbClr val="FFFFFF"/>
                  </a:solidFill>
                  <a:effectLst/>
                  <a:uLnTx/>
                  <a:uFillTx/>
                  <a:latin typeface="Anova Light"/>
                  <a:ea typeface="+mn-ea"/>
                  <a:cs typeface="+mn-cs"/>
                </a:endParaRPr>
              </a:p>
            </p:txBody>
          </p:sp>
          <p:sp>
            <p:nvSpPr>
              <p:cNvPr id="551" name="TextBox 550">
                <a:extLst>
                  <a:ext uri="{FF2B5EF4-FFF2-40B4-BE49-F238E27FC236}">
                    <a16:creationId xmlns:a16="http://schemas.microsoft.com/office/drawing/2014/main" id="{B8C7BE32-70D5-1551-9C19-9B858F832925}"/>
                  </a:ext>
                </a:extLst>
              </p:cNvPr>
              <p:cNvSpPr txBox="1">
                <a:spLocks/>
              </p:cNvSpPr>
              <p:nvPr/>
            </p:nvSpPr>
            <p:spPr>
              <a:xfrm>
                <a:off x="3902624" y="657225"/>
                <a:ext cx="1082674" cy="410466"/>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nova Light"/>
                    <a:ea typeface="+mn-ea"/>
                    <a:cs typeface="+mn-cs"/>
                  </a:rPr>
                  <a:t>Ris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nova Light"/>
                    <a:ea typeface="+mn-ea"/>
                    <a:cs typeface="+mn-cs"/>
                  </a:rPr>
                  <a:t>Management</a:t>
                </a:r>
                <a:endParaRPr kumimoji="0" lang="en-GB" sz="2000" b="0" i="0" u="none" strike="noStrike" kern="1200" cap="none" spc="0" normalizeH="0" baseline="0" noProof="0">
                  <a:ln>
                    <a:noFill/>
                  </a:ln>
                  <a:solidFill>
                    <a:srgbClr val="FFFFFF"/>
                  </a:solidFill>
                  <a:effectLst/>
                  <a:uLnTx/>
                  <a:uFillTx/>
                  <a:latin typeface="Anova Light"/>
                  <a:ea typeface="+mn-ea"/>
                  <a:cs typeface="+mn-cs"/>
                </a:endParaRPr>
              </a:p>
            </p:txBody>
          </p:sp>
          <p:sp>
            <p:nvSpPr>
              <p:cNvPr id="552" name="TextBox 551">
                <a:extLst>
                  <a:ext uri="{FF2B5EF4-FFF2-40B4-BE49-F238E27FC236}">
                    <a16:creationId xmlns:a16="http://schemas.microsoft.com/office/drawing/2014/main" id="{69C4ABD5-721F-9860-8835-C5F726DFD3B1}"/>
                  </a:ext>
                </a:extLst>
              </p:cNvPr>
              <p:cNvSpPr txBox="1">
                <a:spLocks/>
              </p:cNvSpPr>
              <p:nvPr/>
            </p:nvSpPr>
            <p:spPr>
              <a:xfrm>
                <a:off x="5119442" y="657225"/>
                <a:ext cx="1082674" cy="410466"/>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nova Light"/>
                    <a:ea typeface="+mn-ea"/>
                    <a:cs typeface="+mn-cs"/>
                  </a:rPr>
                  <a:t>Custom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Anova Light"/>
                    <a:ea typeface="+mn-ea"/>
                    <a:cs typeface="+mn-cs"/>
                  </a:rPr>
                  <a:t>Intelligence</a:t>
                </a:r>
                <a:endParaRPr kumimoji="0" lang="en-GB" sz="2000" b="0" i="0" u="none" strike="noStrike" kern="1200" cap="none" spc="0" normalizeH="0" baseline="0" noProof="0">
                  <a:ln>
                    <a:noFill/>
                  </a:ln>
                  <a:solidFill>
                    <a:srgbClr val="FFFFFF"/>
                  </a:solidFill>
                  <a:effectLst/>
                  <a:uLnTx/>
                  <a:uFillTx/>
                  <a:latin typeface="Anova Light"/>
                  <a:ea typeface="+mn-ea"/>
                  <a:cs typeface="+mn-cs"/>
                </a:endParaRPr>
              </a:p>
            </p:txBody>
          </p:sp>
          <p:sp>
            <p:nvSpPr>
              <p:cNvPr id="553" name="TextBox 552">
                <a:extLst>
                  <a:ext uri="{FF2B5EF4-FFF2-40B4-BE49-F238E27FC236}">
                    <a16:creationId xmlns:a16="http://schemas.microsoft.com/office/drawing/2014/main" id="{B4815C7E-D1DD-1AB0-3E1C-CEA2611AA7B5}"/>
                  </a:ext>
                </a:extLst>
              </p:cNvPr>
              <p:cNvSpPr txBox="1">
                <a:spLocks/>
              </p:cNvSpPr>
              <p:nvPr/>
            </p:nvSpPr>
            <p:spPr>
              <a:xfrm>
                <a:off x="6333815" y="657225"/>
                <a:ext cx="1082674" cy="410466"/>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32954"/>
                    </a:solidFill>
                    <a:effectLst/>
                    <a:uLnTx/>
                    <a:uFillTx/>
                    <a:latin typeface="Anova Light"/>
                    <a:ea typeface="+mn-ea"/>
                    <a:cs typeface="+mn-cs"/>
                  </a:rPr>
                  <a:t>IoT</a:t>
                </a:r>
                <a:endParaRPr kumimoji="0" lang="en-GB" sz="2000" b="0" i="0" u="none" strike="noStrike" kern="1200" cap="none" spc="0" normalizeH="0" baseline="0" noProof="0">
                  <a:ln>
                    <a:noFill/>
                  </a:ln>
                  <a:solidFill>
                    <a:srgbClr val="032954"/>
                  </a:solidFill>
                  <a:effectLst/>
                  <a:uLnTx/>
                  <a:uFillTx/>
                  <a:latin typeface="Anova Light"/>
                  <a:ea typeface="+mn-ea"/>
                  <a:cs typeface="+mn-cs"/>
                </a:endParaRPr>
              </a:p>
            </p:txBody>
          </p:sp>
        </p:grpSp>
        <p:cxnSp>
          <p:nvCxnSpPr>
            <p:cNvPr id="543" name="Straight Connector 542">
              <a:extLst>
                <a:ext uri="{FF2B5EF4-FFF2-40B4-BE49-F238E27FC236}">
                  <a16:creationId xmlns:a16="http://schemas.microsoft.com/office/drawing/2014/main" id="{EF933143-5756-70DF-D5C2-4698784E946A}"/>
                </a:ext>
              </a:extLst>
            </p:cNvPr>
            <p:cNvCxnSpPr/>
            <p:nvPr/>
          </p:nvCxnSpPr>
          <p:spPr>
            <a:xfrm>
              <a:off x="2763959" y="657225"/>
              <a:ext cx="0" cy="955774"/>
            </a:xfrm>
            <a:prstGeom prst="line">
              <a:avLst/>
            </a:prstGeom>
            <a:ln w="6350">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nvGrpSpPr>
          <p:cNvPr id="554" name="Group 553">
            <a:extLst>
              <a:ext uri="{FF2B5EF4-FFF2-40B4-BE49-F238E27FC236}">
                <a16:creationId xmlns:a16="http://schemas.microsoft.com/office/drawing/2014/main" id="{B1F21A2F-FD04-B400-5D1D-30FC924E6E90}"/>
              </a:ext>
            </a:extLst>
          </p:cNvPr>
          <p:cNvGrpSpPr/>
          <p:nvPr/>
        </p:nvGrpSpPr>
        <p:grpSpPr>
          <a:xfrm>
            <a:off x="2806353" y="8150229"/>
            <a:ext cx="12755886" cy="1095372"/>
            <a:chOff x="1403175" y="4075113"/>
            <a:chExt cx="6377943" cy="547686"/>
          </a:xfrm>
        </p:grpSpPr>
        <p:sp>
          <p:nvSpPr>
            <p:cNvPr id="555" name="Rectangle: Rounded Corners 554">
              <a:extLst>
                <a:ext uri="{FF2B5EF4-FFF2-40B4-BE49-F238E27FC236}">
                  <a16:creationId xmlns:a16="http://schemas.microsoft.com/office/drawing/2014/main" id="{A101126B-099E-C0E8-C799-F190B8DA9F3F}"/>
                </a:ext>
              </a:extLst>
            </p:cNvPr>
            <p:cNvSpPr/>
            <p:nvPr/>
          </p:nvSpPr>
          <p:spPr>
            <a:xfrm>
              <a:off x="1403175" y="4075113"/>
              <a:ext cx="6377943" cy="547686"/>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1" i="0" u="none" strike="noStrike" kern="1200" cap="none" spc="0" normalizeH="0" baseline="0" noProof="0">
                <a:ln/>
                <a:solidFill>
                  <a:srgbClr val="FFFFFF"/>
                </a:solidFill>
                <a:effectLst/>
                <a:uLnTx/>
                <a:uFillTx/>
                <a:latin typeface="Anova Bold" panose="020B0503020203020204" pitchFamily="34" charset="0"/>
                <a:ea typeface="+mn-ea"/>
                <a:cs typeface="+mn-cs"/>
                <a:sym typeface="AvenirNextW1G-Demi"/>
                <a:rtl val="0"/>
              </a:endParaRPr>
            </a:p>
          </p:txBody>
        </p:sp>
        <p:pic>
          <p:nvPicPr>
            <p:cNvPr id="556" name="Picture 555" descr="A logo with a smile&#10;&#10;Description automatically generated">
              <a:extLst>
                <a:ext uri="{FF2B5EF4-FFF2-40B4-BE49-F238E27FC236}">
                  <a16:creationId xmlns:a16="http://schemas.microsoft.com/office/drawing/2014/main" id="{A11D5D95-84C9-8A0F-2B19-20F9083AF2F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535972" y="4227188"/>
              <a:ext cx="455974" cy="273050"/>
            </a:xfrm>
            <a:prstGeom prst="rect">
              <a:avLst/>
            </a:prstGeom>
          </p:spPr>
        </p:pic>
        <p:pic>
          <p:nvPicPr>
            <p:cNvPr id="557" name="Picture 556" descr="A black background with a black square&#10;&#10;Description automatically generated with medium confidence">
              <a:extLst>
                <a:ext uri="{FF2B5EF4-FFF2-40B4-BE49-F238E27FC236}">
                  <a16:creationId xmlns:a16="http://schemas.microsoft.com/office/drawing/2014/main" id="{DB3FD46A-A33A-2C43-1A5F-21A570AFAA4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403459" y="4209551"/>
              <a:ext cx="907951" cy="308325"/>
            </a:xfrm>
            <a:prstGeom prst="rect">
              <a:avLst/>
            </a:prstGeom>
          </p:spPr>
        </p:pic>
        <p:pic>
          <p:nvPicPr>
            <p:cNvPr id="558" name="Graphic 557">
              <a:extLst>
                <a:ext uri="{FF2B5EF4-FFF2-40B4-BE49-F238E27FC236}">
                  <a16:creationId xmlns:a16="http://schemas.microsoft.com/office/drawing/2014/main" id="{F90EAEDC-413F-E9ED-9075-36FE8CA7BF1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29906" y="4211962"/>
              <a:ext cx="545912" cy="288262"/>
            </a:xfrm>
            <a:prstGeom prst="rect">
              <a:avLst/>
            </a:prstGeom>
          </p:spPr>
        </p:pic>
        <p:pic>
          <p:nvPicPr>
            <p:cNvPr id="559" name="Picture 558" descr="A blue logo with a black background&#10;&#10;Description automatically generated">
              <a:extLst>
                <a:ext uri="{FF2B5EF4-FFF2-40B4-BE49-F238E27FC236}">
                  <a16:creationId xmlns:a16="http://schemas.microsoft.com/office/drawing/2014/main" id="{CCD78137-FBF2-D8FD-FB09-0F679854D987}"/>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657183" y="4191000"/>
              <a:ext cx="320841" cy="320841"/>
            </a:xfrm>
            <a:prstGeom prst="rect">
              <a:avLst/>
            </a:prstGeom>
          </p:spPr>
        </p:pic>
        <p:pic>
          <p:nvPicPr>
            <p:cNvPr id="560" name="Picture 559" descr="A rainbow colored cloud with black background&#10;&#10;Description automatically generated">
              <a:extLst>
                <a:ext uri="{FF2B5EF4-FFF2-40B4-BE49-F238E27FC236}">
                  <a16:creationId xmlns:a16="http://schemas.microsoft.com/office/drawing/2014/main" id="{9EF020E4-CC23-302C-87B6-2456D843142B}"/>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3509806" y="4168197"/>
              <a:ext cx="375157" cy="375157"/>
            </a:xfrm>
            <a:prstGeom prst="rect">
              <a:avLst/>
            </a:prstGeom>
          </p:spPr>
        </p:pic>
        <p:grpSp>
          <p:nvGrpSpPr>
            <p:cNvPr id="561" name="Group 560">
              <a:extLst>
                <a:ext uri="{FF2B5EF4-FFF2-40B4-BE49-F238E27FC236}">
                  <a16:creationId xmlns:a16="http://schemas.microsoft.com/office/drawing/2014/main" id="{972B2F4A-2A55-4C34-2276-DC4C5819CCAF}"/>
                </a:ext>
              </a:extLst>
            </p:cNvPr>
            <p:cNvGrpSpPr/>
            <p:nvPr/>
          </p:nvGrpSpPr>
          <p:grpSpPr>
            <a:xfrm>
              <a:off x="6894314" y="4203801"/>
              <a:ext cx="744293" cy="311757"/>
              <a:chOff x="6017266" y="4205683"/>
              <a:chExt cx="744293" cy="311757"/>
            </a:xfrm>
          </p:grpSpPr>
          <p:sp>
            <p:nvSpPr>
              <p:cNvPr id="562" name="TextBox 561">
                <a:extLst>
                  <a:ext uri="{FF2B5EF4-FFF2-40B4-BE49-F238E27FC236}">
                    <a16:creationId xmlns:a16="http://schemas.microsoft.com/office/drawing/2014/main" id="{DBF0A084-59FB-2B48-079D-8E2B2143FA9C}"/>
                  </a:ext>
                </a:extLst>
              </p:cNvPr>
              <p:cNvSpPr txBox="1"/>
              <p:nvPr/>
            </p:nvSpPr>
            <p:spPr>
              <a:xfrm>
                <a:off x="6017266" y="4348163"/>
                <a:ext cx="744293" cy="169277"/>
              </a:xfrm>
              <a:prstGeom prst="rect">
                <a:avLst/>
              </a:prstGeom>
              <a:noFill/>
            </p:spPr>
            <p:txBody>
              <a:bodyPr wrap="square" rtlCol="0">
                <a:spAutoFit/>
              </a:bodyPr>
              <a:lstStyle/>
              <a:p>
                <a:pPr marL="0" marR="0" lvl="0" indent="0" algn="l" defTabSz="137167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032954"/>
                    </a:solidFill>
                    <a:effectLst/>
                    <a:uLnTx/>
                    <a:uFillTx/>
                    <a:latin typeface="Anova Light"/>
                    <a:ea typeface="+mn-ea"/>
                    <a:cs typeface="+mn-cs"/>
                  </a:rPr>
                  <a:t>On-Premise</a:t>
                </a:r>
              </a:p>
            </p:txBody>
          </p:sp>
          <p:grpSp>
            <p:nvGrpSpPr>
              <p:cNvPr id="563" name="Group 562">
                <a:extLst>
                  <a:ext uri="{FF2B5EF4-FFF2-40B4-BE49-F238E27FC236}">
                    <a16:creationId xmlns:a16="http://schemas.microsoft.com/office/drawing/2014/main" id="{1EE11892-7181-825C-A92E-7EE5262E68B1}"/>
                  </a:ext>
                </a:extLst>
              </p:cNvPr>
              <p:cNvGrpSpPr/>
              <p:nvPr/>
            </p:nvGrpSpPr>
            <p:grpSpPr>
              <a:xfrm>
                <a:off x="6227204" y="4205683"/>
                <a:ext cx="324417" cy="177866"/>
                <a:chOff x="5250502" y="3003441"/>
                <a:chExt cx="540698" cy="296445"/>
              </a:xfrm>
            </p:grpSpPr>
            <p:sp>
              <p:nvSpPr>
                <p:cNvPr id="564" name="Rectangle: Rounded Corners 563">
                  <a:extLst>
                    <a:ext uri="{FF2B5EF4-FFF2-40B4-BE49-F238E27FC236}">
                      <a16:creationId xmlns:a16="http://schemas.microsoft.com/office/drawing/2014/main" id="{59D0AC07-CA56-B8DA-0FAD-C5F3024328F7}"/>
                    </a:ext>
                  </a:extLst>
                </p:cNvPr>
                <p:cNvSpPr/>
                <p:nvPr/>
              </p:nvSpPr>
              <p:spPr>
                <a:xfrm>
                  <a:off x="5295900" y="3048845"/>
                  <a:ext cx="234950"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65" name="Rectangle: Rounded Corners 564">
                  <a:extLst>
                    <a:ext uri="{FF2B5EF4-FFF2-40B4-BE49-F238E27FC236}">
                      <a16:creationId xmlns:a16="http://schemas.microsoft.com/office/drawing/2014/main" id="{2B3778BF-C3C4-F22D-0A06-04D8FEA4183C}"/>
                    </a:ext>
                  </a:extLst>
                </p:cNvPr>
                <p:cNvSpPr/>
                <p:nvPr/>
              </p:nvSpPr>
              <p:spPr>
                <a:xfrm>
                  <a:off x="5295900" y="3208656"/>
                  <a:ext cx="234950" cy="45719"/>
                </a:xfrm>
                <a:prstGeom prst="roundRect">
                  <a:avLst>
                    <a:gd name="adj" fmla="val 5000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66" name="Oval 565">
                  <a:extLst>
                    <a:ext uri="{FF2B5EF4-FFF2-40B4-BE49-F238E27FC236}">
                      <a16:creationId xmlns:a16="http://schemas.microsoft.com/office/drawing/2014/main" id="{3AB94E3D-DDFC-570F-4B8D-997BAC5C3B77}"/>
                    </a:ext>
                  </a:extLst>
                </p:cNvPr>
                <p:cNvSpPr/>
                <p:nvPr/>
              </p:nvSpPr>
              <p:spPr>
                <a:xfrm>
                  <a:off x="5615702" y="3048845"/>
                  <a:ext cx="45719" cy="457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67" name="Oval 566">
                  <a:extLst>
                    <a:ext uri="{FF2B5EF4-FFF2-40B4-BE49-F238E27FC236}">
                      <a16:creationId xmlns:a16="http://schemas.microsoft.com/office/drawing/2014/main" id="{2A156C9A-B8C2-D7DF-F20F-29AE51527D7B}"/>
                    </a:ext>
                  </a:extLst>
                </p:cNvPr>
                <p:cNvSpPr/>
                <p:nvPr/>
              </p:nvSpPr>
              <p:spPr>
                <a:xfrm>
                  <a:off x="5693489" y="3048845"/>
                  <a:ext cx="45719" cy="457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68" name="Oval 567">
                  <a:extLst>
                    <a:ext uri="{FF2B5EF4-FFF2-40B4-BE49-F238E27FC236}">
                      <a16:creationId xmlns:a16="http://schemas.microsoft.com/office/drawing/2014/main" id="{6E98B94D-13CF-8EED-C823-9C4A5770A3FF}"/>
                    </a:ext>
                  </a:extLst>
                </p:cNvPr>
                <p:cNvSpPr/>
                <p:nvPr/>
              </p:nvSpPr>
              <p:spPr>
                <a:xfrm>
                  <a:off x="5615702" y="3208229"/>
                  <a:ext cx="45719" cy="457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69" name="Oval 568">
                  <a:extLst>
                    <a:ext uri="{FF2B5EF4-FFF2-40B4-BE49-F238E27FC236}">
                      <a16:creationId xmlns:a16="http://schemas.microsoft.com/office/drawing/2014/main" id="{7E2077EC-D4C0-B9C4-3A0D-110245C1A8FD}"/>
                    </a:ext>
                  </a:extLst>
                </p:cNvPr>
                <p:cNvSpPr/>
                <p:nvPr/>
              </p:nvSpPr>
              <p:spPr>
                <a:xfrm>
                  <a:off x="5693489" y="3208229"/>
                  <a:ext cx="45719" cy="4571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70" name="Rectangle: Rounded Corners 569">
                  <a:extLst>
                    <a:ext uri="{FF2B5EF4-FFF2-40B4-BE49-F238E27FC236}">
                      <a16:creationId xmlns:a16="http://schemas.microsoft.com/office/drawing/2014/main" id="{03C09862-94D3-2E35-40A3-D28880E18A8B}"/>
                    </a:ext>
                  </a:extLst>
                </p:cNvPr>
                <p:cNvSpPr/>
                <p:nvPr/>
              </p:nvSpPr>
              <p:spPr>
                <a:xfrm>
                  <a:off x="5250502" y="3003441"/>
                  <a:ext cx="540698" cy="136525"/>
                </a:xfrm>
                <a:prstGeom prst="roundRect">
                  <a:avLst>
                    <a:gd name="adj" fmla="val 22966"/>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71" name="Rectangle: Rounded Corners 570">
                  <a:extLst>
                    <a:ext uri="{FF2B5EF4-FFF2-40B4-BE49-F238E27FC236}">
                      <a16:creationId xmlns:a16="http://schemas.microsoft.com/office/drawing/2014/main" id="{660276EF-9D16-533C-2B3B-1C2542869113}"/>
                    </a:ext>
                  </a:extLst>
                </p:cNvPr>
                <p:cNvSpPr/>
                <p:nvPr/>
              </p:nvSpPr>
              <p:spPr>
                <a:xfrm>
                  <a:off x="5250502" y="3163361"/>
                  <a:ext cx="540698" cy="136525"/>
                </a:xfrm>
                <a:prstGeom prst="roundRect">
                  <a:avLst>
                    <a:gd name="adj" fmla="val 22966"/>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grpSp>
        </p:grpSp>
      </p:grpSp>
      <p:pic>
        <p:nvPicPr>
          <p:cNvPr id="572" name="Graphic 571">
            <a:extLst>
              <a:ext uri="{FF2B5EF4-FFF2-40B4-BE49-F238E27FC236}">
                <a16:creationId xmlns:a16="http://schemas.microsoft.com/office/drawing/2014/main" id="{558E818C-4E79-2E0C-7E4C-3A245A2591CD}"/>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3077337" y="5599068"/>
            <a:ext cx="2215478" cy="544936"/>
          </a:xfrm>
          <a:prstGeom prst="rect">
            <a:avLst/>
          </a:prstGeom>
        </p:spPr>
      </p:pic>
      <p:grpSp>
        <p:nvGrpSpPr>
          <p:cNvPr id="573" name="Group 572">
            <a:extLst>
              <a:ext uri="{FF2B5EF4-FFF2-40B4-BE49-F238E27FC236}">
                <a16:creationId xmlns:a16="http://schemas.microsoft.com/office/drawing/2014/main" id="{75636614-8885-7C2C-6FBE-8C3B048000F9}"/>
              </a:ext>
            </a:extLst>
          </p:cNvPr>
          <p:cNvGrpSpPr/>
          <p:nvPr/>
        </p:nvGrpSpPr>
        <p:grpSpPr>
          <a:xfrm>
            <a:off x="3347327" y="7600900"/>
            <a:ext cx="11651006" cy="552536"/>
            <a:chOff x="1454762" y="1755705"/>
            <a:chExt cx="5825503" cy="276268"/>
          </a:xfrm>
        </p:grpSpPr>
        <p:cxnSp>
          <p:nvCxnSpPr>
            <p:cNvPr id="574" name="Straight Connector 573">
              <a:extLst>
                <a:ext uri="{FF2B5EF4-FFF2-40B4-BE49-F238E27FC236}">
                  <a16:creationId xmlns:a16="http://schemas.microsoft.com/office/drawing/2014/main" id="{9C1F1948-A8E5-F0B9-6658-6E8FE3E9B9D6}"/>
                </a:ext>
              </a:extLst>
            </p:cNvPr>
            <p:cNvCxnSpPr>
              <a:cxnSpLocks/>
            </p:cNvCxnSpPr>
            <p:nvPr/>
          </p:nvCxnSpPr>
          <p:spPr>
            <a:xfrm>
              <a:off x="2946400"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75" name="Straight Connector 574">
              <a:extLst>
                <a:ext uri="{FF2B5EF4-FFF2-40B4-BE49-F238E27FC236}">
                  <a16:creationId xmlns:a16="http://schemas.microsoft.com/office/drawing/2014/main" id="{5D00B143-031E-883E-B52F-E3E9203CC233}"/>
                </a:ext>
              </a:extLst>
            </p:cNvPr>
            <p:cNvCxnSpPr>
              <a:cxnSpLocks/>
            </p:cNvCxnSpPr>
            <p:nvPr/>
          </p:nvCxnSpPr>
          <p:spPr>
            <a:xfrm>
              <a:off x="3756923"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76" name="Straight Connector 575">
              <a:extLst>
                <a:ext uri="{FF2B5EF4-FFF2-40B4-BE49-F238E27FC236}">
                  <a16:creationId xmlns:a16="http://schemas.microsoft.com/office/drawing/2014/main" id="{2850C041-AB47-A4C1-8432-4FDED7877BB1}"/>
                </a:ext>
              </a:extLst>
            </p:cNvPr>
            <p:cNvCxnSpPr>
              <a:cxnSpLocks/>
            </p:cNvCxnSpPr>
            <p:nvPr/>
          </p:nvCxnSpPr>
          <p:spPr>
            <a:xfrm>
              <a:off x="4032232"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77" name="Straight Connector 576">
              <a:extLst>
                <a:ext uri="{FF2B5EF4-FFF2-40B4-BE49-F238E27FC236}">
                  <a16:creationId xmlns:a16="http://schemas.microsoft.com/office/drawing/2014/main" id="{FD5D5425-9884-4D80-3B28-7A6D082F4BFB}"/>
                </a:ext>
              </a:extLst>
            </p:cNvPr>
            <p:cNvCxnSpPr>
              <a:cxnSpLocks/>
            </p:cNvCxnSpPr>
            <p:nvPr/>
          </p:nvCxnSpPr>
          <p:spPr>
            <a:xfrm>
              <a:off x="4706938" y="1757310"/>
              <a:ext cx="0" cy="274663"/>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78" name="Straight Connector 577">
              <a:extLst>
                <a:ext uri="{FF2B5EF4-FFF2-40B4-BE49-F238E27FC236}">
                  <a16:creationId xmlns:a16="http://schemas.microsoft.com/office/drawing/2014/main" id="{163119E2-2C6B-6F66-9DFC-F859DE3A893C}"/>
                </a:ext>
              </a:extLst>
            </p:cNvPr>
            <p:cNvCxnSpPr>
              <a:cxnSpLocks/>
            </p:cNvCxnSpPr>
            <p:nvPr/>
          </p:nvCxnSpPr>
          <p:spPr>
            <a:xfrm>
              <a:off x="5165900"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79" name="Straight Connector 578">
              <a:extLst>
                <a:ext uri="{FF2B5EF4-FFF2-40B4-BE49-F238E27FC236}">
                  <a16:creationId xmlns:a16="http://schemas.microsoft.com/office/drawing/2014/main" id="{7BDB75B7-9869-3D8B-1DEC-003D3A8D4FAE}"/>
                </a:ext>
              </a:extLst>
            </p:cNvPr>
            <p:cNvCxnSpPr>
              <a:cxnSpLocks/>
            </p:cNvCxnSpPr>
            <p:nvPr/>
          </p:nvCxnSpPr>
          <p:spPr>
            <a:xfrm>
              <a:off x="5658502"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0" name="Straight Connector 579">
              <a:extLst>
                <a:ext uri="{FF2B5EF4-FFF2-40B4-BE49-F238E27FC236}">
                  <a16:creationId xmlns:a16="http://schemas.microsoft.com/office/drawing/2014/main" id="{BC4EC55D-8AAE-1064-B0AE-B6A66B731FD1}"/>
                </a:ext>
              </a:extLst>
            </p:cNvPr>
            <p:cNvCxnSpPr>
              <a:cxnSpLocks/>
            </p:cNvCxnSpPr>
            <p:nvPr/>
          </p:nvCxnSpPr>
          <p:spPr>
            <a:xfrm>
              <a:off x="5926138"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1" name="Straight Connector 580">
              <a:extLst>
                <a:ext uri="{FF2B5EF4-FFF2-40B4-BE49-F238E27FC236}">
                  <a16:creationId xmlns:a16="http://schemas.microsoft.com/office/drawing/2014/main" id="{2E17C256-EF06-1808-0AA5-41BAC8208C18}"/>
                </a:ext>
              </a:extLst>
            </p:cNvPr>
            <p:cNvCxnSpPr>
              <a:cxnSpLocks/>
            </p:cNvCxnSpPr>
            <p:nvPr/>
          </p:nvCxnSpPr>
          <p:spPr>
            <a:xfrm>
              <a:off x="6743052"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2" name="Straight Connector 581">
              <a:extLst>
                <a:ext uri="{FF2B5EF4-FFF2-40B4-BE49-F238E27FC236}">
                  <a16:creationId xmlns:a16="http://schemas.microsoft.com/office/drawing/2014/main" id="{949834BE-8926-F8A3-CE59-C1F8744B3476}"/>
                </a:ext>
              </a:extLst>
            </p:cNvPr>
            <p:cNvCxnSpPr>
              <a:cxnSpLocks/>
            </p:cNvCxnSpPr>
            <p:nvPr/>
          </p:nvCxnSpPr>
          <p:spPr>
            <a:xfrm>
              <a:off x="7280265"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3" name="Straight Connector 582">
              <a:extLst>
                <a:ext uri="{FF2B5EF4-FFF2-40B4-BE49-F238E27FC236}">
                  <a16:creationId xmlns:a16="http://schemas.microsoft.com/office/drawing/2014/main" id="{84F4E670-B338-9821-3886-F4B4E55BE482}"/>
                </a:ext>
              </a:extLst>
            </p:cNvPr>
            <p:cNvCxnSpPr>
              <a:cxnSpLocks/>
            </p:cNvCxnSpPr>
            <p:nvPr/>
          </p:nvCxnSpPr>
          <p:spPr>
            <a:xfrm>
              <a:off x="1454762"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4" name="Straight Connector 583">
              <a:extLst>
                <a:ext uri="{FF2B5EF4-FFF2-40B4-BE49-F238E27FC236}">
                  <a16:creationId xmlns:a16="http://schemas.microsoft.com/office/drawing/2014/main" id="{B92240EB-1F32-1C74-8996-E4134BAA566B}"/>
                </a:ext>
              </a:extLst>
            </p:cNvPr>
            <p:cNvCxnSpPr>
              <a:cxnSpLocks/>
            </p:cNvCxnSpPr>
            <p:nvPr/>
          </p:nvCxnSpPr>
          <p:spPr>
            <a:xfrm>
              <a:off x="1984353"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5" name="Straight Connector 584">
              <a:extLst>
                <a:ext uri="{FF2B5EF4-FFF2-40B4-BE49-F238E27FC236}">
                  <a16:creationId xmlns:a16="http://schemas.microsoft.com/office/drawing/2014/main" id="{AC0BC609-FE16-BB57-63BE-9C4480CCAD0D}"/>
                </a:ext>
              </a:extLst>
            </p:cNvPr>
            <p:cNvCxnSpPr>
              <a:cxnSpLocks/>
            </p:cNvCxnSpPr>
            <p:nvPr/>
          </p:nvCxnSpPr>
          <p:spPr>
            <a:xfrm>
              <a:off x="2802586"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6" name="Straight Connector 585">
              <a:extLst>
                <a:ext uri="{FF2B5EF4-FFF2-40B4-BE49-F238E27FC236}">
                  <a16:creationId xmlns:a16="http://schemas.microsoft.com/office/drawing/2014/main" id="{045E7232-0343-9085-32D3-E4D637DADB5F}"/>
                </a:ext>
              </a:extLst>
            </p:cNvPr>
            <p:cNvCxnSpPr>
              <a:cxnSpLocks/>
            </p:cNvCxnSpPr>
            <p:nvPr/>
          </p:nvCxnSpPr>
          <p:spPr>
            <a:xfrm>
              <a:off x="2268538"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7" name="Straight Connector 586">
              <a:extLst>
                <a:ext uri="{FF2B5EF4-FFF2-40B4-BE49-F238E27FC236}">
                  <a16:creationId xmlns:a16="http://schemas.microsoft.com/office/drawing/2014/main" id="{EFFDADAD-E8F0-2B6C-6753-F0DC94A40AC8}"/>
                </a:ext>
              </a:extLst>
            </p:cNvPr>
            <p:cNvCxnSpPr>
              <a:cxnSpLocks/>
            </p:cNvCxnSpPr>
            <p:nvPr/>
          </p:nvCxnSpPr>
          <p:spPr>
            <a:xfrm>
              <a:off x="6596064"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588" name="Straight Connector 587">
              <a:extLst>
                <a:ext uri="{FF2B5EF4-FFF2-40B4-BE49-F238E27FC236}">
                  <a16:creationId xmlns:a16="http://schemas.microsoft.com/office/drawing/2014/main" id="{1D802FD4-7B70-9E4A-9801-83A42C4FC783}"/>
                </a:ext>
              </a:extLst>
            </p:cNvPr>
            <p:cNvCxnSpPr>
              <a:cxnSpLocks/>
            </p:cNvCxnSpPr>
            <p:nvPr/>
          </p:nvCxnSpPr>
          <p:spPr>
            <a:xfrm>
              <a:off x="7145338"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grpSp>
      <p:sp>
        <p:nvSpPr>
          <p:cNvPr id="589" name="Oval 588">
            <a:extLst>
              <a:ext uri="{FF2B5EF4-FFF2-40B4-BE49-F238E27FC236}">
                <a16:creationId xmlns:a16="http://schemas.microsoft.com/office/drawing/2014/main" id="{510B71F6-847C-3CEF-5161-C435086B77F0}"/>
              </a:ext>
            </a:extLst>
          </p:cNvPr>
          <p:cNvSpPr/>
          <p:nvPr/>
        </p:nvSpPr>
        <p:spPr>
          <a:xfrm>
            <a:off x="14934528"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pic>
        <p:nvPicPr>
          <p:cNvPr id="590" name="2s">
            <a:hlinkClick r:id="" action="ppaction://media"/>
            <a:extLst>
              <a:ext uri="{FF2B5EF4-FFF2-40B4-BE49-F238E27FC236}">
                <a16:creationId xmlns:a16="http://schemas.microsoft.com/office/drawing/2014/main" id="{06A4D8EE-8A98-9A1F-1336-27F53780DF84}"/>
              </a:ext>
            </a:extLst>
          </p:cNvPr>
          <p:cNvPicPr>
            <a:picLocks noChangeAspect="1"/>
          </p:cNvPicPr>
          <p:nvPr>
            <a:audioFile r:link="rId1"/>
            <p:extLst>
              <p:ext uri="{DAA4B4D4-6D71-4841-9C94-3DE7FCFB9230}">
                <p14:media xmlns:p14="http://schemas.microsoft.com/office/powerpoint/2010/main" r:embed="rId2">
                  <p14:trim end="795.6009"/>
                  <p14:bmkLst>
                    <p14:bmk name="Bookmark 1" time="0"/>
                  </p14:bmkLst>
                </p14:media>
              </p:ext>
            </p:extLst>
          </p:nvPr>
        </p:nvPicPr>
        <p:blipFill>
          <a:blip r:embed="rId14"/>
          <a:stretch>
            <a:fillRect/>
          </a:stretch>
        </p:blipFill>
        <p:spPr>
          <a:xfrm>
            <a:off x="17485996" y="-808426"/>
            <a:ext cx="609600" cy="609600"/>
          </a:xfrm>
          <a:prstGeom prst="rect">
            <a:avLst/>
          </a:prstGeom>
        </p:spPr>
      </p:pic>
      <p:sp>
        <p:nvSpPr>
          <p:cNvPr id="591" name="Oval 590">
            <a:extLst>
              <a:ext uri="{FF2B5EF4-FFF2-40B4-BE49-F238E27FC236}">
                <a16:creationId xmlns:a16="http://schemas.microsoft.com/office/drawing/2014/main" id="{2819474F-8490-2E47-C765-70EDC89E51CF}"/>
              </a:ext>
            </a:extLst>
          </p:cNvPr>
          <p:cNvSpPr/>
          <p:nvPr/>
        </p:nvSpPr>
        <p:spPr>
          <a:xfrm>
            <a:off x="14664182"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2" name="Oval 591">
            <a:extLst>
              <a:ext uri="{FF2B5EF4-FFF2-40B4-BE49-F238E27FC236}">
                <a16:creationId xmlns:a16="http://schemas.microsoft.com/office/drawing/2014/main" id="{0BE2A971-6DD6-CA8E-3F4B-3EEBF4FB4184}"/>
              </a:ext>
            </a:extLst>
          </p:cNvPr>
          <p:cNvSpPr/>
          <p:nvPr/>
        </p:nvSpPr>
        <p:spPr>
          <a:xfrm>
            <a:off x="13560872"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3" name="Oval 592">
            <a:extLst>
              <a:ext uri="{FF2B5EF4-FFF2-40B4-BE49-F238E27FC236}">
                <a16:creationId xmlns:a16="http://schemas.microsoft.com/office/drawing/2014/main" id="{3DC8F313-665A-EFC8-D5AD-DAD8C929B49A}"/>
              </a:ext>
            </a:extLst>
          </p:cNvPr>
          <p:cNvSpPr/>
          <p:nvPr/>
        </p:nvSpPr>
        <p:spPr>
          <a:xfrm>
            <a:off x="13854094"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4" name="Oval 593">
            <a:extLst>
              <a:ext uri="{FF2B5EF4-FFF2-40B4-BE49-F238E27FC236}">
                <a16:creationId xmlns:a16="http://schemas.microsoft.com/office/drawing/2014/main" id="{741F682E-8FA8-45A8-B8EB-2CA7C5BD2112}"/>
              </a:ext>
            </a:extLst>
          </p:cNvPr>
          <p:cNvSpPr/>
          <p:nvPr/>
        </p:nvSpPr>
        <p:spPr>
          <a:xfrm>
            <a:off x="12229106"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5" name="Oval 594">
            <a:extLst>
              <a:ext uri="{FF2B5EF4-FFF2-40B4-BE49-F238E27FC236}">
                <a16:creationId xmlns:a16="http://schemas.microsoft.com/office/drawing/2014/main" id="{2B0AE437-66B0-01D6-12D0-E8BB2D93AD28}"/>
              </a:ext>
            </a:extLst>
          </p:cNvPr>
          <p:cNvSpPr/>
          <p:nvPr/>
        </p:nvSpPr>
        <p:spPr>
          <a:xfrm>
            <a:off x="11686334"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6" name="Oval 595">
            <a:extLst>
              <a:ext uri="{FF2B5EF4-FFF2-40B4-BE49-F238E27FC236}">
                <a16:creationId xmlns:a16="http://schemas.microsoft.com/office/drawing/2014/main" id="{A7BEDD02-EDCB-43B1-227F-4001A4803CD1}"/>
              </a:ext>
            </a:extLst>
          </p:cNvPr>
          <p:cNvSpPr/>
          <p:nvPr/>
        </p:nvSpPr>
        <p:spPr>
          <a:xfrm>
            <a:off x="10699950"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7" name="Oval 596">
            <a:extLst>
              <a:ext uri="{FF2B5EF4-FFF2-40B4-BE49-F238E27FC236}">
                <a16:creationId xmlns:a16="http://schemas.microsoft.com/office/drawing/2014/main" id="{001567AC-75DB-57F8-3451-3CCF089C82A6}"/>
              </a:ext>
            </a:extLst>
          </p:cNvPr>
          <p:cNvSpPr/>
          <p:nvPr/>
        </p:nvSpPr>
        <p:spPr>
          <a:xfrm>
            <a:off x="9783218"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8" name="Oval 597">
            <a:extLst>
              <a:ext uri="{FF2B5EF4-FFF2-40B4-BE49-F238E27FC236}">
                <a16:creationId xmlns:a16="http://schemas.microsoft.com/office/drawing/2014/main" id="{092B8F10-262D-FC58-E7C8-AB76FFA60227}"/>
              </a:ext>
            </a:extLst>
          </p:cNvPr>
          <p:cNvSpPr/>
          <p:nvPr/>
        </p:nvSpPr>
        <p:spPr>
          <a:xfrm>
            <a:off x="8431308"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599" name="Oval 598">
            <a:extLst>
              <a:ext uri="{FF2B5EF4-FFF2-40B4-BE49-F238E27FC236}">
                <a16:creationId xmlns:a16="http://schemas.microsoft.com/office/drawing/2014/main" id="{628D7783-1655-EB63-92D9-B217078A1EFA}"/>
              </a:ext>
            </a:extLst>
          </p:cNvPr>
          <p:cNvSpPr/>
          <p:nvPr/>
        </p:nvSpPr>
        <p:spPr>
          <a:xfrm>
            <a:off x="7877312"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00" name="Oval 599">
            <a:extLst>
              <a:ext uri="{FF2B5EF4-FFF2-40B4-BE49-F238E27FC236}">
                <a16:creationId xmlns:a16="http://schemas.microsoft.com/office/drawing/2014/main" id="{696ABDB7-BDD5-2798-FCA2-4C426BD4DCAF}"/>
              </a:ext>
            </a:extLst>
          </p:cNvPr>
          <p:cNvSpPr/>
          <p:nvPr/>
        </p:nvSpPr>
        <p:spPr>
          <a:xfrm>
            <a:off x="6262072"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01" name="Oval 600">
            <a:extLst>
              <a:ext uri="{FF2B5EF4-FFF2-40B4-BE49-F238E27FC236}">
                <a16:creationId xmlns:a16="http://schemas.microsoft.com/office/drawing/2014/main" id="{07F48C2A-A8C0-EE5F-300A-48362A8811A1}"/>
              </a:ext>
            </a:extLst>
          </p:cNvPr>
          <p:cNvSpPr/>
          <p:nvPr/>
        </p:nvSpPr>
        <p:spPr>
          <a:xfrm>
            <a:off x="4903202"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02" name="Oval 601">
            <a:extLst>
              <a:ext uri="{FF2B5EF4-FFF2-40B4-BE49-F238E27FC236}">
                <a16:creationId xmlns:a16="http://schemas.microsoft.com/office/drawing/2014/main" id="{0EC0A2B7-BB50-5A91-AB3C-D6F23E0DE381}"/>
              </a:ext>
            </a:extLst>
          </p:cNvPr>
          <p:cNvSpPr/>
          <p:nvPr/>
        </p:nvSpPr>
        <p:spPr>
          <a:xfrm>
            <a:off x="5969858"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03" name="Oval 602">
            <a:extLst>
              <a:ext uri="{FF2B5EF4-FFF2-40B4-BE49-F238E27FC236}">
                <a16:creationId xmlns:a16="http://schemas.microsoft.com/office/drawing/2014/main" id="{B1BA573A-C3D8-B8E1-A9BB-FBB7EE722440}"/>
              </a:ext>
            </a:extLst>
          </p:cNvPr>
          <p:cNvSpPr/>
          <p:nvPr/>
        </p:nvSpPr>
        <p:spPr>
          <a:xfrm>
            <a:off x="4339112" y="8076292"/>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04" name="Oval 603">
            <a:extLst>
              <a:ext uri="{FF2B5EF4-FFF2-40B4-BE49-F238E27FC236}">
                <a16:creationId xmlns:a16="http://schemas.microsoft.com/office/drawing/2014/main" id="{041A076C-078B-D342-5055-C161A6CD0B06}"/>
              </a:ext>
            </a:extLst>
          </p:cNvPr>
          <p:cNvSpPr/>
          <p:nvPr/>
        </p:nvSpPr>
        <p:spPr>
          <a:xfrm>
            <a:off x="3278036" y="8074060"/>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grpSp>
        <p:nvGrpSpPr>
          <p:cNvPr id="605" name="Group 604">
            <a:extLst>
              <a:ext uri="{FF2B5EF4-FFF2-40B4-BE49-F238E27FC236}">
                <a16:creationId xmlns:a16="http://schemas.microsoft.com/office/drawing/2014/main" id="{FE54166A-8FAA-5CE3-C00E-A89A112BCE80}"/>
              </a:ext>
            </a:extLst>
          </p:cNvPr>
          <p:cNvGrpSpPr/>
          <p:nvPr/>
        </p:nvGrpSpPr>
        <p:grpSpPr>
          <a:xfrm>
            <a:off x="3347327" y="3494406"/>
            <a:ext cx="11651006" cy="552536"/>
            <a:chOff x="1454762" y="1755705"/>
            <a:chExt cx="5825503" cy="276268"/>
          </a:xfrm>
        </p:grpSpPr>
        <p:cxnSp>
          <p:nvCxnSpPr>
            <p:cNvPr id="606" name="Straight Connector 605">
              <a:extLst>
                <a:ext uri="{FF2B5EF4-FFF2-40B4-BE49-F238E27FC236}">
                  <a16:creationId xmlns:a16="http://schemas.microsoft.com/office/drawing/2014/main" id="{E67C320E-13C5-AD80-BB08-239D4640FD28}"/>
                </a:ext>
              </a:extLst>
            </p:cNvPr>
            <p:cNvCxnSpPr>
              <a:cxnSpLocks/>
            </p:cNvCxnSpPr>
            <p:nvPr/>
          </p:nvCxnSpPr>
          <p:spPr>
            <a:xfrm>
              <a:off x="2946400"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07" name="Straight Connector 606">
              <a:extLst>
                <a:ext uri="{FF2B5EF4-FFF2-40B4-BE49-F238E27FC236}">
                  <a16:creationId xmlns:a16="http://schemas.microsoft.com/office/drawing/2014/main" id="{C9343E2F-09E2-3AFF-3A3E-8EA234EF2477}"/>
                </a:ext>
              </a:extLst>
            </p:cNvPr>
            <p:cNvCxnSpPr>
              <a:cxnSpLocks/>
            </p:cNvCxnSpPr>
            <p:nvPr/>
          </p:nvCxnSpPr>
          <p:spPr>
            <a:xfrm>
              <a:off x="3756923"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08" name="Straight Connector 607">
              <a:extLst>
                <a:ext uri="{FF2B5EF4-FFF2-40B4-BE49-F238E27FC236}">
                  <a16:creationId xmlns:a16="http://schemas.microsoft.com/office/drawing/2014/main" id="{0616CEDF-44E9-5F4F-5D77-90842E87D7AF}"/>
                </a:ext>
              </a:extLst>
            </p:cNvPr>
            <p:cNvCxnSpPr>
              <a:cxnSpLocks/>
            </p:cNvCxnSpPr>
            <p:nvPr/>
          </p:nvCxnSpPr>
          <p:spPr>
            <a:xfrm>
              <a:off x="4032232"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09" name="Straight Connector 608">
              <a:extLst>
                <a:ext uri="{FF2B5EF4-FFF2-40B4-BE49-F238E27FC236}">
                  <a16:creationId xmlns:a16="http://schemas.microsoft.com/office/drawing/2014/main" id="{D37F78B5-D28A-53CA-2812-0040DFC25A04}"/>
                </a:ext>
              </a:extLst>
            </p:cNvPr>
            <p:cNvCxnSpPr>
              <a:cxnSpLocks/>
            </p:cNvCxnSpPr>
            <p:nvPr/>
          </p:nvCxnSpPr>
          <p:spPr>
            <a:xfrm>
              <a:off x="4706938" y="1757310"/>
              <a:ext cx="0" cy="274663"/>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0" name="Straight Connector 609">
              <a:extLst>
                <a:ext uri="{FF2B5EF4-FFF2-40B4-BE49-F238E27FC236}">
                  <a16:creationId xmlns:a16="http://schemas.microsoft.com/office/drawing/2014/main" id="{0BA65E0B-F50B-3862-0CA6-8A53959396B7}"/>
                </a:ext>
              </a:extLst>
            </p:cNvPr>
            <p:cNvCxnSpPr>
              <a:cxnSpLocks/>
            </p:cNvCxnSpPr>
            <p:nvPr/>
          </p:nvCxnSpPr>
          <p:spPr>
            <a:xfrm>
              <a:off x="5165900"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1" name="Straight Connector 610">
              <a:extLst>
                <a:ext uri="{FF2B5EF4-FFF2-40B4-BE49-F238E27FC236}">
                  <a16:creationId xmlns:a16="http://schemas.microsoft.com/office/drawing/2014/main" id="{2722CA2A-241C-4754-BF48-A7B8B9621172}"/>
                </a:ext>
              </a:extLst>
            </p:cNvPr>
            <p:cNvCxnSpPr>
              <a:cxnSpLocks/>
            </p:cNvCxnSpPr>
            <p:nvPr/>
          </p:nvCxnSpPr>
          <p:spPr>
            <a:xfrm>
              <a:off x="5658502"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2" name="Straight Connector 611">
              <a:extLst>
                <a:ext uri="{FF2B5EF4-FFF2-40B4-BE49-F238E27FC236}">
                  <a16:creationId xmlns:a16="http://schemas.microsoft.com/office/drawing/2014/main" id="{09BF86F7-1FE5-1BCE-DEDB-A8ACA02988BF}"/>
                </a:ext>
              </a:extLst>
            </p:cNvPr>
            <p:cNvCxnSpPr>
              <a:cxnSpLocks/>
            </p:cNvCxnSpPr>
            <p:nvPr/>
          </p:nvCxnSpPr>
          <p:spPr>
            <a:xfrm>
              <a:off x="5926138"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3" name="Straight Connector 612">
              <a:extLst>
                <a:ext uri="{FF2B5EF4-FFF2-40B4-BE49-F238E27FC236}">
                  <a16:creationId xmlns:a16="http://schemas.microsoft.com/office/drawing/2014/main" id="{75F7CB29-8A34-8A7B-04E6-13F1A93F6CC0}"/>
                </a:ext>
              </a:extLst>
            </p:cNvPr>
            <p:cNvCxnSpPr>
              <a:cxnSpLocks/>
            </p:cNvCxnSpPr>
            <p:nvPr/>
          </p:nvCxnSpPr>
          <p:spPr>
            <a:xfrm>
              <a:off x="6743052"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4" name="Straight Connector 613">
              <a:extLst>
                <a:ext uri="{FF2B5EF4-FFF2-40B4-BE49-F238E27FC236}">
                  <a16:creationId xmlns:a16="http://schemas.microsoft.com/office/drawing/2014/main" id="{FE512803-0831-3155-CF14-31AC314E1E68}"/>
                </a:ext>
              </a:extLst>
            </p:cNvPr>
            <p:cNvCxnSpPr>
              <a:cxnSpLocks/>
            </p:cNvCxnSpPr>
            <p:nvPr/>
          </p:nvCxnSpPr>
          <p:spPr>
            <a:xfrm>
              <a:off x="7280265"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5" name="Straight Connector 614">
              <a:extLst>
                <a:ext uri="{FF2B5EF4-FFF2-40B4-BE49-F238E27FC236}">
                  <a16:creationId xmlns:a16="http://schemas.microsoft.com/office/drawing/2014/main" id="{212C53CA-EFD7-82C4-51DA-5FA26AF879FB}"/>
                </a:ext>
              </a:extLst>
            </p:cNvPr>
            <p:cNvCxnSpPr>
              <a:cxnSpLocks/>
            </p:cNvCxnSpPr>
            <p:nvPr/>
          </p:nvCxnSpPr>
          <p:spPr>
            <a:xfrm>
              <a:off x="1454762"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6" name="Straight Connector 615">
              <a:extLst>
                <a:ext uri="{FF2B5EF4-FFF2-40B4-BE49-F238E27FC236}">
                  <a16:creationId xmlns:a16="http://schemas.microsoft.com/office/drawing/2014/main" id="{0C6A2A50-1232-32AF-DC5C-14934F798652}"/>
                </a:ext>
              </a:extLst>
            </p:cNvPr>
            <p:cNvCxnSpPr>
              <a:cxnSpLocks/>
            </p:cNvCxnSpPr>
            <p:nvPr/>
          </p:nvCxnSpPr>
          <p:spPr>
            <a:xfrm>
              <a:off x="1984353"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7" name="Straight Connector 616">
              <a:extLst>
                <a:ext uri="{FF2B5EF4-FFF2-40B4-BE49-F238E27FC236}">
                  <a16:creationId xmlns:a16="http://schemas.microsoft.com/office/drawing/2014/main" id="{5A6847A8-13FB-82B8-ABB4-FF934911DD0C}"/>
                </a:ext>
              </a:extLst>
            </p:cNvPr>
            <p:cNvCxnSpPr>
              <a:cxnSpLocks/>
            </p:cNvCxnSpPr>
            <p:nvPr/>
          </p:nvCxnSpPr>
          <p:spPr>
            <a:xfrm>
              <a:off x="2802586"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8" name="Straight Connector 617">
              <a:extLst>
                <a:ext uri="{FF2B5EF4-FFF2-40B4-BE49-F238E27FC236}">
                  <a16:creationId xmlns:a16="http://schemas.microsoft.com/office/drawing/2014/main" id="{B8A854D4-982A-9B05-3A2B-7BD5EC47090A}"/>
                </a:ext>
              </a:extLst>
            </p:cNvPr>
            <p:cNvCxnSpPr>
              <a:cxnSpLocks/>
            </p:cNvCxnSpPr>
            <p:nvPr/>
          </p:nvCxnSpPr>
          <p:spPr>
            <a:xfrm>
              <a:off x="2268538" y="1757318"/>
              <a:ext cx="0" cy="274655"/>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19" name="Straight Connector 618">
              <a:extLst>
                <a:ext uri="{FF2B5EF4-FFF2-40B4-BE49-F238E27FC236}">
                  <a16:creationId xmlns:a16="http://schemas.microsoft.com/office/drawing/2014/main" id="{E2BEFC1B-15E4-CC5C-A120-2375B7A29F45}"/>
                </a:ext>
              </a:extLst>
            </p:cNvPr>
            <p:cNvCxnSpPr>
              <a:cxnSpLocks/>
            </p:cNvCxnSpPr>
            <p:nvPr/>
          </p:nvCxnSpPr>
          <p:spPr>
            <a:xfrm>
              <a:off x="6596064"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cxnSp>
          <p:nvCxnSpPr>
            <p:cNvPr id="620" name="Straight Connector 619">
              <a:extLst>
                <a:ext uri="{FF2B5EF4-FFF2-40B4-BE49-F238E27FC236}">
                  <a16:creationId xmlns:a16="http://schemas.microsoft.com/office/drawing/2014/main" id="{7FE5DD7F-4C2A-6048-FFA8-B3375066834D}"/>
                </a:ext>
              </a:extLst>
            </p:cNvPr>
            <p:cNvCxnSpPr>
              <a:cxnSpLocks/>
            </p:cNvCxnSpPr>
            <p:nvPr/>
          </p:nvCxnSpPr>
          <p:spPr>
            <a:xfrm>
              <a:off x="7145338" y="1755705"/>
              <a:ext cx="0" cy="276268"/>
            </a:xfrm>
            <a:prstGeom prst="line">
              <a:avLst/>
            </a:prstGeom>
            <a:ln w="6350">
              <a:solidFill>
                <a:schemeClr val="accent4"/>
              </a:solidFill>
              <a:tailEnd type="none" w="sm" len="sm"/>
            </a:ln>
          </p:spPr>
          <p:style>
            <a:lnRef idx="1">
              <a:schemeClr val="accent1"/>
            </a:lnRef>
            <a:fillRef idx="0">
              <a:schemeClr val="accent1"/>
            </a:fillRef>
            <a:effectRef idx="0">
              <a:schemeClr val="accent1"/>
            </a:effectRef>
            <a:fontRef idx="minor">
              <a:schemeClr val="tx1"/>
            </a:fontRef>
          </p:style>
        </p:cxnSp>
      </p:grpSp>
      <p:sp>
        <p:nvSpPr>
          <p:cNvPr id="621" name="Oval 620">
            <a:extLst>
              <a:ext uri="{FF2B5EF4-FFF2-40B4-BE49-F238E27FC236}">
                <a16:creationId xmlns:a16="http://schemas.microsoft.com/office/drawing/2014/main" id="{343F4927-B24E-BF90-919E-739854BFB88E}"/>
              </a:ext>
            </a:extLst>
          </p:cNvPr>
          <p:cNvSpPr/>
          <p:nvPr/>
        </p:nvSpPr>
        <p:spPr>
          <a:xfrm rot="10800000">
            <a:off x="14659054"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2" name="Oval 621">
            <a:extLst>
              <a:ext uri="{FF2B5EF4-FFF2-40B4-BE49-F238E27FC236}">
                <a16:creationId xmlns:a16="http://schemas.microsoft.com/office/drawing/2014/main" id="{D4BE990C-BC6B-B8FC-FA15-0963C6F1A87B}"/>
              </a:ext>
            </a:extLst>
          </p:cNvPr>
          <p:cNvSpPr/>
          <p:nvPr/>
        </p:nvSpPr>
        <p:spPr>
          <a:xfrm rot="10800000">
            <a:off x="14927972"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3" name="Oval 622">
            <a:extLst>
              <a:ext uri="{FF2B5EF4-FFF2-40B4-BE49-F238E27FC236}">
                <a16:creationId xmlns:a16="http://schemas.microsoft.com/office/drawing/2014/main" id="{269F921D-A070-DCE0-B374-FB62786720E1}"/>
              </a:ext>
            </a:extLst>
          </p:cNvPr>
          <p:cNvSpPr/>
          <p:nvPr/>
        </p:nvSpPr>
        <p:spPr>
          <a:xfrm rot="10800000">
            <a:off x="13854094"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4" name="Oval 623">
            <a:extLst>
              <a:ext uri="{FF2B5EF4-FFF2-40B4-BE49-F238E27FC236}">
                <a16:creationId xmlns:a16="http://schemas.microsoft.com/office/drawing/2014/main" id="{45C8FA1E-E17D-A186-EBB6-7D287483FD1D}"/>
              </a:ext>
            </a:extLst>
          </p:cNvPr>
          <p:cNvSpPr/>
          <p:nvPr/>
        </p:nvSpPr>
        <p:spPr>
          <a:xfrm rot="10800000">
            <a:off x="13564048"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5" name="Oval 624">
            <a:extLst>
              <a:ext uri="{FF2B5EF4-FFF2-40B4-BE49-F238E27FC236}">
                <a16:creationId xmlns:a16="http://schemas.microsoft.com/office/drawing/2014/main" id="{BD713712-FD07-D734-4858-E14147E4AFA7}"/>
              </a:ext>
            </a:extLst>
          </p:cNvPr>
          <p:cNvSpPr/>
          <p:nvPr/>
        </p:nvSpPr>
        <p:spPr>
          <a:xfrm rot="10800000">
            <a:off x="12229106"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6" name="Oval 625">
            <a:extLst>
              <a:ext uri="{FF2B5EF4-FFF2-40B4-BE49-F238E27FC236}">
                <a16:creationId xmlns:a16="http://schemas.microsoft.com/office/drawing/2014/main" id="{AA5DB869-2DD8-6E72-BBFA-B8B88B08DE43}"/>
              </a:ext>
            </a:extLst>
          </p:cNvPr>
          <p:cNvSpPr/>
          <p:nvPr/>
        </p:nvSpPr>
        <p:spPr>
          <a:xfrm rot="10800000">
            <a:off x="9780844"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7" name="Oval 626">
            <a:extLst>
              <a:ext uri="{FF2B5EF4-FFF2-40B4-BE49-F238E27FC236}">
                <a16:creationId xmlns:a16="http://schemas.microsoft.com/office/drawing/2014/main" id="{12087D28-5DE4-39BD-816B-91831D307C66}"/>
              </a:ext>
            </a:extLst>
          </p:cNvPr>
          <p:cNvSpPr/>
          <p:nvPr/>
        </p:nvSpPr>
        <p:spPr>
          <a:xfrm rot="10800000">
            <a:off x="7880242"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8" name="Oval 627">
            <a:extLst>
              <a:ext uri="{FF2B5EF4-FFF2-40B4-BE49-F238E27FC236}">
                <a16:creationId xmlns:a16="http://schemas.microsoft.com/office/drawing/2014/main" id="{2D5DAE70-BD02-49FC-577B-BD821E23E469}"/>
              </a:ext>
            </a:extLst>
          </p:cNvPr>
          <p:cNvSpPr/>
          <p:nvPr/>
        </p:nvSpPr>
        <p:spPr>
          <a:xfrm rot="10800000">
            <a:off x="11682234"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29" name="Oval 628">
            <a:extLst>
              <a:ext uri="{FF2B5EF4-FFF2-40B4-BE49-F238E27FC236}">
                <a16:creationId xmlns:a16="http://schemas.microsoft.com/office/drawing/2014/main" id="{25E561F0-0F24-522D-0A9B-3C5369533231}"/>
              </a:ext>
            </a:extLst>
          </p:cNvPr>
          <p:cNvSpPr/>
          <p:nvPr/>
        </p:nvSpPr>
        <p:spPr>
          <a:xfrm rot="10800000">
            <a:off x="10698768"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30" name="Oval 629">
            <a:extLst>
              <a:ext uri="{FF2B5EF4-FFF2-40B4-BE49-F238E27FC236}">
                <a16:creationId xmlns:a16="http://schemas.microsoft.com/office/drawing/2014/main" id="{B81B6C75-58FB-69D0-F290-F389E7E6C4D8}"/>
              </a:ext>
            </a:extLst>
          </p:cNvPr>
          <p:cNvSpPr/>
          <p:nvPr/>
        </p:nvSpPr>
        <p:spPr>
          <a:xfrm rot="10800000">
            <a:off x="8436564"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31" name="Oval 630">
            <a:extLst>
              <a:ext uri="{FF2B5EF4-FFF2-40B4-BE49-F238E27FC236}">
                <a16:creationId xmlns:a16="http://schemas.microsoft.com/office/drawing/2014/main" id="{3BF11018-17D5-298C-CFD0-3607AC4E0678}"/>
              </a:ext>
            </a:extLst>
          </p:cNvPr>
          <p:cNvSpPr/>
          <p:nvPr/>
        </p:nvSpPr>
        <p:spPr>
          <a:xfrm rot="10800000">
            <a:off x="6265694" y="397354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32" name="Oval 631">
            <a:extLst>
              <a:ext uri="{FF2B5EF4-FFF2-40B4-BE49-F238E27FC236}">
                <a16:creationId xmlns:a16="http://schemas.microsoft.com/office/drawing/2014/main" id="{FA8B7F69-98E1-F842-E397-00AEB4F01A8E}"/>
              </a:ext>
            </a:extLst>
          </p:cNvPr>
          <p:cNvSpPr/>
          <p:nvPr/>
        </p:nvSpPr>
        <p:spPr>
          <a:xfrm rot="10800000">
            <a:off x="4903202"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33" name="Oval 632">
            <a:extLst>
              <a:ext uri="{FF2B5EF4-FFF2-40B4-BE49-F238E27FC236}">
                <a16:creationId xmlns:a16="http://schemas.microsoft.com/office/drawing/2014/main" id="{31DD0ADA-D5A7-0DA9-BE8A-FB6F19A03700}"/>
              </a:ext>
            </a:extLst>
          </p:cNvPr>
          <p:cNvSpPr/>
          <p:nvPr/>
        </p:nvSpPr>
        <p:spPr>
          <a:xfrm rot="10800000">
            <a:off x="5969858"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34" name="Oval 633">
            <a:extLst>
              <a:ext uri="{FF2B5EF4-FFF2-40B4-BE49-F238E27FC236}">
                <a16:creationId xmlns:a16="http://schemas.microsoft.com/office/drawing/2014/main" id="{1F65E55B-3E69-3A43-8AA3-08DBD56DE84C}"/>
              </a:ext>
            </a:extLst>
          </p:cNvPr>
          <p:cNvSpPr/>
          <p:nvPr/>
        </p:nvSpPr>
        <p:spPr>
          <a:xfrm rot="10800000">
            <a:off x="3278036" y="3977418"/>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
        <p:nvSpPr>
          <p:cNvPr id="635" name="Oval 634">
            <a:extLst>
              <a:ext uri="{FF2B5EF4-FFF2-40B4-BE49-F238E27FC236}">
                <a16:creationId xmlns:a16="http://schemas.microsoft.com/office/drawing/2014/main" id="{7EB4BB5A-430A-99F6-65DB-4907B68EE5BA}"/>
              </a:ext>
            </a:extLst>
          </p:cNvPr>
          <p:cNvSpPr/>
          <p:nvPr/>
        </p:nvSpPr>
        <p:spPr>
          <a:xfrm rot="10800000">
            <a:off x="4334290" y="3975186"/>
            <a:ext cx="138112" cy="13811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7200" b="0" i="0" u="none" strike="noStrike" kern="1200" cap="none" spc="0" normalizeH="0" baseline="0" noProof="0">
              <a:ln>
                <a:noFill/>
              </a:ln>
              <a:solidFill>
                <a:srgbClr val="FFFFFF"/>
              </a:solidFill>
              <a:effectLst/>
              <a:uLnTx/>
              <a:uFillTx/>
              <a:latin typeface="Anova Light"/>
              <a:ea typeface="+mn-ea"/>
              <a:cs typeface="+mn-cs"/>
            </a:endParaRPr>
          </a:p>
        </p:txBody>
      </p:sp>
    </p:spTree>
    <p:extLst>
      <p:ext uri="{BB962C8B-B14F-4D97-AF65-F5344CB8AC3E}">
        <p14:creationId xmlns:p14="http://schemas.microsoft.com/office/powerpoint/2010/main" val="32222641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6"/>
                                            </p:tgtEl>
                                            <p:attrNameLst>
                                              <p:attrName>style.visibility</p:attrName>
                                            </p:attrNameLst>
                                          </p:cBhvr>
                                          <p:to>
                                            <p:strVal val="visible"/>
                                          </p:to>
                                        </p:set>
                                        <p:animEffect transition="in" filter="fade">
                                          <p:cBhvr>
                                            <p:cTn id="7" dur="500"/>
                                            <p:tgtEl>
                                              <p:spTgt spid="536"/>
                                            </p:tgtEl>
                                          </p:cBhvr>
                                        </p:animEffect>
                                      </p:childTnLst>
                                    </p:cTn>
                                  </p:par>
                                  <p:par>
                                    <p:cTn id="8" presetID="6" presetClass="emph" presetSubtype="0" fill="hold" nodeType="withEffect">
                                      <p:stCondLst>
                                        <p:cond delay="0"/>
                                      </p:stCondLst>
                                      <p:childTnLst>
                                        <p:animScale>
                                          <p:cBhvr>
                                            <p:cTn id="9" dur="10" fill="hold"/>
                                            <p:tgtEl>
                                              <p:spTgt spid="536"/>
                                            </p:tgtEl>
                                          </p:cBhvr>
                                          <p:by x="125000" y="125000"/>
                                        </p:animScale>
                                      </p:childTnLst>
                                    </p:cTn>
                                  </p:par>
                                  <p:par>
                                    <p:cTn id="10" presetID="6" presetClass="emph" presetSubtype="0" decel="100000" fill="hold" nodeType="withEffect">
                                      <p:stCondLst>
                                        <p:cond delay="0"/>
                                      </p:stCondLst>
                                      <p:childTnLst>
                                        <p:animScale>
                                          <p:cBhvr>
                                            <p:cTn id="11" dur="750" fill="hold"/>
                                            <p:tgtEl>
                                              <p:spTgt spid="536"/>
                                            </p:tgtEl>
                                          </p:cBhvr>
                                          <p:by x="80000" y="80000"/>
                                        </p:animScale>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572"/>
                                            </p:tgtEl>
                                            <p:attrNameLst>
                                              <p:attrName>style.visibility</p:attrName>
                                            </p:attrNameLst>
                                          </p:cBhvr>
                                          <p:to>
                                            <p:strVal val="visible"/>
                                          </p:to>
                                        </p:set>
                                        <p:animEffect transition="in" filter="fade">
                                          <p:cBhvr>
                                            <p:cTn id="15" dur="500"/>
                                            <p:tgtEl>
                                              <p:spTgt spid="57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54"/>
                                            </p:tgtEl>
                                            <p:attrNameLst>
                                              <p:attrName>style.visibility</p:attrName>
                                            </p:attrNameLst>
                                          </p:cBhvr>
                                          <p:to>
                                            <p:strVal val="visible"/>
                                          </p:to>
                                        </p:set>
                                        <p:animEffect transition="in" filter="fade">
                                          <p:cBhvr>
                                            <p:cTn id="20" dur="250"/>
                                            <p:tgtEl>
                                              <p:spTgt spid="554"/>
                                            </p:tgtEl>
                                          </p:cBhvr>
                                        </p:animEffect>
                                      </p:childTnLst>
                                    </p:cTn>
                                  </p:par>
                                  <p:par>
                                    <p:cTn id="21" presetID="42" presetClass="path" presetSubtype="0" decel="100000" fill="hold" nodeType="withEffect">
                                      <p:stCondLst>
                                        <p:cond delay="0"/>
                                      </p:stCondLst>
                                      <p:childTnLst>
                                        <p:animMotion origin="layout" path="M -3.33333E-6 0.03889 L -3.33333E-6 -3.7037E-7 " pathEditMode="relative" rAng="0" ptsTypes="AA">
                                          <p:cBhvr>
                                            <p:cTn id="22" dur="500" fill="hold"/>
                                            <p:tgtEl>
                                              <p:spTgt spid="554"/>
                                            </p:tgtEl>
                                            <p:attrNameLst>
                                              <p:attrName>ppt_x</p:attrName>
                                              <p:attrName>ppt_y</p:attrName>
                                            </p:attrNameLst>
                                          </p:cBhvr>
                                          <p:rCtr x="0" y="-1944"/>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41"/>
                                            </p:tgtEl>
                                            <p:attrNameLst>
                                              <p:attrName>style.visibility</p:attrName>
                                            </p:attrNameLst>
                                          </p:cBhvr>
                                          <p:to>
                                            <p:strVal val="visible"/>
                                          </p:to>
                                        </p:set>
                                        <p:animEffect transition="in" filter="fade">
                                          <p:cBhvr>
                                            <p:cTn id="27" dur="250"/>
                                            <p:tgtEl>
                                              <p:spTgt spid="541"/>
                                            </p:tgtEl>
                                          </p:cBhvr>
                                        </p:animEffect>
                                      </p:childTnLst>
                                    </p:cTn>
                                  </p:par>
                                  <p:par>
                                    <p:cTn id="28" presetID="42" presetClass="path" presetSubtype="0" decel="100000" fill="hold" nodeType="withEffect">
                                      <p:stCondLst>
                                        <p:cond delay="0"/>
                                      </p:stCondLst>
                                      <p:childTnLst>
                                        <p:animMotion origin="layout" path="M -3.75E-6 -0.03472 L -3.75E-6 1.85185E-6 " pathEditMode="relative" rAng="0" ptsTypes="AA">
                                          <p:cBhvr>
                                            <p:cTn id="29" dur="500" fill="hold"/>
                                            <p:tgtEl>
                                              <p:spTgt spid="541"/>
                                            </p:tgtEl>
                                            <p:attrNameLst>
                                              <p:attrName>ppt_x</p:attrName>
                                              <p:attrName>ppt_y</p:attrName>
                                            </p:attrNameLst>
                                          </p:cBhvr>
                                          <p:rCtr x="0" y="1736"/>
                                        </p:animMotion>
                                      </p:childTnLst>
                                    </p:cTn>
                                  </p:par>
                                  <p:par>
                                    <p:cTn id="30" presetID="10" presetClass="entr" presetSubtype="0" fill="hold" nodeType="withEffect">
                                      <p:stCondLst>
                                        <p:cond delay="0"/>
                                      </p:stCondLst>
                                      <p:childTnLst>
                                        <p:set>
                                          <p:cBhvr>
                                            <p:cTn id="31" dur="1" fill="hold">
                                              <p:stCondLst>
                                                <p:cond delay="0"/>
                                              </p:stCondLst>
                                            </p:cTn>
                                            <p:tgtEl>
                                              <p:spTgt spid="573"/>
                                            </p:tgtEl>
                                            <p:attrNameLst>
                                              <p:attrName>style.visibility</p:attrName>
                                            </p:attrNameLst>
                                          </p:cBhvr>
                                          <p:to>
                                            <p:strVal val="visible"/>
                                          </p:to>
                                        </p:set>
                                        <p:animEffect transition="in" filter="fade">
                                          <p:cBhvr>
                                            <p:cTn id="32" dur="500"/>
                                            <p:tgtEl>
                                              <p:spTgt spid="573"/>
                                            </p:tgtEl>
                                          </p:cBhvr>
                                        </p:animEffect>
                                      </p:childTnLst>
                                    </p:cTn>
                                  </p:par>
                                  <p:par>
                                    <p:cTn id="33" presetID="10" presetClass="entr" presetSubtype="0" fill="hold" nodeType="withEffect">
                                      <p:stCondLst>
                                        <p:cond delay="0"/>
                                      </p:stCondLst>
                                      <p:childTnLst>
                                        <p:set>
                                          <p:cBhvr>
                                            <p:cTn id="34" dur="1" fill="hold">
                                              <p:stCondLst>
                                                <p:cond delay="0"/>
                                              </p:stCondLst>
                                            </p:cTn>
                                            <p:tgtEl>
                                              <p:spTgt spid="605"/>
                                            </p:tgtEl>
                                            <p:attrNameLst>
                                              <p:attrName>style.visibility</p:attrName>
                                            </p:attrNameLst>
                                          </p:cBhvr>
                                          <p:to>
                                            <p:strVal val="visible"/>
                                          </p:to>
                                        </p:set>
                                        <p:animEffect transition="in" filter="fade">
                                          <p:cBhvr>
                                            <p:cTn id="35" dur="500"/>
                                            <p:tgtEl>
                                              <p:spTgt spid="605"/>
                                            </p:tgtEl>
                                          </p:cBhvr>
                                        </p:animEffect>
                                      </p:childTnLst>
                                    </p:cTn>
                                  </p:par>
                                </p:childTnLst>
                              </p:cTn>
                            </p:par>
                            <p:par>
                              <p:cTn id="36" fill="hold">
                                <p:stCondLst>
                                  <p:cond delay="500"/>
                                </p:stCondLst>
                                <p:childTnLst>
                                  <p:par>
                                    <p:cTn id="37" presetID="1" presetClass="mediacall" presetSubtype="0" fill="hold" nodeType="afterEffect">
                                      <p:stCondLst>
                                        <p:cond delay="0"/>
                                      </p:stCondLst>
                                      <p:childTnLst>
                                        <p:cmd type="call" cmd="playFrom(0.0)">
                                          <p:cBhvr>
                                            <p:cTn id="38" dur="3000" fill="hold"/>
                                            <p:tgtEl>
                                              <p:spTgt spid="590"/>
                                            </p:tgtEl>
                                          </p:cBhvr>
                                        </p:cmd>
                                      </p:childTnLst>
                                    </p:cTn>
                                  </p:par>
                                </p:childTnLst>
                              </p:cTn>
                            </p:par>
                          </p:childTnLst>
                        </p:cTn>
                      </p:par>
                    </p:childTnLst>
                  </p:cTn>
                  <p:prevCondLst>
                    <p:cond evt="onPrev" delay="0">
                      <p:tgtEl>
                        <p:sldTgt/>
                      </p:tgtEl>
                    </p:cond>
                  </p:prevCondLst>
                  <p:nextCondLst>
                    <p:cond evt="onNext" delay="0">
                      <p:tgtEl>
                        <p:sldTgt/>
                      </p:tgtEl>
                    </p:cond>
                  </p:nextCondLst>
                </p:seq>
                <p:seq concurrent="1" nextAc="seek">
                  <p:cTn id="39" restart="whenNotActive" fill="hold" evtFilter="cancelBubble" nodeType="interactiveSeq">
                    <p:stCondLst>
                      <p:cond evt="onMediaBookmark" delay="0">
                        <p:tgtEl>
                          <p14:bmkTgt spid="590" bmkName="Bookmark 1"/>
                        </p:tgtEl>
                      </p:cond>
                    </p:stCondLst>
                    <p:endSync evt="end" delay="0">
                      <p:rtn val="all"/>
                    </p:endSync>
                    <p:childTnLst>
                      <p:par>
                        <p:cTn id="40" fill="hold">
                          <p:stCondLst>
                            <p:cond delay="0"/>
                          </p:stCondLst>
                          <p:childTnLst>
                            <p:par>
                              <p:cTn id="41" fill="hold">
                                <p:stCondLst>
                                  <p:cond delay="0"/>
                                </p:stCondLst>
                                <p:childTnLst>
                                  <p:par>
                                    <p:cTn id="42" presetID="10" presetClass="entr" presetSubtype="0" fill="hold" grpId="1" nodeType="withEffect">
                                      <p:stCondLst>
                                        <p:cond delay="0"/>
                                      </p:stCondLst>
                                      <p:childTnLst>
                                        <p:set>
                                          <p:cBhvr>
                                            <p:cTn id="43" dur="1" fill="hold">
                                              <p:stCondLst>
                                                <p:cond delay="0"/>
                                              </p:stCondLst>
                                            </p:cTn>
                                            <p:tgtEl>
                                              <p:spTgt spid="623"/>
                                            </p:tgtEl>
                                            <p:attrNameLst>
                                              <p:attrName>style.visibility</p:attrName>
                                            </p:attrNameLst>
                                          </p:cBhvr>
                                          <p:to>
                                            <p:strVal val="visible"/>
                                          </p:to>
                                        </p:set>
                                        <p:animEffect transition="in" filter="fade">
                                          <p:cBhvr>
                                            <p:cTn id="44" dur="500"/>
                                            <p:tgtEl>
                                              <p:spTgt spid="623"/>
                                            </p:tgtEl>
                                          </p:cBhvr>
                                        </p:animEffect>
                                      </p:childTnLst>
                                    </p:cTn>
                                  </p:par>
                                  <p:par>
                                    <p:cTn id="45" presetID="42" presetClass="path" presetSubtype="0" accel="50000" decel="50000" fill="hold" grpId="0" nodeType="withEffect">
                                      <p:stCondLst>
                                        <p:cond delay="0"/>
                                      </p:stCondLst>
                                      <p:childTnLst>
                                        <p:animMotion origin="layout" path="M -4.72222E-6 -0.05216 L -4.72222E-6 1.23457E-7 " pathEditMode="relative" rAng="0" ptsTypes="AA">
                                          <p:cBhvr>
                                            <p:cTn id="46" dur="2000" fill="hold"/>
                                            <p:tgtEl>
                                              <p:spTgt spid="623"/>
                                            </p:tgtEl>
                                            <p:attrNameLst>
                                              <p:attrName>ppt_x</p:attrName>
                                              <p:attrName>ppt_y</p:attrName>
                                            </p:attrNameLst>
                                          </p:cBhvr>
                                          <p:rCtr x="0" y="2593"/>
                                        </p:animMotion>
                                      </p:childTnLst>
                                    </p:cTn>
                                  </p:par>
                                  <p:par>
                                    <p:cTn id="47" presetID="10" presetClass="exit" presetSubtype="0" fill="hold" grpId="2" nodeType="withEffect">
                                      <p:stCondLst>
                                        <p:cond delay="1500"/>
                                      </p:stCondLst>
                                      <p:childTnLst>
                                        <p:animEffect transition="out" filter="fade">
                                          <p:cBhvr>
                                            <p:cTn id="48" dur="500"/>
                                            <p:tgtEl>
                                              <p:spTgt spid="623"/>
                                            </p:tgtEl>
                                          </p:cBhvr>
                                        </p:animEffect>
                                        <p:set>
                                          <p:cBhvr>
                                            <p:cTn id="49" dur="1" fill="hold">
                                              <p:stCondLst>
                                                <p:cond delay="499"/>
                                              </p:stCondLst>
                                            </p:cTn>
                                            <p:tgtEl>
                                              <p:spTgt spid="623"/>
                                            </p:tgtEl>
                                            <p:attrNameLst>
                                              <p:attrName>style.visibility</p:attrName>
                                            </p:attrNameLst>
                                          </p:cBhvr>
                                          <p:to>
                                            <p:strVal val="hidden"/>
                                          </p:to>
                                        </p:set>
                                      </p:childTnLst>
                                    </p:cTn>
                                  </p:par>
                                  <p:par>
                                    <p:cTn id="50" presetID="10" presetClass="entr" presetSubtype="0" fill="hold" grpId="1" nodeType="withEffect">
                                      <p:stCondLst>
                                        <p:cond delay="0"/>
                                      </p:stCondLst>
                                      <p:childTnLst>
                                        <p:set>
                                          <p:cBhvr>
                                            <p:cTn id="51" dur="1" fill="hold">
                                              <p:stCondLst>
                                                <p:cond delay="0"/>
                                              </p:stCondLst>
                                            </p:cTn>
                                            <p:tgtEl>
                                              <p:spTgt spid="624"/>
                                            </p:tgtEl>
                                            <p:attrNameLst>
                                              <p:attrName>style.visibility</p:attrName>
                                            </p:attrNameLst>
                                          </p:cBhvr>
                                          <p:to>
                                            <p:strVal val="visible"/>
                                          </p:to>
                                        </p:set>
                                        <p:animEffect transition="in" filter="fade">
                                          <p:cBhvr>
                                            <p:cTn id="52" dur="500"/>
                                            <p:tgtEl>
                                              <p:spTgt spid="624"/>
                                            </p:tgtEl>
                                          </p:cBhvr>
                                        </p:animEffect>
                                      </p:childTnLst>
                                    </p:cTn>
                                  </p:par>
                                  <p:par>
                                    <p:cTn id="53" presetID="42" presetClass="path" presetSubtype="0" accel="50000" decel="50000" fill="hold" grpId="0" nodeType="withEffect">
                                      <p:stCondLst>
                                        <p:cond delay="0"/>
                                      </p:stCondLst>
                                      <p:childTnLst>
                                        <p:animMotion origin="layout" path="M 3.88889E-6 1.23457E-7 L -0.00018 -0.05247 " pathEditMode="relative" rAng="0" ptsTypes="AA">
                                          <p:cBhvr>
                                            <p:cTn id="54" dur="2000" fill="hold"/>
                                            <p:tgtEl>
                                              <p:spTgt spid="624"/>
                                            </p:tgtEl>
                                            <p:attrNameLst>
                                              <p:attrName>ppt_x</p:attrName>
                                              <p:attrName>ppt_y</p:attrName>
                                            </p:attrNameLst>
                                          </p:cBhvr>
                                          <p:rCtr x="-17" y="-2623"/>
                                        </p:animMotion>
                                      </p:childTnLst>
                                    </p:cTn>
                                  </p:par>
                                  <p:par>
                                    <p:cTn id="55" presetID="10" presetClass="exit" presetSubtype="0" fill="hold" grpId="2" nodeType="withEffect">
                                      <p:stCondLst>
                                        <p:cond delay="1500"/>
                                      </p:stCondLst>
                                      <p:childTnLst>
                                        <p:animEffect transition="out" filter="fade">
                                          <p:cBhvr>
                                            <p:cTn id="56" dur="500"/>
                                            <p:tgtEl>
                                              <p:spTgt spid="624"/>
                                            </p:tgtEl>
                                          </p:cBhvr>
                                        </p:animEffect>
                                        <p:set>
                                          <p:cBhvr>
                                            <p:cTn id="57" dur="1" fill="hold">
                                              <p:stCondLst>
                                                <p:cond delay="499"/>
                                              </p:stCondLst>
                                            </p:cTn>
                                            <p:tgtEl>
                                              <p:spTgt spid="624"/>
                                            </p:tgtEl>
                                            <p:attrNameLst>
                                              <p:attrName>style.visibility</p:attrName>
                                            </p:attrNameLst>
                                          </p:cBhvr>
                                          <p:to>
                                            <p:strVal val="hidden"/>
                                          </p:to>
                                        </p:set>
                                      </p:childTnLst>
                                    </p:cTn>
                                  </p:par>
                                  <p:par>
                                    <p:cTn id="58" presetID="10" presetClass="entr" presetSubtype="0" fill="hold" grpId="1" nodeType="withEffect">
                                      <p:stCondLst>
                                        <p:cond delay="1000"/>
                                      </p:stCondLst>
                                      <p:childTnLst>
                                        <p:set>
                                          <p:cBhvr>
                                            <p:cTn id="59" dur="1" fill="hold">
                                              <p:stCondLst>
                                                <p:cond delay="0"/>
                                              </p:stCondLst>
                                            </p:cTn>
                                            <p:tgtEl>
                                              <p:spTgt spid="625"/>
                                            </p:tgtEl>
                                            <p:attrNameLst>
                                              <p:attrName>style.visibility</p:attrName>
                                            </p:attrNameLst>
                                          </p:cBhvr>
                                          <p:to>
                                            <p:strVal val="visible"/>
                                          </p:to>
                                        </p:set>
                                        <p:animEffect transition="in" filter="fade">
                                          <p:cBhvr>
                                            <p:cTn id="60" dur="500"/>
                                            <p:tgtEl>
                                              <p:spTgt spid="625"/>
                                            </p:tgtEl>
                                          </p:cBhvr>
                                        </p:animEffect>
                                      </p:childTnLst>
                                    </p:cTn>
                                  </p:par>
                                  <p:par>
                                    <p:cTn id="61" presetID="42" presetClass="path" presetSubtype="0" accel="50000" decel="50000" fill="hold" grpId="0" nodeType="withEffect">
                                      <p:stCondLst>
                                        <p:cond delay="1000"/>
                                      </p:stCondLst>
                                      <p:childTnLst>
                                        <p:animMotion origin="layout" path="M -4.72222E-6 3.33333E-6 L -0.00017 -0.05247 " pathEditMode="relative" rAng="0" ptsTypes="AA">
                                          <p:cBhvr>
                                            <p:cTn id="62" dur="2000" fill="hold"/>
                                            <p:tgtEl>
                                              <p:spTgt spid="625"/>
                                            </p:tgtEl>
                                            <p:attrNameLst>
                                              <p:attrName>ppt_x</p:attrName>
                                              <p:attrName>ppt_y</p:attrName>
                                            </p:attrNameLst>
                                          </p:cBhvr>
                                          <p:rCtr x="-17" y="-2623"/>
                                        </p:animMotion>
                                      </p:childTnLst>
                                    </p:cTn>
                                  </p:par>
                                  <p:par>
                                    <p:cTn id="63" presetID="10" presetClass="exit" presetSubtype="0" fill="hold" grpId="2" nodeType="withEffect">
                                      <p:stCondLst>
                                        <p:cond delay="2500"/>
                                      </p:stCondLst>
                                      <p:childTnLst>
                                        <p:animEffect transition="out" filter="fade">
                                          <p:cBhvr>
                                            <p:cTn id="64" dur="500"/>
                                            <p:tgtEl>
                                              <p:spTgt spid="625"/>
                                            </p:tgtEl>
                                          </p:cBhvr>
                                        </p:animEffect>
                                        <p:set>
                                          <p:cBhvr>
                                            <p:cTn id="65" dur="1" fill="hold">
                                              <p:stCondLst>
                                                <p:cond delay="499"/>
                                              </p:stCondLst>
                                            </p:cTn>
                                            <p:tgtEl>
                                              <p:spTgt spid="625"/>
                                            </p:tgtEl>
                                            <p:attrNameLst>
                                              <p:attrName>style.visibility</p:attrName>
                                            </p:attrNameLst>
                                          </p:cBhvr>
                                          <p:to>
                                            <p:strVal val="hidden"/>
                                          </p:to>
                                        </p:set>
                                      </p:childTnLst>
                                    </p:cTn>
                                  </p:par>
                                  <p:par>
                                    <p:cTn id="66" presetID="10" presetClass="entr" presetSubtype="0" fill="hold" grpId="1" nodeType="withEffect">
                                      <p:stCondLst>
                                        <p:cond delay="100"/>
                                      </p:stCondLst>
                                      <p:childTnLst>
                                        <p:set>
                                          <p:cBhvr>
                                            <p:cTn id="67" dur="1" fill="hold">
                                              <p:stCondLst>
                                                <p:cond delay="0"/>
                                              </p:stCondLst>
                                            </p:cTn>
                                            <p:tgtEl>
                                              <p:spTgt spid="626"/>
                                            </p:tgtEl>
                                            <p:attrNameLst>
                                              <p:attrName>style.visibility</p:attrName>
                                            </p:attrNameLst>
                                          </p:cBhvr>
                                          <p:to>
                                            <p:strVal val="visible"/>
                                          </p:to>
                                        </p:set>
                                        <p:animEffect transition="in" filter="fade">
                                          <p:cBhvr>
                                            <p:cTn id="68" dur="500"/>
                                            <p:tgtEl>
                                              <p:spTgt spid="626"/>
                                            </p:tgtEl>
                                          </p:cBhvr>
                                        </p:animEffect>
                                      </p:childTnLst>
                                    </p:cTn>
                                  </p:par>
                                  <p:par>
                                    <p:cTn id="69" presetID="42" presetClass="path" presetSubtype="0" accel="50000" decel="50000" fill="hold" grpId="0" nodeType="withEffect">
                                      <p:stCondLst>
                                        <p:cond delay="100"/>
                                      </p:stCondLst>
                                      <p:childTnLst>
                                        <p:animMotion origin="layout" path="M -1.66667E-6 1.23457E-7 L -0.00017 -0.05247 " pathEditMode="relative" rAng="0" ptsTypes="AA">
                                          <p:cBhvr>
                                            <p:cTn id="70" dur="2000" fill="hold"/>
                                            <p:tgtEl>
                                              <p:spTgt spid="626"/>
                                            </p:tgtEl>
                                            <p:attrNameLst>
                                              <p:attrName>ppt_x</p:attrName>
                                              <p:attrName>ppt_y</p:attrName>
                                            </p:attrNameLst>
                                          </p:cBhvr>
                                          <p:rCtr x="-17" y="-2623"/>
                                        </p:animMotion>
                                      </p:childTnLst>
                                    </p:cTn>
                                  </p:par>
                                  <p:par>
                                    <p:cTn id="71" presetID="10" presetClass="exit" presetSubtype="0" fill="hold" grpId="2" nodeType="withEffect">
                                      <p:stCondLst>
                                        <p:cond delay="1600"/>
                                      </p:stCondLst>
                                      <p:childTnLst>
                                        <p:animEffect transition="out" filter="fade">
                                          <p:cBhvr>
                                            <p:cTn id="72" dur="500"/>
                                            <p:tgtEl>
                                              <p:spTgt spid="626"/>
                                            </p:tgtEl>
                                          </p:cBhvr>
                                        </p:animEffect>
                                        <p:set>
                                          <p:cBhvr>
                                            <p:cTn id="73" dur="1" fill="hold">
                                              <p:stCondLst>
                                                <p:cond delay="499"/>
                                              </p:stCondLst>
                                            </p:cTn>
                                            <p:tgtEl>
                                              <p:spTgt spid="626"/>
                                            </p:tgtEl>
                                            <p:attrNameLst>
                                              <p:attrName>style.visibility</p:attrName>
                                            </p:attrNameLst>
                                          </p:cBhvr>
                                          <p:to>
                                            <p:strVal val="hidden"/>
                                          </p:to>
                                        </p:set>
                                      </p:childTnLst>
                                    </p:cTn>
                                  </p:par>
                                  <p:par>
                                    <p:cTn id="74" presetID="10" presetClass="entr" presetSubtype="0" fill="hold" grpId="1" nodeType="withEffect">
                                      <p:stCondLst>
                                        <p:cond delay="400"/>
                                      </p:stCondLst>
                                      <p:childTnLst>
                                        <p:set>
                                          <p:cBhvr>
                                            <p:cTn id="75" dur="1" fill="hold">
                                              <p:stCondLst>
                                                <p:cond delay="0"/>
                                              </p:stCondLst>
                                            </p:cTn>
                                            <p:tgtEl>
                                              <p:spTgt spid="627"/>
                                            </p:tgtEl>
                                            <p:attrNameLst>
                                              <p:attrName>style.visibility</p:attrName>
                                            </p:attrNameLst>
                                          </p:cBhvr>
                                          <p:to>
                                            <p:strVal val="visible"/>
                                          </p:to>
                                        </p:set>
                                        <p:animEffect transition="in" filter="fade">
                                          <p:cBhvr>
                                            <p:cTn id="76" dur="500"/>
                                            <p:tgtEl>
                                              <p:spTgt spid="627"/>
                                            </p:tgtEl>
                                          </p:cBhvr>
                                        </p:animEffect>
                                      </p:childTnLst>
                                    </p:cTn>
                                  </p:par>
                                  <p:par>
                                    <p:cTn id="77" presetID="42" presetClass="path" presetSubtype="0" accel="50000" decel="50000" fill="hold" grpId="0" nodeType="withEffect">
                                      <p:stCondLst>
                                        <p:cond delay="400"/>
                                      </p:stCondLst>
                                      <p:childTnLst>
                                        <p:animMotion origin="layout" path="M 1.38889E-6 -0.05216 L 1.38889E-6 1.23457E-7 " pathEditMode="relative" rAng="0" ptsTypes="AA">
                                          <p:cBhvr>
                                            <p:cTn id="78" dur="2000" fill="hold"/>
                                            <p:tgtEl>
                                              <p:spTgt spid="627"/>
                                            </p:tgtEl>
                                            <p:attrNameLst>
                                              <p:attrName>ppt_x</p:attrName>
                                              <p:attrName>ppt_y</p:attrName>
                                            </p:attrNameLst>
                                          </p:cBhvr>
                                          <p:rCtr x="0" y="2593"/>
                                        </p:animMotion>
                                      </p:childTnLst>
                                    </p:cTn>
                                  </p:par>
                                  <p:par>
                                    <p:cTn id="79" presetID="10" presetClass="exit" presetSubtype="0" fill="hold" grpId="2" nodeType="withEffect">
                                      <p:stCondLst>
                                        <p:cond delay="1900"/>
                                      </p:stCondLst>
                                      <p:childTnLst>
                                        <p:animEffect transition="out" filter="fade">
                                          <p:cBhvr>
                                            <p:cTn id="80" dur="500"/>
                                            <p:tgtEl>
                                              <p:spTgt spid="627"/>
                                            </p:tgtEl>
                                          </p:cBhvr>
                                        </p:animEffect>
                                        <p:set>
                                          <p:cBhvr>
                                            <p:cTn id="81" dur="1" fill="hold">
                                              <p:stCondLst>
                                                <p:cond delay="499"/>
                                              </p:stCondLst>
                                            </p:cTn>
                                            <p:tgtEl>
                                              <p:spTgt spid="627"/>
                                            </p:tgtEl>
                                            <p:attrNameLst>
                                              <p:attrName>style.visibility</p:attrName>
                                            </p:attrNameLst>
                                          </p:cBhvr>
                                          <p:to>
                                            <p:strVal val="hidden"/>
                                          </p:to>
                                        </p:set>
                                      </p:childTnLst>
                                    </p:cTn>
                                  </p:par>
                                  <p:par>
                                    <p:cTn id="82" presetID="10" presetClass="entr" presetSubtype="0" fill="hold" grpId="1" nodeType="withEffect">
                                      <p:stCondLst>
                                        <p:cond delay="800"/>
                                      </p:stCondLst>
                                      <p:childTnLst>
                                        <p:set>
                                          <p:cBhvr>
                                            <p:cTn id="83" dur="1" fill="hold">
                                              <p:stCondLst>
                                                <p:cond delay="0"/>
                                              </p:stCondLst>
                                            </p:cTn>
                                            <p:tgtEl>
                                              <p:spTgt spid="628"/>
                                            </p:tgtEl>
                                            <p:attrNameLst>
                                              <p:attrName>style.visibility</p:attrName>
                                            </p:attrNameLst>
                                          </p:cBhvr>
                                          <p:to>
                                            <p:strVal val="visible"/>
                                          </p:to>
                                        </p:set>
                                        <p:animEffect transition="in" filter="fade">
                                          <p:cBhvr>
                                            <p:cTn id="84" dur="500"/>
                                            <p:tgtEl>
                                              <p:spTgt spid="628"/>
                                            </p:tgtEl>
                                          </p:cBhvr>
                                        </p:animEffect>
                                      </p:childTnLst>
                                    </p:cTn>
                                  </p:par>
                                  <p:par>
                                    <p:cTn id="85" presetID="42" presetClass="path" presetSubtype="0" accel="50000" decel="50000" fill="hold" grpId="0" nodeType="withEffect">
                                      <p:stCondLst>
                                        <p:cond delay="800"/>
                                      </p:stCondLst>
                                      <p:childTnLst>
                                        <p:animMotion origin="layout" path="M -4.72222E-6 -0.05216 L -4.72222E-6 1.23457E-7 " pathEditMode="relative" rAng="0" ptsTypes="AA">
                                          <p:cBhvr>
                                            <p:cTn id="86" dur="2000" fill="hold"/>
                                            <p:tgtEl>
                                              <p:spTgt spid="628"/>
                                            </p:tgtEl>
                                            <p:attrNameLst>
                                              <p:attrName>ppt_x</p:attrName>
                                              <p:attrName>ppt_y</p:attrName>
                                            </p:attrNameLst>
                                          </p:cBhvr>
                                          <p:rCtr x="0" y="2593"/>
                                        </p:animMotion>
                                      </p:childTnLst>
                                    </p:cTn>
                                  </p:par>
                                  <p:par>
                                    <p:cTn id="87" presetID="10" presetClass="exit" presetSubtype="0" fill="hold" grpId="2" nodeType="withEffect">
                                      <p:stCondLst>
                                        <p:cond delay="2300"/>
                                      </p:stCondLst>
                                      <p:childTnLst>
                                        <p:animEffect transition="out" filter="fade">
                                          <p:cBhvr>
                                            <p:cTn id="88" dur="500"/>
                                            <p:tgtEl>
                                              <p:spTgt spid="628"/>
                                            </p:tgtEl>
                                          </p:cBhvr>
                                        </p:animEffect>
                                        <p:set>
                                          <p:cBhvr>
                                            <p:cTn id="89" dur="1" fill="hold">
                                              <p:stCondLst>
                                                <p:cond delay="499"/>
                                              </p:stCondLst>
                                            </p:cTn>
                                            <p:tgtEl>
                                              <p:spTgt spid="628"/>
                                            </p:tgtEl>
                                            <p:attrNameLst>
                                              <p:attrName>style.visibility</p:attrName>
                                            </p:attrNameLst>
                                          </p:cBhvr>
                                          <p:to>
                                            <p:strVal val="hidden"/>
                                          </p:to>
                                        </p:set>
                                      </p:childTnLst>
                                    </p:cTn>
                                  </p:par>
                                  <p:par>
                                    <p:cTn id="90" presetID="10" presetClass="entr" presetSubtype="0" fill="hold" grpId="1" nodeType="withEffect">
                                      <p:stCondLst>
                                        <p:cond delay="0"/>
                                      </p:stCondLst>
                                      <p:childTnLst>
                                        <p:set>
                                          <p:cBhvr>
                                            <p:cTn id="91" dur="1" fill="hold">
                                              <p:stCondLst>
                                                <p:cond delay="0"/>
                                              </p:stCondLst>
                                            </p:cTn>
                                            <p:tgtEl>
                                              <p:spTgt spid="629"/>
                                            </p:tgtEl>
                                            <p:attrNameLst>
                                              <p:attrName>style.visibility</p:attrName>
                                            </p:attrNameLst>
                                          </p:cBhvr>
                                          <p:to>
                                            <p:strVal val="visible"/>
                                          </p:to>
                                        </p:set>
                                        <p:animEffect transition="in" filter="fade">
                                          <p:cBhvr>
                                            <p:cTn id="92" dur="500"/>
                                            <p:tgtEl>
                                              <p:spTgt spid="629"/>
                                            </p:tgtEl>
                                          </p:cBhvr>
                                        </p:animEffect>
                                      </p:childTnLst>
                                    </p:cTn>
                                  </p:par>
                                  <p:par>
                                    <p:cTn id="93" presetID="42" presetClass="path" presetSubtype="0" accel="50000" decel="50000" fill="hold" grpId="0" nodeType="withEffect">
                                      <p:stCondLst>
                                        <p:cond delay="0"/>
                                      </p:stCondLst>
                                      <p:childTnLst>
                                        <p:animMotion origin="layout" path="M 4.72222E-6 1.23457E-7 L -0.00018 -0.05247 " pathEditMode="relative" rAng="0" ptsTypes="AA">
                                          <p:cBhvr>
                                            <p:cTn id="94" dur="2000" fill="hold"/>
                                            <p:tgtEl>
                                              <p:spTgt spid="629"/>
                                            </p:tgtEl>
                                            <p:attrNameLst>
                                              <p:attrName>ppt_x</p:attrName>
                                              <p:attrName>ppt_y</p:attrName>
                                            </p:attrNameLst>
                                          </p:cBhvr>
                                          <p:rCtr x="-17" y="-2623"/>
                                        </p:animMotion>
                                      </p:childTnLst>
                                    </p:cTn>
                                  </p:par>
                                  <p:par>
                                    <p:cTn id="95" presetID="10" presetClass="exit" presetSubtype="0" fill="hold" grpId="2" nodeType="withEffect">
                                      <p:stCondLst>
                                        <p:cond delay="1500"/>
                                      </p:stCondLst>
                                      <p:childTnLst>
                                        <p:animEffect transition="out" filter="fade">
                                          <p:cBhvr>
                                            <p:cTn id="96" dur="500"/>
                                            <p:tgtEl>
                                              <p:spTgt spid="629"/>
                                            </p:tgtEl>
                                          </p:cBhvr>
                                        </p:animEffect>
                                        <p:set>
                                          <p:cBhvr>
                                            <p:cTn id="97" dur="1" fill="hold">
                                              <p:stCondLst>
                                                <p:cond delay="499"/>
                                              </p:stCondLst>
                                            </p:cTn>
                                            <p:tgtEl>
                                              <p:spTgt spid="629"/>
                                            </p:tgtEl>
                                            <p:attrNameLst>
                                              <p:attrName>style.visibility</p:attrName>
                                            </p:attrNameLst>
                                          </p:cBhvr>
                                          <p:to>
                                            <p:strVal val="hidden"/>
                                          </p:to>
                                        </p:set>
                                      </p:childTnLst>
                                    </p:cTn>
                                  </p:par>
                                  <p:par>
                                    <p:cTn id="98" presetID="10" presetClass="entr" presetSubtype="0" fill="hold" grpId="1" nodeType="withEffect">
                                      <p:stCondLst>
                                        <p:cond delay="600"/>
                                      </p:stCondLst>
                                      <p:childTnLst>
                                        <p:set>
                                          <p:cBhvr>
                                            <p:cTn id="99" dur="1" fill="hold">
                                              <p:stCondLst>
                                                <p:cond delay="0"/>
                                              </p:stCondLst>
                                            </p:cTn>
                                            <p:tgtEl>
                                              <p:spTgt spid="630"/>
                                            </p:tgtEl>
                                            <p:attrNameLst>
                                              <p:attrName>style.visibility</p:attrName>
                                            </p:attrNameLst>
                                          </p:cBhvr>
                                          <p:to>
                                            <p:strVal val="visible"/>
                                          </p:to>
                                        </p:set>
                                        <p:animEffect transition="in" filter="fade">
                                          <p:cBhvr>
                                            <p:cTn id="100" dur="500"/>
                                            <p:tgtEl>
                                              <p:spTgt spid="630"/>
                                            </p:tgtEl>
                                          </p:cBhvr>
                                        </p:animEffect>
                                      </p:childTnLst>
                                    </p:cTn>
                                  </p:par>
                                  <p:par>
                                    <p:cTn id="101" presetID="42" presetClass="path" presetSubtype="0" accel="50000" decel="50000" fill="hold" grpId="0" nodeType="withEffect">
                                      <p:stCondLst>
                                        <p:cond delay="600"/>
                                      </p:stCondLst>
                                      <p:childTnLst>
                                        <p:animMotion origin="layout" path="M -4.16667E-6 -0.05216 L -4.16667E-6 1.23457E-7 " pathEditMode="relative" rAng="0" ptsTypes="AA">
                                          <p:cBhvr>
                                            <p:cTn id="102" dur="2000" fill="hold"/>
                                            <p:tgtEl>
                                              <p:spTgt spid="630"/>
                                            </p:tgtEl>
                                            <p:attrNameLst>
                                              <p:attrName>ppt_x</p:attrName>
                                              <p:attrName>ppt_y</p:attrName>
                                            </p:attrNameLst>
                                          </p:cBhvr>
                                          <p:rCtr x="0" y="2593"/>
                                        </p:animMotion>
                                      </p:childTnLst>
                                    </p:cTn>
                                  </p:par>
                                  <p:par>
                                    <p:cTn id="103" presetID="10" presetClass="exit" presetSubtype="0" fill="hold" grpId="2" nodeType="withEffect">
                                      <p:stCondLst>
                                        <p:cond delay="2100"/>
                                      </p:stCondLst>
                                      <p:childTnLst>
                                        <p:animEffect transition="out" filter="fade">
                                          <p:cBhvr>
                                            <p:cTn id="104" dur="500"/>
                                            <p:tgtEl>
                                              <p:spTgt spid="630"/>
                                            </p:tgtEl>
                                          </p:cBhvr>
                                        </p:animEffect>
                                        <p:set>
                                          <p:cBhvr>
                                            <p:cTn id="105" dur="1" fill="hold">
                                              <p:stCondLst>
                                                <p:cond delay="499"/>
                                              </p:stCondLst>
                                            </p:cTn>
                                            <p:tgtEl>
                                              <p:spTgt spid="630"/>
                                            </p:tgtEl>
                                            <p:attrNameLst>
                                              <p:attrName>style.visibility</p:attrName>
                                            </p:attrNameLst>
                                          </p:cBhvr>
                                          <p:to>
                                            <p:strVal val="hidden"/>
                                          </p:to>
                                        </p:set>
                                      </p:childTnLst>
                                    </p:cTn>
                                  </p:par>
                                  <p:par>
                                    <p:cTn id="106" presetID="10" presetClass="entr" presetSubtype="0" fill="hold" grpId="1" nodeType="withEffect">
                                      <p:stCondLst>
                                        <p:cond delay="300"/>
                                      </p:stCondLst>
                                      <p:childTnLst>
                                        <p:set>
                                          <p:cBhvr>
                                            <p:cTn id="107" dur="1" fill="hold">
                                              <p:stCondLst>
                                                <p:cond delay="0"/>
                                              </p:stCondLst>
                                            </p:cTn>
                                            <p:tgtEl>
                                              <p:spTgt spid="631"/>
                                            </p:tgtEl>
                                            <p:attrNameLst>
                                              <p:attrName>style.visibility</p:attrName>
                                            </p:attrNameLst>
                                          </p:cBhvr>
                                          <p:to>
                                            <p:strVal val="visible"/>
                                          </p:to>
                                        </p:set>
                                        <p:animEffect transition="in" filter="fade">
                                          <p:cBhvr>
                                            <p:cTn id="108" dur="500"/>
                                            <p:tgtEl>
                                              <p:spTgt spid="631"/>
                                            </p:tgtEl>
                                          </p:cBhvr>
                                        </p:animEffect>
                                      </p:childTnLst>
                                    </p:cTn>
                                  </p:par>
                                  <p:par>
                                    <p:cTn id="109" presetID="42" presetClass="path" presetSubtype="0" accel="50000" decel="50000" fill="hold" grpId="0" nodeType="withEffect">
                                      <p:stCondLst>
                                        <p:cond delay="300"/>
                                      </p:stCondLst>
                                      <p:childTnLst>
                                        <p:animMotion origin="layout" path="M -4.16667E-6 -0.05247 L -0.00034 0.00031 " pathEditMode="relative" rAng="0" ptsTypes="AA">
                                          <p:cBhvr>
                                            <p:cTn id="110" dur="2000" fill="hold"/>
                                            <p:tgtEl>
                                              <p:spTgt spid="631"/>
                                            </p:tgtEl>
                                            <p:attrNameLst>
                                              <p:attrName>ppt_x</p:attrName>
                                              <p:attrName>ppt_y</p:attrName>
                                            </p:attrNameLst>
                                          </p:cBhvr>
                                          <p:rCtr x="-17" y="2623"/>
                                        </p:animMotion>
                                      </p:childTnLst>
                                    </p:cTn>
                                  </p:par>
                                  <p:par>
                                    <p:cTn id="111" presetID="10" presetClass="exit" presetSubtype="0" fill="hold" grpId="2" nodeType="withEffect">
                                      <p:stCondLst>
                                        <p:cond delay="1800"/>
                                      </p:stCondLst>
                                      <p:childTnLst>
                                        <p:animEffect transition="out" filter="fade">
                                          <p:cBhvr>
                                            <p:cTn id="112" dur="500"/>
                                            <p:tgtEl>
                                              <p:spTgt spid="631"/>
                                            </p:tgtEl>
                                          </p:cBhvr>
                                        </p:animEffect>
                                        <p:set>
                                          <p:cBhvr>
                                            <p:cTn id="113" dur="1" fill="hold">
                                              <p:stCondLst>
                                                <p:cond delay="499"/>
                                              </p:stCondLst>
                                            </p:cTn>
                                            <p:tgtEl>
                                              <p:spTgt spid="631"/>
                                            </p:tgtEl>
                                            <p:attrNameLst>
                                              <p:attrName>style.visibility</p:attrName>
                                            </p:attrNameLst>
                                          </p:cBhvr>
                                          <p:to>
                                            <p:strVal val="hidden"/>
                                          </p:to>
                                        </p:set>
                                      </p:childTnLst>
                                    </p:cTn>
                                  </p:par>
                                  <p:par>
                                    <p:cTn id="114" presetID="10" presetClass="entr" presetSubtype="0" fill="hold" grpId="1" nodeType="withEffect">
                                      <p:stCondLst>
                                        <p:cond delay="200"/>
                                      </p:stCondLst>
                                      <p:childTnLst>
                                        <p:set>
                                          <p:cBhvr>
                                            <p:cTn id="115" dur="1" fill="hold">
                                              <p:stCondLst>
                                                <p:cond delay="0"/>
                                              </p:stCondLst>
                                            </p:cTn>
                                            <p:tgtEl>
                                              <p:spTgt spid="632"/>
                                            </p:tgtEl>
                                            <p:attrNameLst>
                                              <p:attrName>style.visibility</p:attrName>
                                            </p:attrNameLst>
                                          </p:cBhvr>
                                          <p:to>
                                            <p:strVal val="visible"/>
                                          </p:to>
                                        </p:set>
                                        <p:animEffect transition="in" filter="fade">
                                          <p:cBhvr>
                                            <p:cTn id="116" dur="500"/>
                                            <p:tgtEl>
                                              <p:spTgt spid="632"/>
                                            </p:tgtEl>
                                          </p:cBhvr>
                                        </p:animEffect>
                                      </p:childTnLst>
                                    </p:cTn>
                                  </p:par>
                                  <p:par>
                                    <p:cTn id="117" presetID="42" presetClass="path" presetSubtype="0" accel="50000" decel="50000" fill="hold" grpId="0" nodeType="withEffect">
                                      <p:stCondLst>
                                        <p:cond delay="200"/>
                                      </p:stCondLst>
                                      <p:childTnLst>
                                        <p:animMotion origin="layout" path="M 5E-6 -0.05216 L 5E-6 3.33333E-6 " pathEditMode="relative" rAng="0" ptsTypes="AA">
                                          <p:cBhvr>
                                            <p:cTn id="118" dur="2000" fill="hold"/>
                                            <p:tgtEl>
                                              <p:spTgt spid="632"/>
                                            </p:tgtEl>
                                            <p:attrNameLst>
                                              <p:attrName>ppt_x</p:attrName>
                                              <p:attrName>ppt_y</p:attrName>
                                            </p:attrNameLst>
                                          </p:cBhvr>
                                          <p:rCtr x="0" y="2593"/>
                                        </p:animMotion>
                                      </p:childTnLst>
                                    </p:cTn>
                                  </p:par>
                                  <p:par>
                                    <p:cTn id="119" presetID="10" presetClass="exit" presetSubtype="0" fill="hold" grpId="2" nodeType="withEffect">
                                      <p:stCondLst>
                                        <p:cond delay="1700"/>
                                      </p:stCondLst>
                                      <p:childTnLst>
                                        <p:animEffect transition="out" filter="fade">
                                          <p:cBhvr>
                                            <p:cTn id="120" dur="500"/>
                                            <p:tgtEl>
                                              <p:spTgt spid="632"/>
                                            </p:tgtEl>
                                          </p:cBhvr>
                                        </p:animEffect>
                                        <p:set>
                                          <p:cBhvr>
                                            <p:cTn id="121" dur="1" fill="hold">
                                              <p:stCondLst>
                                                <p:cond delay="499"/>
                                              </p:stCondLst>
                                            </p:cTn>
                                            <p:tgtEl>
                                              <p:spTgt spid="632"/>
                                            </p:tgtEl>
                                            <p:attrNameLst>
                                              <p:attrName>style.visibility</p:attrName>
                                            </p:attrNameLst>
                                          </p:cBhvr>
                                          <p:to>
                                            <p:strVal val="hidden"/>
                                          </p:to>
                                        </p:set>
                                      </p:childTnLst>
                                    </p:cTn>
                                  </p:par>
                                  <p:par>
                                    <p:cTn id="122" presetID="10" presetClass="entr" presetSubtype="0" fill="hold" grpId="1" nodeType="withEffect">
                                      <p:stCondLst>
                                        <p:cond delay="900"/>
                                      </p:stCondLst>
                                      <p:childTnLst>
                                        <p:set>
                                          <p:cBhvr>
                                            <p:cTn id="123" dur="1" fill="hold">
                                              <p:stCondLst>
                                                <p:cond delay="0"/>
                                              </p:stCondLst>
                                            </p:cTn>
                                            <p:tgtEl>
                                              <p:spTgt spid="633"/>
                                            </p:tgtEl>
                                            <p:attrNameLst>
                                              <p:attrName>style.visibility</p:attrName>
                                            </p:attrNameLst>
                                          </p:cBhvr>
                                          <p:to>
                                            <p:strVal val="visible"/>
                                          </p:to>
                                        </p:set>
                                        <p:animEffect transition="in" filter="fade">
                                          <p:cBhvr>
                                            <p:cTn id="124" dur="500"/>
                                            <p:tgtEl>
                                              <p:spTgt spid="633"/>
                                            </p:tgtEl>
                                          </p:cBhvr>
                                        </p:animEffect>
                                      </p:childTnLst>
                                    </p:cTn>
                                  </p:par>
                                  <p:par>
                                    <p:cTn id="125" presetID="42" presetClass="path" presetSubtype="0" accel="50000" decel="50000" fill="hold" grpId="0" nodeType="withEffect">
                                      <p:stCondLst>
                                        <p:cond delay="900"/>
                                      </p:stCondLst>
                                      <p:childTnLst>
                                        <p:animMotion origin="layout" path="M 1.66667E-6 3.33333E-6 L -0.00018 -0.05247 " pathEditMode="relative" rAng="0" ptsTypes="AA">
                                          <p:cBhvr>
                                            <p:cTn id="126" dur="2000" fill="hold"/>
                                            <p:tgtEl>
                                              <p:spTgt spid="633"/>
                                            </p:tgtEl>
                                            <p:attrNameLst>
                                              <p:attrName>ppt_x</p:attrName>
                                              <p:attrName>ppt_y</p:attrName>
                                            </p:attrNameLst>
                                          </p:cBhvr>
                                          <p:rCtr x="-17" y="-2623"/>
                                        </p:animMotion>
                                      </p:childTnLst>
                                    </p:cTn>
                                  </p:par>
                                  <p:par>
                                    <p:cTn id="127" presetID="10" presetClass="exit" presetSubtype="0" fill="hold" grpId="2" nodeType="withEffect">
                                      <p:stCondLst>
                                        <p:cond delay="2400"/>
                                      </p:stCondLst>
                                      <p:childTnLst>
                                        <p:animEffect transition="out" filter="fade">
                                          <p:cBhvr>
                                            <p:cTn id="128" dur="500"/>
                                            <p:tgtEl>
                                              <p:spTgt spid="633"/>
                                            </p:tgtEl>
                                          </p:cBhvr>
                                        </p:animEffect>
                                        <p:set>
                                          <p:cBhvr>
                                            <p:cTn id="129" dur="1" fill="hold">
                                              <p:stCondLst>
                                                <p:cond delay="499"/>
                                              </p:stCondLst>
                                            </p:cTn>
                                            <p:tgtEl>
                                              <p:spTgt spid="633"/>
                                            </p:tgtEl>
                                            <p:attrNameLst>
                                              <p:attrName>style.visibility</p:attrName>
                                            </p:attrNameLst>
                                          </p:cBhvr>
                                          <p:to>
                                            <p:strVal val="hidden"/>
                                          </p:to>
                                        </p:set>
                                      </p:childTnLst>
                                    </p:cTn>
                                  </p:par>
                                  <p:par>
                                    <p:cTn id="130" presetID="10" presetClass="entr" presetSubtype="0" fill="hold" grpId="1" nodeType="withEffect">
                                      <p:stCondLst>
                                        <p:cond delay="500"/>
                                      </p:stCondLst>
                                      <p:childTnLst>
                                        <p:set>
                                          <p:cBhvr>
                                            <p:cTn id="131" dur="1" fill="hold">
                                              <p:stCondLst>
                                                <p:cond delay="0"/>
                                              </p:stCondLst>
                                            </p:cTn>
                                            <p:tgtEl>
                                              <p:spTgt spid="634"/>
                                            </p:tgtEl>
                                            <p:attrNameLst>
                                              <p:attrName>style.visibility</p:attrName>
                                            </p:attrNameLst>
                                          </p:cBhvr>
                                          <p:to>
                                            <p:strVal val="visible"/>
                                          </p:to>
                                        </p:set>
                                        <p:animEffect transition="in" filter="fade">
                                          <p:cBhvr>
                                            <p:cTn id="132" dur="500"/>
                                            <p:tgtEl>
                                              <p:spTgt spid="634"/>
                                            </p:tgtEl>
                                          </p:cBhvr>
                                        </p:animEffect>
                                      </p:childTnLst>
                                    </p:cTn>
                                  </p:par>
                                  <p:par>
                                    <p:cTn id="133" presetID="42" presetClass="path" presetSubtype="0" accel="50000" decel="50000" fill="hold" grpId="0" nodeType="withEffect">
                                      <p:stCondLst>
                                        <p:cond delay="500"/>
                                      </p:stCondLst>
                                      <p:childTnLst>
                                        <p:animMotion origin="layout" path="M 3.88889E-6 -0.05216 L 3.88889E-6 1.23457E-7 " pathEditMode="relative" rAng="0" ptsTypes="AA">
                                          <p:cBhvr>
                                            <p:cTn id="134" dur="2000" fill="hold"/>
                                            <p:tgtEl>
                                              <p:spTgt spid="634"/>
                                            </p:tgtEl>
                                            <p:attrNameLst>
                                              <p:attrName>ppt_x</p:attrName>
                                              <p:attrName>ppt_y</p:attrName>
                                            </p:attrNameLst>
                                          </p:cBhvr>
                                          <p:rCtr x="0" y="2593"/>
                                        </p:animMotion>
                                      </p:childTnLst>
                                    </p:cTn>
                                  </p:par>
                                  <p:par>
                                    <p:cTn id="135" presetID="10" presetClass="exit" presetSubtype="0" fill="hold" grpId="2" nodeType="withEffect">
                                      <p:stCondLst>
                                        <p:cond delay="2000"/>
                                      </p:stCondLst>
                                      <p:childTnLst>
                                        <p:animEffect transition="out" filter="fade">
                                          <p:cBhvr>
                                            <p:cTn id="136" dur="500"/>
                                            <p:tgtEl>
                                              <p:spTgt spid="634"/>
                                            </p:tgtEl>
                                          </p:cBhvr>
                                        </p:animEffect>
                                        <p:set>
                                          <p:cBhvr>
                                            <p:cTn id="137" dur="1" fill="hold">
                                              <p:stCondLst>
                                                <p:cond delay="499"/>
                                              </p:stCondLst>
                                            </p:cTn>
                                            <p:tgtEl>
                                              <p:spTgt spid="634"/>
                                            </p:tgtEl>
                                            <p:attrNameLst>
                                              <p:attrName>style.visibility</p:attrName>
                                            </p:attrNameLst>
                                          </p:cBhvr>
                                          <p:to>
                                            <p:strVal val="hidden"/>
                                          </p:to>
                                        </p:set>
                                      </p:childTnLst>
                                    </p:cTn>
                                  </p:par>
                                  <p:par>
                                    <p:cTn id="138" presetID="10" presetClass="entr" presetSubtype="0" fill="hold" grpId="1" nodeType="withEffect">
                                      <p:stCondLst>
                                        <p:cond delay="300"/>
                                      </p:stCondLst>
                                      <p:childTnLst>
                                        <p:set>
                                          <p:cBhvr>
                                            <p:cTn id="139" dur="1" fill="hold">
                                              <p:stCondLst>
                                                <p:cond delay="0"/>
                                              </p:stCondLst>
                                            </p:cTn>
                                            <p:tgtEl>
                                              <p:spTgt spid="635"/>
                                            </p:tgtEl>
                                            <p:attrNameLst>
                                              <p:attrName>style.visibility</p:attrName>
                                            </p:attrNameLst>
                                          </p:cBhvr>
                                          <p:to>
                                            <p:strVal val="visible"/>
                                          </p:to>
                                        </p:set>
                                        <p:animEffect transition="in" filter="fade">
                                          <p:cBhvr>
                                            <p:cTn id="140" dur="500"/>
                                            <p:tgtEl>
                                              <p:spTgt spid="635"/>
                                            </p:tgtEl>
                                          </p:cBhvr>
                                        </p:animEffect>
                                      </p:childTnLst>
                                    </p:cTn>
                                  </p:par>
                                  <p:par>
                                    <p:cTn id="141" presetID="42" presetClass="path" presetSubtype="0" accel="50000" decel="50000" fill="hold" grpId="0" nodeType="withEffect">
                                      <p:stCondLst>
                                        <p:cond delay="300"/>
                                      </p:stCondLst>
                                      <p:childTnLst>
                                        <p:animMotion origin="layout" path="M 1.38889E-6 1.23457E-7 L -0.00017 -0.05247 " pathEditMode="relative" rAng="0" ptsTypes="AA">
                                          <p:cBhvr>
                                            <p:cTn id="142" dur="2000" fill="hold"/>
                                            <p:tgtEl>
                                              <p:spTgt spid="635"/>
                                            </p:tgtEl>
                                            <p:attrNameLst>
                                              <p:attrName>ppt_x</p:attrName>
                                              <p:attrName>ppt_y</p:attrName>
                                            </p:attrNameLst>
                                          </p:cBhvr>
                                          <p:rCtr x="-17" y="-2623"/>
                                        </p:animMotion>
                                      </p:childTnLst>
                                    </p:cTn>
                                  </p:par>
                                  <p:par>
                                    <p:cTn id="143" presetID="10" presetClass="exit" presetSubtype="0" fill="hold" grpId="2" nodeType="withEffect">
                                      <p:stCondLst>
                                        <p:cond delay="1800"/>
                                      </p:stCondLst>
                                      <p:childTnLst>
                                        <p:animEffect transition="out" filter="fade">
                                          <p:cBhvr>
                                            <p:cTn id="144" dur="500"/>
                                            <p:tgtEl>
                                              <p:spTgt spid="635"/>
                                            </p:tgtEl>
                                          </p:cBhvr>
                                        </p:animEffect>
                                        <p:set>
                                          <p:cBhvr>
                                            <p:cTn id="145" dur="1" fill="hold">
                                              <p:stCondLst>
                                                <p:cond delay="499"/>
                                              </p:stCondLst>
                                            </p:cTn>
                                            <p:tgtEl>
                                              <p:spTgt spid="635"/>
                                            </p:tgtEl>
                                            <p:attrNameLst>
                                              <p:attrName>style.visibility</p:attrName>
                                            </p:attrNameLst>
                                          </p:cBhvr>
                                          <p:to>
                                            <p:strVal val="hidden"/>
                                          </p:to>
                                        </p:set>
                                      </p:childTnLst>
                                    </p:cTn>
                                  </p:par>
                                  <p:par>
                                    <p:cTn id="146" presetID="10" presetClass="entr" presetSubtype="0" fill="hold" grpId="1" nodeType="withEffect">
                                      <p:stCondLst>
                                        <p:cond delay="100"/>
                                      </p:stCondLst>
                                      <p:childTnLst>
                                        <p:set>
                                          <p:cBhvr>
                                            <p:cTn id="147" dur="1" fill="hold">
                                              <p:stCondLst>
                                                <p:cond delay="0"/>
                                              </p:stCondLst>
                                            </p:cTn>
                                            <p:tgtEl>
                                              <p:spTgt spid="621"/>
                                            </p:tgtEl>
                                            <p:attrNameLst>
                                              <p:attrName>style.visibility</p:attrName>
                                            </p:attrNameLst>
                                          </p:cBhvr>
                                          <p:to>
                                            <p:strVal val="visible"/>
                                          </p:to>
                                        </p:set>
                                        <p:animEffect transition="in" filter="fade">
                                          <p:cBhvr>
                                            <p:cTn id="148" dur="500"/>
                                            <p:tgtEl>
                                              <p:spTgt spid="621"/>
                                            </p:tgtEl>
                                          </p:cBhvr>
                                        </p:animEffect>
                                      </p:childTnLst>
                                    </p:cTn>
                                  </p:par>
                                  <p:par>
                                    <p:cTn id="149" presetID="42" presetClass="path" presetSubtype="0" accel="50000" decel="50000" fill="hold" grpId="0" nodeType="withEffect">
                                      <p:stCondLst>
                                        <p:cond delay="100"/>
                                      </p:stCondLst>
                                      <p:childTnLst>
                                        <p:animMotion origin="layout" path="M -1.94444E-6 -0.05216 L -1.94444E-6 1.23457E-7 " pathEditMode="relative" rAng="0" ptsTypes="AA">
                                          <p:cBhvr>
                                            <p:cTn id="150" dur="2000" fill="hold"/>
                                            <p:tgtEl>
                                              <p:spTgt spid="621"/>
                                            </p:tgtEl>
                                            <p:attrNameLst>
                                              <p:attrName>ppt_x</p:attrName>
                                              <p:attrName>ppt_y</p:attrName>
                                            </p:attrNameLst>
                                          </p:cBhvr>
                                          <p:rCtr x="0" y="2593"/>
                                        </p:animMotion>
                                      </p:childTnLst>
                                    </p:cTn>
                                  </p:par>
                                  <p:par>
                                    <p:cTn id="151" presetID="10" presetClass="exit" presetSubtype="0" fill="hold" grpId="2" nodeType="withEffect">
                                      <p:stCondLst>
                                        <p:cond delay="1600"/>
                                      </p:stCondLst>
                                      <p:childTnLst>
                                        <p:animEffect transition="out" filter="fade">
                                          <p:cBhvr>
                                            <p:cTn id="152" dur="500"/>
                                            <p:tgtEl>
                                              <p:spTgt spid="621"/>
                                            </p:tgtEl>
                                          </p:cBhvr>
                                        </p:animEffect>
                                        <p:set>
                                          <p:cBhvr>
                                            <p:cTn id="153" dur="1" fill="hold">
                                              <p:stCondLst>
                                                <p:cond delay="499"/>
                                              </p:stCondLst>
                                            </p:cTn>
                                            <p:tgtEl>
                                              <p:spTgt spid="621"/>
                                            </p:tgtEl>
                                            <p:attrNameLst>
                                              <p:attrName>style.visibility</p:attrName>
                                            </p:attrNameLst>
                                          </p:cBhvr>
                                          <p:to>
                                            <p:strVal val="hidden"/>
                                          </p:to>
                                        </p:set>
                                      </p:childTnLst>
                                    </p:cTn>
                                  </p:par>
                                  <p:par>
                                    <p:cTn id="154" presetID="10" presetClass="entr" presetSubtype="0" fill="hold" grpId="1" nodeType="withEffect">
                                      <p:stCondLst>
                                        <p:cond delay="0"/>
                                      </p:stCondLst>
                                      <p:childTnLst>
                                        <p:set>
                                          <p:cBhvr>
                                            <p:cTn id="155" dur="1" fill="hold">
                                              <p:stCondLst>
                                                <p:cond delay="0"/>
                                              </p:stCondLst>
                                            </p:cTn>
                                            <p:tgtEl>
                                              <p:spTgt spid="622"/>
                                            </p:tgtEl>
                                            <p:attrNameLst>
                                              <p:attrName>style.visibility</p:attrName>
                                            </p:attrNameLst>
                                          </p:cBhvr>
                                          <p:to>
                                            <p:strVal val="visible"/>
                                          </p:to>
                                        </p:set>
                                        <p:animEffect transition="in" filter="fade">
                                          <p:cBhvr>
                                            <p:cTn id="156" dur="500"/>
                                            <p:tgtEl>
                                              <p:spTgt spid="622"/>
                                            </p:tgtEl>
                                          </p:cBhvr>
                                        </p:animEffect>
                                      </p:childTnLst>
                                    </p:cTn>
                                  </p:par>
                                  <p:par>
                                    <p:cTn id="157" presetID="42" presetClass="path" presetSubtype="0" accel="50000" decel="50000" fill="hold" grpId="0" nodeType="withEffect">
                                      <p:stCondLst>
                                        <p:cond delay="0"/>
                                      </p:stCondLst>
                                      <p:childTnLst>
                                        <p:animMotion origin="layout" path="M 4.72222E-6 1.23457E-7 L -0.00018 -0.05247 " pathEditMode="relative" rAng="0" ptsTypes="AA">
                                          <p:cBhvr>
                                            <p:cTn id="158" dur="2000" fill="hold"/>
                                            <p:tgtEl>
                                              <p:spTgt spid="622"/>
                                            </p:tgtEl>
                                            <p:attrNameLst>
                                              <p:attrName>ppt_x</p:attrName>
                                              <p:attrName>ppt_y</p:attrName>
                                            </p:attrNameLst>
                                          </p:cBhvr>
                                          <p:rCtr x="-17" y="-2623"/>
                                        </p:animMotion>
                                      </p:childTnLst>
                                    </p:cTn>
                                  </p:par>
                                  <p:par>
                                    <p:cTn id="159" presetID="10" presetClass="exit" presetSubtype="0" fill="hold" grpId="2" nodeType="withEffect">
                                      <p:stCondLst>
                                        <p:cond delay="1500"/>
                                      </p:stCondLst>
                                      <p:childTnLst>
                                        <p:animEffect transition="out" filter="fade">
                                          <p:cBhvr>
                                            <p:cTn id="160" dur="500"/>
                                            <p:tgtEl>
                                              <p:spTgt spid="622"/>
                                            </p:tgtEl>
                                          </p:cBhvr>
                                        </p:animEffect>
                                        <p:set>
                                          <p:cBhvr>
                                            <p:cTn id="161" dur="1" fill="hold">
                                              <p:stCondLst>
                                                <p:cond delay="499"/>
                                              </p:stCondLst>
                                            </p:cTn>
                                            <p:tgtEl>
                                              <p:spTgt spid="622"/>
                                            </p:tgtEl>
                                            <p:attrNameLst>
                                              <p:attrName>style.visibility</p:attrName>
                                            </p:attrNameLst>
                                          </p:cBhvr>
                                          <p:to>
                                            <p:strVal val="hidden"/>
                                          </p:to>
                                        </p:set>
                                      </p:childTnLst>
                                    </p:cTn>
                                  </p:par>
                                  <p:par>
                                    <p:cTn id="162" presetID="10" presetClass="entr" presetSubtype="0" fill="hold" grpId="1" nodeType="withEffect">
                                      <p:stCondLst>
                                        <p:cond delay="0"/>
                                      </p:stCondLst>
                                      <p:childTnLst>
                                        <p:set>
                                          <p:cBhvr>
                                            <p:cTn id="163" dur="1" fill="hold">
                                              <p:stCondLst>
                                                <p:cond delay="0"/>
                                              </p:stCondLst>
                                            </p:cTn>
                                            <p:tgtEl>
                                              <p:spTgt spid="592"/>
                                            </p:tgtEl>
                                            <p:attrNameLst>
                                              <p:attrName>style.visibility</p:attrName>
                                            </p:attrNameLst>
                                          </p:cBhvr>
                                          <p:to>
                                            <p:strVal val="visible"/>
                                          </p:to>
                                        </p:set>
                                        <p:animEffect transition="in" filter="fade">
                                          <p:cBhvr>
                                            <p:cTn id="164" dur="500"/>
                                            <p:tgtEl>
                                              <p:spTgt spid="592"/>
                                            </p:tgtEl>
                                          </p:cBhvr>
                                        </p:animEffect>
                                      </p:childTnLst>
                                    </p:cTn>
                                  </p:par>
                                  <p:par>
                                    <p:cTn id="165" presetID="42" presetClass="path" presetSubtype="0" accel="50000" decel="50000" fill="hold" grpId="0" nodeType="withEffect">
                                      <p:stCondLst>
                                        <p:cond delay="0"/>
                                      </p:stCondLst>
                                      <p:childTnLst>
                                        <p:animMotion origin="layout" path="M -2.5E-6 -0.05216 L -2.5E-6 3.33333E-6 " pathEditMode="relative" rAng="0" ptsTypes="AA">
                                          <p:cBhvr>
                                            <p:cTn id="166" dur="2000" fill="hold"/>
                                            <p:tgtEl>
                                              <p:spTgt spid="592"/>
                                            </p:tgtEl>
                                            <p:attrNameLst>
                                              <p:attrName>ppt_x</p:attrName>
                                              <p:attrName>ppt_y</p:attrName>
                                            </p:attrNameLst>
                                          </p:cBhvr>
                                          <p:rCtr x="0" y="2593"/>
                                        </p:animMotion>
                                      </p:childTnLst>
                                    </p:cTn>
                                  </p:par>
                                  <p:par>
                                    <p:cTn id="167" presetID="10" presetClass="exit" presetSubtype="0" fill="hold" grpId="2" nodeType="withEffect">
                                      <p:stCondLst>
                                        <p:cond delay="1500"/>
                                      </p:stCondLst>
                                      <p:childTnLst>
                                        <p:animEffect transition="out" filter="fade">
                                          <p:cBhvr>
                                            <p:cTn id="168" dur="500"/>
                                            <p:tgtEl>
                                              <p:spTgt spid="592"/>
                                            </p:tgtEl>
                                          </p:cBhvr>
                                        </p:animEffect>
                                        <p:set>
                                          <p:cBhvr>
                                            <p:cTn id="169" dur="1" fill="hold">
                                              <p:stCondLst>
                                                <p:cond delay="499"/>
                                              </p:stCondLst>
                                            </p:cTn>
                                            <p:tgtEl>
                                              <p:spTgt spid="592"/>
                                            </p:tgtEl>
                                            <p:attrNameLst>
                                              <p:attrName>style.visibility</p:attrName>
                                            </p:attrNameLst>
                                          </p:cBhvr>
                                          <p:to>
                                            <p:strVal val="hidden"/>
                                          </p:to>
                                        </p:set>
                                      </p:childTnLst>
                                    </p:cTn>
                                  </p:par>
                                  <p:par>
                                    <p:cTn id="170" presetID="10" presetClass="entr" presetSubtype="0" fill="hold" grpId="1" nodeType="withEffect">
                                      <p:stCondLst>
                                        <p:cond delay="300"/>
                                      </p:stCondLst>
                                      <p:childTnLst>
                                        <p:set>
                                          <p:cBhvr>
                                            <p:cTn id="171" dur="1" fill="hold">
                                              <p:stCondLst>
                                                <p:cond delay="0"/>
                                              </p:stCondLst>
                                            </p:cTn>
                                            <p:tgtEl>
                                              <p:spTgt spid="593"/>
                                            </p:tgtEl>
                                            <p:attrNameLst>
                                              <p:attrName>style.visibility</p:attrName>
                                            </p:attrNameLst>
                                          </p:cBhvr>
                                          <p:to>
                                            <p:strVal val="visible"/>
                                          </p:to>
                                        </p:set>
                                        <p:animEffect transition="in" filter="fade">
                                          <p:cBhvr>
                                            <p:cTn id="172" dur="500"/>
                                            <p:tgtEl>
                                              <p:spTgt spid="593"/>
                                            </p:tgtEl>
                                          </p:cBhvr>
                                        </p:animEffect>
                                      </p:childTnLst>
                                    </p:cTn>
                                  </p:par>
                                  <p:par>
                                    <p:cTn id="173" presetID="42" presetClass="path" presetSubtype="0" accel="50000" decel="50000" fill="hold" grpId="0" nodeType="withEffect">
                                      <p:stCondLst>
                                        <p:cond delay="300"/>
                                      </p:stCondLst>
                                      <p:childTnLst>
                                        <p:animMotion origin="layout" path="M -4.72222E-6 3.33333E-6 L -0.00017 -0.05247 " pathEditMode="relative" rAng="0" ptsTypes="AA">
                                          <p:cBhvr>
                                            <p:cTn id="174" dur="2000" fill="hold"/>
                                            <p:tgtEl>
                                              <p:spTgt spid="593"/>
                                            </p:tgtEl>
                                            <p:attrNameLst>
                                              <p:attrName>ppt_x</p:attrName>
                                              <p:attrName>ppt_y</p:attrName>
                                            </p:attrNameLst>
                                          </p:cBhvr>
                                          <p:rCtr x="-17" y="-2623"/>
                                        </p:animMotion>
                                      </p:childTnLst>
                                    </p:cTn>
                                  </p:par>
                                  <p:par>
                                    <p:cTn id="175" presetID="10" presetClass="exit" presetSubtype="0" fill="hold" grpId="2" nodeType="withEffect">
                                      <p:stCondLst>
                                        <p:cond delay="1800"/>
                                      </p:stCondLst>
                                      <p:childTnLst>
                                        <p:animEffect transition="out" filter="fade">
                                          <p:cBhvr>
                                            <p:cTn id="176" dur="500"/>
                                            <p:tgtEl>
                                              <p:spTgt spid="593"/>
                                            </p:tgtEl>
                                          </p:cBhvr>
                                        </p:animEffect>
                                        <p:set>
                                          <p:cBhvr>
                                            <p:cTn id="177" dur="1" fill="hold">
                                              <p:stCondLst>
                                                <p:cond delay="499"/>
                                              </p:stCondLst>
                                            </p:cTn>
                                            <p:tgtEl>
                                              <p:spTgt spid="593"/>
                                            </p:tgtEl>
                                            <p:attrNameLst>
                                              <p:attrName>style.visibility</p:attrName>
                                            </p:attrNameLst>
                                          </p:cBhvr>
                                          <p:to>
                                            <p:strVal val="hidden"/>
                                          </p:to>
                                        </p:set>
                                      </p:childTnLst>
                                    </p:cTn>
                                  </p:par>
                                  <p:par>
                                    <p:cTn id="178" presetID="10" presetClass="entr" presetSubtype="0" fill="hold" grpId="1" nodeType="withEffect">
                                      <p:stCondLst>
                                        <p:cond delay="700"/>
                                      </p:stCondLst>
                                      <p:childTnLst>
                                        <p:set>
                                          <p:cBhvr>
                                            <p:cTn id="179" dur="1" fill="hold">
                                              <p:stCondLst>
                                                <p:cond delay="0"/>
                                              </p:stCondLst>
                                            </p:cTn>
                                            <p:tgtEl>
                                              <p:spTgt spid="594"/>
                                            </p:tgtEl>
                                            <p:attrNameLst>
                                              <p:attrName>style.visibility</p:attrName>
                                            </p:attrNameLst>
                                          </p:cBhvr>
                                          <p:to>
                                            <p:strVal val="visible"/>
                                          </p:to>
                                        </p:set>
                                        <p:animEffect transition="in" filter="fade">
                                          <p:cBhvr>
                                            <p:cTn id="180" dur="500"/>
                                            <p:tgtEl>
                                              <p:spTgt spid="594"/>
                                            </p:tgtEl>
                                          </p:cBhvr>
                                        </p:animEffect>
                                      </p:childTnLst>
                                    </p:cTn>
                                  </p:par>
                                  <p:par>
                                    <p:cTn id="181" presetID="42" presetClass="path" presetSubtype="0" accel="50000" decel="50000" fill="hold" grpId="0" nodeType="withEffect">
                                      <p:stCondLst>
                                        <p:cond delay="700"/>
                                      </p:stCondLst>
                                      <p:childTnLst>
                                        <p:animMotion origin="layout" path="M -4.72222E-6 3.33333E-6 L -0.00017 -0.05247 " pathEditMode="relative" rAng="0" ptsTypes="AA">
                                          <p:cBhvr>
                                            <p:cTn id="182" dur="2000" fill="hold"/>
                                            <p:tgtEl>
                                              <p:spTgt spid="594"/>
                                            </p:tgtEl>
                                            <p:attrNameLst>
                                              <p:attrName>ppt_x</p:attrName>
                                              <p:attrName>ppt_y</p:attrName>
                                            </p:attrNameLst>
                                          </p:cBhvr>
                                          <p:rCtr x="-17" y="-2623"/>
                                        </p:animMotion>
                                      </p:childTnLst>
                                    </p:cTn>
                                  </p:par>
                                  <p:par>
                                    <p:cTn id="183" presetID="10" presetClass="exit" presetSubtype="0" fill="hold" grpId="2" nodeType="withEffect">
                                      <p:stCondLst>
                                        <p:cond delay="2200"/>
                                      </p:stCondLst>
                                      <p:childTnLst>
                                        <p:animEffect transition="out" filter="fade">
                                          <p:cBhvr>
                                            <p:cTn id="184" dur="500"/>
                                            <p:tgtEl>
                                              <p:spTgt spid="594"/>
                                            </p:tgtEl>
                                          </p:cBhvr>
                                        </p:animEffect>
                                        <p:set>
                                          <p:cBhvr>
                                            <p:cTn id="185" dur="1" fill="hold">
                                              <p:stCondLst>
                                                <p:cond delay="499"/>
                                              </p:stCondLst>
                                            </p:cTn>
                                            <p:tgtEl>
                                              <p:spTgt spid="594"/>
                                            </p:tgtEl>
                                            <p:attrNameLst>
                                              <p:attrName>style.visibility</p:attrName>
                                            </p:attrNameLst>
                                          </p:cBhvr>
                                          <p:to>
                                            <p:strVal val="hidden"/>
                                          </p:to>
                                        </p:set>
                                      </p:childTnLst>
                                    </p:cTn>
                                  </p:par>
                                  <p:par>
                                    <p:cTn id="186" presetID="10" presetClass="entr" presetSubtype="0" fill="hold" grpId="1" nodeType="withEffect">
                                      <p:stCondLst>
                                        <p:cond delay="100"/>
                                      </p:stCondLst>
                                      <p:childTnLst>
                                        <p:set>
                                          <p:cBhvr>
                                            <p:cTn id="187" dur="1" fill="hold">
                                              <p:stCondLst>
                                                <p:cond delay="0"/>
                                              </p:stCondLst>
                                            </p:cTn>
                                            <p:tgtEl>
                                              <p:spTgt spid="595"/>
                                            </p:tgtEl>
                                            <p:attrNameLst>
                                              <p:attrName>style.visibility</p:attrName>
                                            </p:attrNameLst>
                                          </p:cBhvr>
                                          <p:to>
                                            <p:strVal val="visible"/>
                                          </p:to>
                                        </p:set>
                                        <p:animEffect transition="in" filter="fade">
                                          <p:cBhvr>
                                            <p:cTn id="188" dur="500"/>
                                            <p:tgtEl>
                                              <p:spTgt spid="595"/>
                                            </p:tgtEl>
                                          </p:cBhvr>
                                        </p:animEffect>
                                      </p:childTnLst>
                                    </p:cTn>
                                  </p:par>
                                  <p:par>
                                    <p:cTn id="189" presetID="42" presetClass="path" presetSubtype="0" accel="50000" decel="50000" fill="hold" grpId="0" nodeType="withEffect">
                                      <p:stCondLst>
                                        <p:cond delay="100"/>
                                      </p:stCondLst>
                                      <p:childTnLst>
                                        <p:animMotion origin="layout" path="M 1.66667E-6 3.33333E-6 L -0.00018 -0.05247 " pathEditMode="relative" rAng="0" ptsTypes="AA">
                                          <p:cBhvr>
                                            <p:cTn id="190" dur="2000" fill="hold"/>
                                            <p:tgtEl>
                                              <p:spTgt spid="595"/>
                                            </p:tgtEl>
                                            <p:attrNameLst>
                                              <p:attrName>ppt_x</p:attrName>
                                              <p:attrName>ppt_y</p:attrName>
                                            </p:attrNameLst>
                                          </p:cBhvr>
                                          <p:rCtr x="-17" y="-2623"/>
                                        </p:animMotion>
                                      </p:childTnLst>
                                    </p:cTn>
                                  </p:par>
                                  <p:par>
                                    <p:cTn id="191" presetID="10" presetClass="exit" presetSubtype="0" fill="hold" grpId="2" nodeType="withEffect">
                                      <p:stCondLst>
                                        <p:cond delay="1600"/>
                                      </p:stCondLst>
                                      <p:childTnLst>
                                        <p:animEffect transition="out" filter="fade">
                                          <p:cBhvr>
                                            <p:cTn id="192" dur="500"/>
                                            <p:tgtEl>
                                              <p:spTgt spid="595"/>
                                            </p:tgtEl>
                                          </p:cBhvr>
                                        </p:animEffect>
                                        <p:set>
                                          <p:cBhvr>
                                            <p:cTn id="193" dur="1" fill="hold">
                                              <p:stCondLst>
                                                <p:cond delay="499"/>
                                              </p:stCondLst>
                                            </p:cTn>
                                            <p:tgtEl>
                                              <p:spTgt spid="595"/>
                                            </p:tgtEl>
                                            <p:attrNameLst>
                                              <p:attrName>style.visibility</p:attrName>
                                            </p:attrNameLst>
                                          </p:cBhvr>
                                          <p:to>
                                            <p:strVal val="hidden"/>
                                          </p:to>
                                        </p:set>
                                      </p:childTnLst>
                                    </p:cTn>
                                  </p:par>
                                  <p:par>
                                    <p:cTn id="194" presetID="10" presetClass="entr" presetSubtype="0" fill="hold" grpId="1" nodeType="withEffect">
                                      <p:stCondLst>
                                        <p:cond delay="400"/>
                                      </p:stCondLst>
                                      <p:childTnLst>
                                        <p:set>
                                          <p:cBhvr>
                                            <p:cTn id="195" dur="1" fill="hold">
                                              <p:stCondLst>
                                                <p:cond delay="0"/>
                                              </p:stCondLst>
                                            </p:cTn>
                                            <p:tgtEl>
                                              <p:spTgt spid="596"/>
                                            </p:tgtEl>
                                            <p:attrNameLst>
                                              <p:attrName>style.visibility</p:attrName>
                                            </p:attrNameLst>
                                          </p:cBhvr>
                                          <p:to>
                                            <p:strVal val="visible"/>
                                          </p:to>
                                        </p:set>
                                        <p:animEffect transition="in" filter="fade">
                                          <p:cBhvr>
                                            <p:cTn id="196" dur="500"/>
                                            <p:tgtEl>
                                              <p:spTgt spid="596"/>
                                            </p:tgtEl>
                                          </p:cBhvr>
                                        </p:animEffect>
                                      </p:childTnLst>
                                    </p:cTn>
                                  </p:par>
                                  <p:par>
                                    <p:cTn id="197" presetID="42" presetClass="path" presetSubtype="0" accel="50000" decel="50000" fill="hold" grpId="0" nodeType="withEffect">
                                      <p:stCondLst>
                                        <p:cond delay="400"/>
                                      </p:stCondLst>
                                      <p:childTnLst>
                                        <p:animMotion origin="layout" path="M -2.5E-6 -0.05216 L -2.5E-6 3.33333E-6 " pathEditMode="relative" rAng="0" ptsTypes="AA">
                                          <p:cBhvr>
                                            <p:cTn id="198" dur="2000" fill="hold"/>
                                            <p:tgtEl>
                                              <p:spTgt spid="596"/>
                                            </p:tgtEl>
                                            <p:attrNameLst>
                                              <p:attrName>ppt_x</p:attrName>
                                              <p:attrName>ppt_y</p:attrName>
                                            </p:attrNameLst>
                                          </p:cBhvr>
                                          <p:rCtr x="0" y="2593"/>
                                        </p:animMotion>
                                      </p:childTnLst>
                                    </p:cTn>
                                  </p:par>
                                  <p:par>
                                    <p:cTn id="199" presetID="10" presetClass="exit" presetSubtype="0" fill="hold" grpId="2" nodeType="withEffect">
                                      <p:stCondLst>
                                        <p:cond delay="1900"/>
                                      </p:stCondLst>
                                      <p:childTnLst>
                                        <p:animEffect transition="out" filter="fade">
                                          <p:cBhvr>
                                            <p:cTn id="200" dur="500"/>
                                            <p:tgtEl>
                                              <p:spTgt spid="596"/>
                                            </p:tgtEl>
                                          </p:cBhvr>
                                        </p:animEffect>
                                        <p:set>
                                          <p:cBhvr>
                                            <p:cTn id="201" dur="1" fill="hold">
                                              <p:stCondLst>
                                                <p:cond delay="499"/>
                                              </p:stCondLst>
                                            </p:cTn>
                                            <p:tgtEl>
                                              <p:spTgt spid="596"/>
                                            </p:tgtEl>
                                            <p:attrNameLst>
                                              <p:attrName>style.visibility</p:attrName>
                                            </p:attrNameLst>
                                          </p:cBhvr>
                                          <p:to>
                                            <p:strVal val="hidden"/>
                                          </p:to>
                                        </p:set>
                                      </p:childTnLst>
                                    </p:cTn>
                                  </p:par>
                                  <p:par>
                                    <p:cTn id="202" presetID="10" presetClass="entr" presetSubtype="0" fill="hold" grpId="1" nodeType="withEffect">
                                      <p:stCondLst>
                                        <p:cond delay="800"/>
                                      </p:stCondLst>
                                      <p:childTnLst>
                                        <p:set>
                                          <p:cBhvr>
                                            <p:cTn id="203" dur="1" fill="hold">
                                              <p:stCondLst>
                                                <p:cond delay="0"/>
                                              </p:stCondLst>
                                            </p:cTn>
                                            <p:tgtEl>
                                              <p:spTgt spid="597"/>
                                            </p:tgtEl>
                                            <p:attrNameLst>
                                              <p:attrName>style.visibility</p:attrName>
                                            </p:attrNameLst>
                                          </p:cBhvr>
                                          <p:to>
                                            <p:strVal val="visible"/>
                                          </p:to>
                                        </p:set>
                                        <p:animEffect transition="in" filter="fade">
                                          <p:cBhvr>
                                            <p:cTn id="204" dur="500"/>
                                            <p:tgtEl>
                                              <p:spTgt spid="597"/>
                                            </p:tgtEl>
                                          </p:cBhvr>
                                        </p:animEffect>
                                      </p:childTnLst>
                                    </p:cTn>
                                  </p:par>
                                  <p:par>
                                    <p:cTn id="205" presetID="42" presetClass="path" presetSubtype="0" accel="50000" decel="50000" fill="hold" grpId="0" nodeType="withEffect">
                                      <p:stCondLst>
                                        <p:cond delay="800"/>
                                      </p:stCondLst>
                                      <p:childTnLst>
                                        <p:animMotion origin="layout" path="M -2.5E-6 -0.05216 L -2.5E-6 3.33333E-6 " pathEditMode="relative" rAng="0" ptsTypes="AA">
                                          <p:cBhvr>
                                            <p:cTn id="206" dur="2000" fill="hold"/>
                                            <p:tgtEl>
                                              <p:spTgt spid="597"/>
                                            </p:tgtEl>
                                            <p:attrNameLst>
                                              <p:attrName>ppt_x</p:attrName>
                                              <p:attrName>ppt_y</p:attrName>
                                            </p:attrNameLst>
                                          </p:cBhvr>
                                          <p:rCtr x="0" y="2593"/>
                                        </p:animMotion>
                                      </p:childTnLst>
                                    </p:cTn>
                                  </p:par>
                                  <p:par>
                                    <p:cTn id="207" presetID="10" presetClass="exit" presetSubtype="0" fill="hold" grpId="2" nodeType="withEffect">
                                      <p:stCondLst>
                                        <p:cond delay="2300"/>
                                      </p:stCondLst>
                                      <p:childTnLst>
                                        <p:animEffect transition="out" filter="fade">
                                          <p:cBhvr>
                                            <p:cTn id="208" dur="500"/>
                                            <p:tgtEl>
                                              <p:spTgt spid="597"/>
                                            </p:tgtEl>
                                          </p:cBhvr>
                                        </p:animEffect>
                                        <p:set>
                                          <p:cBhvr>
                                            <p:cTn id="209" dur="1" fill="hold">
                                              <p:stCondLst>
                                                <p:cond delay="499"/>
                                              </p:stCondLst>
                                            </p:cTn>
                                            <p:tgtEl>
                                              <p:spTgt spid="597"/>
                                            </p:tgtEl>
                                            <p:attrNameLst>
                                              <p:attrName>style.visibility</p:attrName>
                                            </p:attrNameLst>
                                          </p:cBhvr>
                                          <p:to>
                                            <p:strVal val="hidden"/>
                                          </p:to>
                                        </p:set>
                                      </p:childTnLst>
                                    </p:cTn>
                                  </p:par>
                                  <p:par>
                                    <p:cTn id="210" presetID="10" presetClass="entr" presetSubtype="0" fill="hold" grpId="1" nodeType="withEffect">
                                      <p:stCondLst>
                                        <p:cond delay="200"/>
                                      </p:stCondLst>
                                      <p:childTnLst>
                                        <p:set>
                                          <p:cBhvr>
                                            <p:cTn id="211" dur="1" fill="hold">
                                              <p:stCondLst>
                                                <p:cond delay="0"/>
                                              </p:stCondLst>
                                            </p:cTn>
                                            <p:tgtEl>
                                              <p:spTgt spid="598"/>
                                            </p:tgtEl>
                                            <p:attrNameLst>
                                              <p:attrName>style.visibility</p:attrName>
                                            </p:attrNameLst>
                                          </p:cBhvr>
                                          <p:to>
                                            <p:strVal val="visible"/>
                                          </p:to>
                                        </p:set>
                                        <p:animEffect transition="in" filter="fade">
                                          <p:cBhvr>
                                            <p:cTn id="212" dur="500"/>
                                            <p:tgtEl>
                                              <p:spTgt spid="598"/>
                                            </p:tgtEl>
                                          </p:cBhvr>
                                        </p:animEffect>
                                      </p:childTnLst>
                                    </p:cTn>
                                  </p:par>
                                  <p:par>
                                    <p:cTn id="213" presetID="42" presetClass="path" presetSubtype="0" accel="50000" decel="50000" fill="hold" grpId="0" nodeType="withEffect">
                                      <p:stCondLst>
                                        <p:cond delay="200"/>
                                      </p:stCondLst>
                                      <p:childTnLst>
                                        <p:animMotion origin="layout" path="M 1.66667E-6 3.33333E-6 L -0.00018 -0.05247 " pathEditMode="relative" rAng="0" ptsTypes="AA">
                                          <p:cBhvr>
                                            <p:cTn id="214" dur="2000" fill="hold"/>
                                            <p:tgtEl>
                                              <p:spTgt spid="598"/>
                                            </p:tgtEl>
                                            <p:attrNameLst>
                                              <p:attrName>ppt_x</p:attrName>
                                              <p:attrName>ppt_y</p:attrName>
                                            </p:attrNameLst>
                                          </p:cBhvr>
                                          <p:rCtr x="-17" y="-2623"/>
                                        </p:animMotion>
                                      </p:childTnLst>
                                    </p:cTn>
                                  </p:par>
                                  <p:par>
                                    <p:cTn id="215" presetID="10" presetClass="exit" presetSubtype="0" fill="hold" grpId="2" nodeType="withEffect">
                                      <p:stCondLst>
                                        <p:cond delay="1700"/>
                                      </p:stCondLst>
                                      <p:childTnLst>
                                        <p:animEffect transition="out" filter="fade">
                                          <p:cBhvr>
                                            <p:cTn id="216" dur="500"/>
                                            <p:tgtEl>
                                              <p:spTgt spid="598"/>
                                            </p:tgtEl>
                                          </p:cBhvr>
                                        </p:animEffect>
                                        <p:set>
                                          <p:cBhvr>
                                            <p:cTn id="217" dur="1" fill="hold">
                                              <p:stCondLst>
                                                <p:cond delay="499"/>
                                              </p:stCondLst>
                                            </p:cTn>
                                            <p:tgtEl>
                                              <p:spTgt spid="598"/>
                                            </p:tgtEl>
                                            <p:attrNameLst>
                                              <p:attrName>style.visibility</p:attrName>
                                            </p:attrNameLst>
                                          </p:cBhvr>
                                          <p:to>
                                            <p:strVal val="hidden"/>
                                          </p:to>
                                        </p:set>
                                      </p:childTnLst>
                                    </p:cTn>
                                  </p:par>
                                  <p:par>
                                    <p:cTn id="218" presetID="10" presetClass="entr" presetSubtype="0" fill="hold" grpId="1" nodeType="withEffect">
                                      <p:stCondLst>
                                        <p:cond delay="600"/>
                                      </p:stCondLst>
                                      <p:childTnLst>
                                        <p:set>
                                          <p:cBhvr>
                                            <p:cTn id="219" dur="1" fill="hold">
                                              <p:stCondLst>
                                                <p:cond delay="0"/>
                                              </p:stCondLst>
                                            </p:cTn>
                                            <p:tgtEl>
                                              <p:spTgt spid="599"/>
                                            </p:tgtEl>
                                            <p:attrNameLst>
                                              <p:attrName>style.visibility</p:attrName>
                                            </p:attrNameLst>
                                          </p:cBhvr>
                                          <p:to>
                                            <p:strVal val="visible"/>
                                          </p:to>
                                        </p:set>
                                        <p:animEffect transition="in" filter="fade">
                                          <p:cBhvr>
                                            <p:cTn id="220" dur="500"/>
                                            <p:tgtEl>
                                              <p:spTgt spid="599"/>
                                            </p:tgtEl>
                                          </p:cBhvr>
                                        </p:animEffect>
                                      </p:childTnLst>
                                    </p:cTn>
                                  </p:par>
                                  <p:par>
                                    <p:cTn id="221" presetID="42" presetClass="path" presetSubtype="0" accel="50000" decel="50000" fill="hold" grpId="0" nodeType="withEffect">
                                      <p:stCondLst>
                                        <p:cond delay="600"/>
                                      </p:stCondLst>
                                      <p:childTnLst>
                                        <p:animMotion origin="layout" path="M 1.38889E-6 -0.05216 L 1.38889E-6 3.33333E-6 " pathEditMode="relative" rAng="0" ptsTypes="AA">
                                          <p:cBhvr>
                                            <p:cTn id="222" dur="2000" fill="hold"/>
                                            <p:tgtEl>
                                              <p:spTgt spid="599"/>
                                            </p:tgtEl>
                                            <p:attrNameLst>
                                              <p:attrName>ppt_x</p:attrName>
                                              <p:attrName>ppt_y</p:attrName>
                                            </p:attrNameLst>
                                          </p:cBhvr>
                                          <p:rCtr x="0" y="2593"/>
                                        </p:animMotion>
                                      </p:childTnLst>
                                    </p:cTn>
                                  </p:par>
                                  <p:par>
                                    <p:cTn id="223" presetID="10" presetClass="exit" presetSubtype="0" fill="hold" grpId="2" nodeType="withEffect">
                                      <p:stCondLst>
                                        <p:cond delay="2100"/>
                                      </p:stCondLst>
                                      <p:childTnLst>
                                        <p:animEffect transition="out" filter="fade">
                                          <p:cBhvr>
                                            <p:cTn id="224" dur="500"/>
                                            <p:tgtEl>
                                              <p:spTgt spid="599"/>
                                            </p:tgtEl>
                                          </p:cBhvr>
                                        </p:animEffect>
                                        <p:set>
                                          <p:cBhvr>
                                            <p:cTn id="225" dur="1" fill="hold">
                                              <p:stCondLst>
                                                <p:cond delay="499"/>
                                              </p:stCondLst>
                                            </p:cTn>
                                            <p:tgtEl>
                                              <p:spTgt spid="599"/>
                                            </p:tgtEl>
                                            <p:attrNameLst>
                                              <p:attrName>style.visibility</p:attrName>
                                            </p:attrNameLst>
                                          </p:cBhvr>
                                          <p:to>
                                            <p:strVal val="hidden"/>
                                          </p:to>
                                        </p:set>
                                      </p:childTnLst>
                                    </p:cTn>
                                  </p:par>
                                  <p:par>
                                    <p:cTn id="226" presetID="10" presetClass="entr" presetSubtype="0" fill="hold" grpId="1" nodeType="withEffect">
                                      <p:stCondLst>
                                        <p:cond delay="300"/>
                                      </p:stCondLst>
                                      <p:childTnLst>
                                        <p:set>
                                          <p:cBhvr>
                                            <p:cTn id="227" dur="1" fill="hold">
                                              <p:stCondLst>
                                                <p:cond delay="0"/>
                                              </p:stCondLst>
                                            </p:cTn>
                                            <p:tgtEl>
                                              <p:spTgt spid="600"/>
                                            </p:tgtEl>
                                            <p:attrNameLst>
                                              <p:attrName>style.visibility</p:attrName>
                                            </p:attrNameLst>
                                          </p:cBhvr>
                                          <p:to>
                                            <p:strVal val="visible"/>
                                          </p:to>
                                        </p:set>
                                        <p:animEffect transition="in" filter="fade">
                                          <p:cBhvr>
                                            <p:cTn id="228" dur="500"/>
                                            <p:tgtEl>
                                              <p:spTgt spid="600"/>
                                            </p:tgtEl>
                                          </p:cBhvr>
                                        </p:animEffect>
                                      </p:childTnLst>
                                    </p:cTn>
                                  </p:par>
                                  <p:par>
                                    <p:cTn id="229" presetID="42" presetClass="path" presetSubtype="0" accel="50000" decel="50000" fill="hold" grpId="0" nodeType="withEffect">
                                      <p:stCondLst>
                                        <p:cond delay="300"/>
                                      </p:stCondLst>
                                      <p:childTnLst>
                                        <p:animMotion origin="layout" path="M 1.66667E-6 3.33333E-6 L -0.00018 -0.05247 " pathEditMode="relative" rAng="0" ptsTypes="AA">
                                          <p:cBhvr>
                                            <p:cTn id="230" dur="2000" fill="hold"/>
                                            <p:tgtEl>
                                              <p:spTgt spid="600"/>
                                            </p:tgtEl>
                                            <p:attrNameLst>
                                              <p:attrName>ppt_x</p:attrName>
                                              <p:attrName>ppt_y</p:attrName>
                                            </p:attrNameLst>
                                          </p:cBhvr>
                                          <p:rCtr x="-17" y="-2623"/>
                                        </p:animMotion>
                                      </p:childTnLst>
                                    </p:cTn>
                                  </p:par>
                                  <p:par>
                                    <p:cTn id="231" presetID="10" presetClass="exit" presetSubtype="0" fill="hold" grpId="2" nodeType="withEffect">
                                      <p:stCondLst>
                                        <p:cond delay="1800"/>
                                      </p:stCondLst>
                                      <p:childTnLst>
                                        <p:animEffect transition="out" filter="fade">
                                          <p:cBhvr>
                                            <p:cTn id="232" dur="500"/>
                                            <p:tgtEl>
                                              <p:spTgt spid="600"/>
                                            </p:tgtEl>
                                          </p:cBhvr>
                                        </p:animEffect>
                                        <p:set>
                                          <p:cBhvr>
                                            <p:cTn id="233" dur="1" fill="hold">
                                              <p:stCondLst>
                                                <p:cond delay="499"/>
                                              </p:stCondLst>
                                            </p:cTn>
                                            <p:tgtEl>
                                              <p:spTgt spid="600"/>
                                            </p:tgtEl>
                                            <p:attrNameLst>
                                              <p:attrName>style.visibility</p:attrName>
                                            </p:attrNameLst>
                                          </p:cBhvr>
                                          <p:to>
                                            <p:strVal val="hidden"/>
                                          </p:to>
                                        </p:set>
                                      </p:childTnLst>
                                    </p:cTn>
                                  </p:par>
                                  <p:par>
                                    <p:cTn id="234" presetID="10" presetClass="entr" presetSubtype="0" fill="hold" grpId="1" nodeType="withEffect">
                                      <p:stCondLst>
                                        <p:cond delay="0"/>
                                      </p:stCondLst>
                                      <p:childTnLst>
                                        <p:set>
                                          <p:cBhvr>
                                            <p:cTn id="235" dur="1" fill="hold">
                                              <p:stCondLst>
                                                <p:cond delay="0"/>
                                              </p:stCondLst>
                                            </p:cTn>
                                            <p:tgtEl>
                                              <p:spTgt spid="601"/>
                                            </p:tgtEl>
                                            <p:attrNameLst>
                                              <p:attrName>style.visibility</p:attrName>
                                            </p:attrNameLst>
                                          </p:cBhvr>
                                          <p:to>
                                            <p:strVal val="visible"/>
                                          </p:to>
                                        </p:set>
                                        <p:animEffect transition="in" filter="fade">
                                          <p:cBhvr>
                                            <p:cTn id="236" dur="500"/>
                                            <p:tgtEl>
                                              <p:spTgt spid="601"/>
                                            </p:tgtEl>
                                          </p:cBhvr>
                                        </p:animEffect>
                                      </p:childTnLst>
                                    </p:cTn>
                                  </p:par>
                                  <p:par>
                                    <p:cTn id="237" presetID="42" presetClass="path" presetSubtype="0" accel="50000" decel="50000" fill="hold" grpId="0" nodeType="withEffect">
                                      <p:stCondLst>
                                        <p:cond delay="0"/>
                                      </p:stCondLst>
                                      <p:childTnLst>
                                        <p:animMotion origin="layout" path="M 5E-6 -0.05216 L 5E-6 3.33333E-6 " pathEditMode="relative" rAng="0" ptsTypes="AA">
                                          <p:cBhvr>
                                            <p:cTn id="238" dur="2000" fill="hold"/>
                                            <p:tgtEl>
                                              <p:spTgt spid="601"/>
                                            </p:tgtEl>
                                            <p:attrNameLst>
                                              <p:attrName>ppt_x</p:attrName>
                                              <p:attrName>ppt_y</p:attrName>
                                            </p:attrNameLst>
                                          </p:cBhvr>
                                          <p:rCtr x="0" y="2593"/>
                                        </p:animMotion>
                                      </p:childTnLst>
                                    </p:cTn>
                                  </p:par>
                                  <p:par>
                                    <p:cTn id="239" presetID="10" presetClass="exit" presetSubtype="0" fill="hold" grpId="2" nodeType="withEffect">
                                      <p:stCondLst>
                                        <p:cond delay="1500"/>
                                      </p:stCondLst>
                                      <p:childTnLst>
                                        <p:animEffect transition="out" filter="fade">
                                          <p:cBhvr>
                                            <p:cTn id="240" dur="500"/>
                                            <p:tgtEl>
                                              <p:spTgt spid="601"/>
                                            </p:tgtEl>
                                          </p:cBhvr>
                                        </p:animEffect>
                                        <p:set>
                                          <p:cBhvr>
                                            <p:cTn id="241" dur="1" fill="hold">
                                              <p:stCondLst>
                                                <p:cond delay="499"/>
                                              </p:stCondLst>
                                            </p:cTn>
                                            <p:tgtEl>
                                              <p:spTgt spid="601"/>
                                            </p:tgtEl>
                                            <p:attrNameLst>
                                              <p:attrName>style.visibility</p:attrName>
                                            </p:attrNameLst>
                                          </p:cBhvr>
                                          <p:to>
                                            <p:strVal val="hidden"/>
                                          </p:to>
                                        </p:set>
                                      </p:childTnLst>
                                    </p:cTn>
                                  </p:par>
                                  <p:par>
                                    <p:cTn id="242" presetID="10" presetClass="entr" presetSubtype="0" fill="hold" grpId="1" nodeType="withEffect">
                                      <p:stCondLst>
                                        <p:cond delay="700"/>
                                      </p:stCondLst>
                                      <p:childTnLst>
                                        <p:set>
                                          <p:cBhvr>
                                            <p:cTn id="243" dur="1" fill="hold">
                                              <p:stCondLst>
                                                <p:cond delay="0"/>
                                              </p:stCondLst>
                                            </p:cTn>
                                            <p:tgtEl>
                                              <p:spTgt spid="602"/>
                                            </p:tgtEl>
                                            <p:attrNameLst>
                                              <p:attrName>style.visibility</p:attrName>
                                            </p:attrNameLst>
                                          </p:cBhvr>
                                          <p:to>
                                            <p:strVal val="visible"/>
                                          </p:to>
                                        </p:set>
                                        <p:animEffect transition="in" filter="fade">
                                          <p:cBhvr>
                                            <p:cTn id="244" dur="500"/>
                                            <p:tgtEl>
                                              <p:spTgt spid="602"/>
                                            </p:tgtEl>
                                          </p:cBhvr>
                                        </p:animEffect>
                                      </p:childTnLst>
                                    </p:cTn>
                                  </p:par>
                                  <p:par>
                                    <p:cTn id="245" presetID="42" presetClass="path" presetSubtype="0" accel="50000" decel="50000" fill="hold" grpId="0" nodeType="withEffect">
                                      <p:stCondLst>
                                        <p:cond delay="700"/>
                                      </p:stCondLst>
                                      <p:childTnLst>
                                        <p:animMotion origin="layout" path="M 1.66667E-6 3.33333E-6 L -0.00018 -0.05247 " pathEditMode="relative" rAng="0" ptsTypes="AA">
                                          <p:cBhvr>
                                            <p:cTn id="246" dur="2000" fill="hold"/>
                                            <p:tgtEl>
                                              <p:spTgt spid="602"/>
                                            </p:tgtEl>
                                            <p:attrNameLst>
                                              <p:attrName>ppt_x</p:attrName>
                                              <p:attrName>ppt_y</p:attrName>
                                            </p:attrNameLst>
                                          </p:cBhvr>
                                          <p:rCtr x="-17" y="-2623"/>
                                        </p:animMotion>
                                      </p:childTnLst>
                                    </p:cTn>
                                  </p:par>
                                  <p:par>
                                    <p:cTn id="247" presetID="10" presetClass="exit" presetSubtype="0" fill="hold" grpId="2" nodeType="withEffect">
                                      <p:stCondLst>
                                        <p:cond delay="2200"/>
                                      </p:stCondLst>
                                      <p:childTnLst>
                                        <p:animEffect transition="out" filter="fade">
                                          <p:cBhvr>
                                            <p:cTn id="248" dur="500"/>
                                            <p:tgtEl>
                                              <p:spTgt spid="602"/>
                                            </p:tgtEl>
                                          </p:cBhvr>
                                        </p:animEffect>
                                        <p:set>
                                          <p:cBhvr>
                                            <p:cTn id="249" dur="1" fill="hold">
                                              <p:stCondLst>
                                                <p:cond delay="499"/>
                                              </p:stCondLst>
                                            </p:cTn>
                                            <p:tgtEl>
                                              <p:spTgt spid="602"/>
                                            </p:tgtEl>
                                            <p:attrNameLst>
                                              <p:attrName>style.visibility</p:attrName>
                                            </p:attrNameLst>
                                          </p:cBhvr>
                                          <p:to>
                                            <p:strVal val="hidden"/>
                                          </p:to>
                                        </p:set>
                                      </p:childTnLst>
                                    </p:cTn>
                                  </p:par>
                                  <p:par>
                                    <p:cTn id="250" presetID="10" presetClass="entr" presetSubtype="0" fill="hold" grpId="1" nodeType="withEffect">
                                      <p:stCondLst>
                                        <p:cond delay="300"/>
                                      </p:stCondLst>
                                      <p:childTnLst>
                                        <p:set>
                                          <p:cBhvr>
                                            <p:cTn id="251" dur="1" fill="hold">
                                              <p:stCondLst>
                                                <p:cond delay="0"/>
                                              </p:stCondLst>
                                            </p:cTn>
                                            <p:tgtEl>
                                              <p:spTgt spid="603"/>
                                            </p:tgtEl>
                                            <p:attrNameLst>
                                              <p:attrName>style.visibility</p:attrName>
                                            </p:attrNameLst>
                                          </p:cBhvr>
                                          <p:to>
                                            <p:strVal val="visible"/>
                                          </p:to>
                                        </p:set>
                                        <p:animEffect transition="in" filter="fade">
                                          <p:cBhvr>
                                            <p:cTn id="252" dur="500"/>
                                            <p:tgtEl>
                                              <p:spTgt spid="603"/>
                                            </p:tgtEl>
                                          </p:cBhvr>
                                        </p:animEffect>
                                      </p:childTnLst>
                                    </p:cTn>
                                  </p:par>
                                  <p:par>
                                    <p:cTn id="253" presetID="42" presetClass="path" presetSubtype="0" accel="50000" decel="50000" fill="hold" grpId="0" nodeType="withEffect">
                                      <p:stCondLst>
                                        <p:cond delay="300"/>
                                      </p:stCondLst>
                                      <p:childTnLst>
                                        <p:animMotion origin="layout" path="M -2.22222E-6 -0.05216 L -2.22222E-6 3.33333E-6 " pathEditMode="relative" rAng="0" ptsTypes="AA">
                                          <p:cBhvr>
                                            <p:cTn id="254" dur="2000" fill="hold"/>
                                            <p:tgtEl>
                                              <p:spTgt spid="603"/>
                                            </p:tgtEl>
                                            <p:attrNameLst>
                                              <p:attrName>ppt_x</p:attrName>
                                              <p:attrName>ppt_y</p:attrName>
                                            </p:attrNameLst>
                                          </p:cBhvr>
                                          <p:rCtr x="0" y="2593"/>
                                        </p:animMotion>
                                      </p:childTnLst>
                                    </p:cTn>
                                  </p:par>
                                  <p:par>
                                    <p:cTn id="255" presetID="10" presetClass="exit" presetSubtype="0" fill="hold" grpId="2" nodeType="withEffect">
                                      <p:stCondLst>
                                        <p:cond delay="1800"/>
                                      </p:stCondLst>
                                      <p:childTnLst>
                                        <p:animEffect transition="out" filter="fade">
                                          <p:cBhvr>
                                            <p:cTn id="256" dur="500"/>
                                            <p:tgtEl>
                                              <p:spTgt spid="603"/>
                                            </p:tgtEl>
                                          </p:cBhvr>
                                        </p:animEffect>
                                        <p:set>
                                          <p:cBhvr>
                                            <p:cTn id="257" dur="1" fill="hold">
                                              <p:stCondLst>
                                                <p:cond delay="499"/>
                                              </p:stCondLst>
                                            </p:cTn>
                                            <p:tgtEl>
                                              <p:spTgt spid="603"/>
                                            </p:tgtEl>
                                            <p:attrNameLst>
                                              <p:attrName>style.visibility</p:attrName>
                                            </p:attrNameLst>
                                          </p:cBhvr>
                                          <p:to>
                                            <p:strVal val="hidden"/>
                                          </p:to>
                                        </p:set>
                                      </p:childTnLst>
                                    </p:cTn>
                                  </p:par>
                                  <p:par>
                                    <p:cTn id="258" presetID="10" presetClass="entr" presetSubtype="0" fill="hold" grpId="1" nodeType="withEffect">
                                      <p:stCondLst>
                                        <p:cond delay="300"/>
                                      </p:stCondLst>
                                      <p:childTnLst>
                                        <p:set>
                                          <p:cBhvr>
                                            <p:cTn id="259" dur="1" fill="hold">
                                              <p:stCondLst>
                                                <p:cond delay="0"/>
                                              </p:stCondLst>
                                            </p:cTn>
                                            <p:tgtEl>
                                              <p:spTgt spid="604"/>
                                            </p:tgtEl>
                                            <p:attrNameLst>
                                              <p:attrName>style.visibility</p:attrName>
                                            </p:attrNameLst>
                                          </p:cBhvr>
                                          <p:to>
                                            <p:strVal val="visible"/>
                                          </p:to>
                                        </p:set>
                                        <p:animEffect transition="in" filter="fade">
                                          <p:cBhvr>
                                            <p:cTn id="260" dur="500"/>
                                            <p:tgtEl>
                                              <p:spTgt spid="604"/>
                                            </p:tgtEl>
                                          </p:cBhvr>
                                        </p:animEffect>
                                      </p:childTnLst>
                                    </p:cTn>
                                  </p:par>
                                  <p:par>
                                    <p:cTn id="261" presetID="42" presetClass="path" presetSubtype="0" accel="50000" decel="50000" fill="hold" grpId="0" nodeType="withEffect">
                                      <p:stCondLst>
                                        <p:cond delay="300"/>
                                      </p:stCondLst>
                                      <p:childTnLst>
                                        <p:animMotion origin="layout" path="M 1.66667E-6 3.33333E-6 L -0.00018 -0.05247 " pathEditMode="relative" rAng="0" ptsTypes="AA">
                                          <p:cBhvr>
                                            <p:cTn id="262" dur="2000" fill="hold"/>
                                            <p:tgtEl>
                                              <p:spTgt spid="604"/>
                                            </p:tgtEl>
                                            <p:attrNameLst>
                                              <p:attrName>ppt_x</p:attrName>
                                              <p:attrName>ppt_y</p:attrName>
                                            </p:attrNameLst>
                                          </p:cBhvr>
                                          <p:rCtr x="-17" y="-2623"/>
                                        </p:animMotion>
                                      </p:childTnLst>
                                    </p:cTn>
                                  </p:par>
                                  <p:par>
                                    <p:cTn id="263" presetID="10" presetClass="exit" presetSubtype="0" fill="hold" grpId="2" nodeType="withEffect">
                                      <p:stCondLst>
                                        <p:cond delay="1800"/>
                                      </p:stCondLst>
                                      <p:childTnLst>
                                        <p:animEffect transition="out" filter="fade">
                                          <p:cBhvr>
                                            <p:cTn id="264" dur="500"/>
                                            <p:tgtEl>
                                              <p:spTgt spid="604"/>
                                            </p:tgtEl>
                                          </p:cBhvr>
                                        </p:animEffect>
                                        <p:set>
                                          <p:cBhvr>
                                            <p:cTn id="265" dur="1" fill="hold">
                                              <p:stCondLst>
                                                <p:cond delay="499"/>
                                              </p:stCondLst>
                                            </p:cTn>
                                            <p:tgtEl>
                                              <p:spTgt spid="604"/>
                                            </p:tgtEl>
                                            <p:attrNameLst>
                                              <p:attrName>style.visibility</p:attrName>
                                            </p:attrNameLst>
                                          </p:cBhvr>
                                          <p:to>
                                            <p:strVal val="hidden"/>
                                          </p:to>
                                        </p:set>
                                      </p:childTnLst>
                                    </p:cTn>
                                  </p:par>
                                  <p:par>
                                    <p:cTn id="266" presetID="10" presetClass="entr" presetSubtype="0" fill="hold" grpId="1" nodeType="withEffect">
                                      <p:stCondLst>
                                        <p:cond delay="100"/>
                                      </p:stCondLst>
                                      <p:childTnLst>
                                        <p:set>
                                          <p:cBhvr>
                                            <p:cTn id="267" dur="1" fill="hold">
                                              <p:stCondLst>
                                                <p:cond delay="0"/>
                                              </p:stCondLst>
                                            </p:cTn>
                                            <p:tgtEl>
                                              <p:spTgt spid="589"/>
                                            </p:tgtEl>
                                            <p:attrNameLst>
                                              <p:attrName>style.visibility</p:attrName>
                                            </p:attrNameLst>
                                          </p:cBhvr>
                                          <p:to>
                                            <p:strVal val="visible"/>
                                          </p:to>
                                        </p:set>
                                        <p:animEffect transition="in" filter="fade">
                                          <p:cBhvr>
                                            <p:cTn id="268" dur="500"/>
                                            <p:tgtEl>
                                              <p:spTgt spid="589"/>
                                            </p:tgtEl>
                                          </p:cBhvr>
                                        </p:animEffect>
                                      </p:childTnLst>
                                    </p:cTn>
                                  </p:par>
                                  <p:par>
                                    <p:cTn id="269" presetID="42" presetClass="path" presetSubtype="0" accel="50000" decel="50000" fill="hold" grpId="0" nodeType="withEffect">
                                      <p:stCondLst>
                                        <p:cond delay="100"/>
                                      </p:stCondLst>
                                      <p:childTnLst>
                                        <p:animMotion origin="layout" path="M -2.5E-6 -0.05216 L -2.5E-6 3.33333E-6 " pathEditMode="relative" rAng="0" ptsTypes="AA">
                                          <p:cBhvr>
                                            <p:cTn id="270" dur="2000" fill="hold"/>
                                            <p:tgtEl>
                                              <p:spTgt spid="589"/>
                                            </p:tgtEl>
                                            <p:attrNameLst>
                                              <p:attrName>ppt_x</p:attrName>
                                              <p:attrName>ppt_y</p:attrName>
                                            </p:attrNameLst>
                                          </p:cBhvr>
                                          <p:rCtr x="0" y="2593"/>
                                        </p:animMotion>
                                      </p:childTnLst>
                                    </p:cTn>
                                  </p:par>
                                  <p:par>
                                    <p:cTn id="271" presetID="10" presetClass="exit" presetSubtype="0" fill="hold" grpId="2" nodeType="withEffect">
                                      <p:stCondLst>
                                        <p:cond delay="1600"/>
                                      </p:stCondLst>
                                      <p:childTnLst>
                                        <p:animEffect transition="out" filter="fade">
                                          <p:cBhvr>
                                            <p:cTn id="272" dur="500"/>
                                            <p:tgtEl>
                                              <p:spTgt spid="589"/>
                                            </p:tgtEl>
                                          </p:cBhvr>
                                        </p:animEffect>
                                        <p:set>
                                          <p:cBhvr>
                                            <p:cTn id="273" dur="1" fill="hold">
                                              <p:stCondLst>
                                                <p:cond delay="499"/>
                                              </p:stCondLst>
                                            </p:cTn>
                                            <p:tgtEl>
                                              <p:spTgt spid="589"/>
                                            </p:tgtEl>
                                            <p:attrNameLst>
                                              <p:attrName>style.visibility</p:attrName>
                                            </p:attrNameLst>
                                          </p:cBhvr>
                                          <p:to>
                                            <p:strVal val="hidden"/>
                                          </p:to>
                                        </p:set>
                                      </p:childTnLst>
                                    </p:cTn>
                                  </p:par>
                                  <p:par>
                                    <p:cTn id="274" presetID="10" presetClass="entr" presetSubtype="0" fill="hold" grpId="1" nodeType="withEffect">
                                      <p:stCondLst>
                                        <p:cond delay="0"/>
                                      </p:stCondLst>
                                      <p:childTnLst>
                                        <p:set>
                                          <p:cBhvr>
                                            <p:cTn id="275" dur="1" fill="hold">
                                              <p:stCondLst>
                                                <p:cond delay="0"/>
                                              </p:stCondLst>
                                            </p:cTn>
                                            <p:tgtEl>
                                              <p:spTgt spid="591"/>
                                            </p:tgtEl>
                                            <p:attrNameLst>
                                              <p:attrName>style.visibility</p:attrName>
                                            </p:attrNameLst>
                                          </p:cBhvr>
                                          <p:to>
                                            <p:strVal val="visible"/>
                                          </p:to>
                                        </p:set>
                                        <p:animEffect transition="in" filter="fade">
                                          <p:cBhvr>
                                            <p:cTn id="276" dur="500"/>
                                            <p:tgtEl>
                                              <p:spTgt spid="591"/>
                                            </p:tgtEl>
                                          </p:cBhvr>
                                        </p:animEffect>
                                      </p:childTnLst>
                                    </p:cTn>
                                  </p:par>
                                  <p:par>
                                    <p:cTn id="277" presetID="42" presetClass="path" presetSubtype="0" accel="50000" decel="50000" fill="hold" grpId="0" nodeType="withEffect">
                                      <p:stCondLst>
                                        <p:cond delay="0"/>
                                      </p:stCondLst>
                                      <p:childTnLst>
                                        <p:animMotion origin="layout" path="M 4.44444E-6 3.33333E-6 L -0.00018 -0.05247 " pathEditMode="relative" rAng="0" ptsTypes="AA">
                                          <p:cBhvr>
                                            <p:cTn id="278" dur="2000" fill="hold"/>
                                            <p:tgtEl>
                                              <p:spTgt spid="591"/>
                                            </p:tgtEl>
                                            <p:attrNameLst>
                                              <p:attrName>ppt_x</p:attrName>
                                              <p:attrName>ppt_y</p:attrName>
                                            </p:attrNameLst>
                                          </p:cBhvr>
                                          <p:rCtr x="-17" y="-2623"/>
                                        </p:animMotion>
                                      </p:childTnLst>
                                    </p:cTn>
                                  </p:par>
                                  <p:par>
                                    <p:cTn id="279" presetID="10" presetClass="exit" presetSubtype="0" fill="hold" grpId="2" nodeType="withEffect">
                                      <p:stCondLst>
                                        <p:cond delay="1500"/>
                                      </p:stCondLst>
                                      <p:childTnLst>
                                        <p:animEffect transition="out" filter="fade">
                                          <p:cBhvr>
                                            <p:cTn id="280" dur="500"/>
                                            <p:tgtEl>
                                              <p:spTgt spid="591"/>
                                            </p:tgtEl>
                                          </p:cBhvr>
                                        </p:animEffect>
                                        <p:set>
                                          <p:cBhvr>
                                            <p:cTn id="281" dur="1" fill="hold">
                                              <p:stCondLst>
                                                <p:cond delay="499"/>
                                              </p:stCondLst>
                                            </p:cTn>
                                            <p:tgtEl>
                                              <p:spTgt spid="591"/>
                                            </p:tgtEl>
                                            <p:attrNameLst>
                                              <p:attrName>style.visibility</p:attrName>
                                            </p:attrNameLst>
                                          </p:cBhvr>
                                          <p:to>
                                            <p:strVal val="hidden"/>
                                          </p:to>
                                        </p:set>
                                      </p:childTnLst>
                                    </p:cTn>
                                  </p:par>
                                </p:childTnLst>
                              </p:cTn>
                            </p:par>
                          </p:childTnLst>
                        </p:cTn>
                      </p:par>
                    </p:childTnLst>
                  </p:cTn>
                  <p:nextCondLst>
                    <p:cond evt="onMediaBookmark" delay="0">
                      <p:tgtEl>
                        <p14:bmkTgt spid="590" bmkName="Bookmark 1"/>
                      </p:tgtEl>
                    </p:cond>
                  </p:nextCondLst>
                </p:seq>
                <p:audio>
                  <p:cMediaNode vol="80000" mute="1" showWhenStopped="0">
                    <p:cTn id="282" repeatCount="indefinite" fill="hold" display="0">
                      <p:stCondLst>
                        <p:cond delay="indefinite"/>
                      </p:stCondLst>
                      <p:endCondLst>
                        <p:cond evt="onStopAudio" delay="0">
                          <p:tgtEl>
                            <p:sldTgt/>
                          </p:tgtEl>
                        </p:cond>
                      </p:endCondLst>
                    </p:cTn>
                    <p:tgtEl>
                      <p:spTgt spid="590"/>
                    </p:tgtEl>
                  </p:cMediaNode>
                </p:audio>
              </p:childTnLst>
            </p:cTn>
          </p:par>
        </p:tnLst>
        <p:bldLst>
          <p:bldP spid="589" grpId="0" animBg="1"/>
          <p:bldP spid="589" grpId="1" animBg="1"/>
          <p:bldP spid="589" grpId="2" animBg="1"/>
          <p:bldP spid="591" grpId="0" animBg="1"/>
          <p:bldP spid="591" grpId="1" animBg="1"/>
          <p:bldP spid="591" grpId="2" animBg="1"/>
          <p:bldP spid="592" grpId="0" animBg="1"/>
          <p:bldP spid="592" grpId="1" animBg="1"/>
          <p:bldP spid="592" grpId="2" animBg="1"/>
          <p:bldP spid="593" grpId="0" animBg="1"/>
          <p:bldP spid="593" grpId="1" animBg="1"/>
          <p:bldP spid="593" grpId="2" animBg="1"/>
          <p:bldP spid="594" grpId="0" animBg="1"/>
          <p:bldP spid="594" grpId="1" animBg="1"/>
          <p:bldP spid="594" grpId="2" animBg="1"/>
          <p:bldP spid="595" grpId="0" animBg="1"/>
          <p:bldP spid="595" grpId="1" animBg="1"/>
          <p:bldP spid="595" grpId="2" animBg="1"/>
          <p:bldP spid="596" grpId="0" animBg="1"/>
          <p:bldP spid="596" grpId="1" animBg="1"/>
          <p:bldP spid="596" grpId="2" animBg="1"/>
          <p:bldP spid="597" grpId="0" animBg="1"/>
          <p:bldP spid="597" grpId="1" animBg="1"/>
          <p:bldP spid="597" grpId="2" animBg="1"/>
          <p:bldP spid="598" grpId="0" animBg="1"/>
          <p:bldP spid="598" grpId="1" animBg="1"/>
          <p:bldP spid="598" grpId="2" animBg="1"/>
          <p:bldP spid="599" grpId="0" animBg="1"/>
          <p:bldP spid="599" grpId="1" animBg="1"/>
          <p:bldP spid="599" grpId="2" animBg="1"/>
          <p:bldP spid="600" grpId="0" animBg="1"/>
          <p:bldP spid="600" grpId="1" animBg="1"/>
          <p:bldP spid="600" grpId="2" animBg="1"/>
          <p:bldP spid="601" grpId="0" animBg="1"/>
          <p:bldP spid="601" grpId="1" animBg="1"/>
          <p:bldP spid="601" grpId="2" animBg="1"/>
          <p:bldP spid="602" grpId="0" animBg="1"/>
          <p:bldP spid="602" grpId="1" animBg="1"/>
          <p:bldP spid="602" grpId="2" animBg="1"/>
          <p:bldP spid="603" grpId="0" animBg="1"/>
          <p:bldP spid="603" grpId="1" animBg="1"/>
          <p:bldP spid="603" grpId="2" animBg="1"/>
          <p:bldP spid="604" grpId="0" animBg="1"/>
          <p:bldP spid="604" grpId="1" animBg="1"/>
          <p:bldP spid="604" grpId="2" animBg="1"/>
          <p:bldP spid="621" grpId="0" animBg="1"/>
          <p:bldP spid="621" grpId="1" animBg="1"/>
          <p:bldP spid="621" grpId="2" animBg="1"/>
          <p:bldP spid="622" grpId="0" animBg="1"/>
          <p:bldP spid="622" grpId="1" animBg="1"/>
          <p:bldP spid="622" grpId="2" animBg="1"/>
          <p:bldP spid="623" grpId="0" animBg="1"/>
          <p:bldP spid="623" grpId="1" animBg="1"/>
          <p:bldP spid="623" grpId="2" animBg="1"/>
          <p:bldP spid="624" grpId="0" animBg="1"/>
          <p:bldP spid="624" grpId="1" animBg="1"/>
          <p:bldP spid="624" grpId="2" animBg="1"/>
          <p:bldP spid="625" grpId="0" animBg="1"/>
          <p:bldP spid="625" grpId="1" animBg="1"/>
          <p:bldP spid="625" grpId="2" animBg="1"/>
          <p:bldP spid="626" grpId="0" animBg="1"/>
          <p:bldP spid="626" grpId="1" animBg="1"/>
          <p:bldP spid="626" grpId="2" animBg="1"/>
          <p:bldP spid="627" grpId="0" animBg="1"/>
          <p:bldP spid="627" grpId="1" animBg="1"/>
          <p:bldP spid="627" grpId="2" animBg="1"/>
          <p:bldP spid="628" grpId="0" animBg="1"/>
          <p:bldP spid="628" grpId="1" animBg="1"/>
          <p:bldP spid="628" grpId="2" animBg="1"/>
          <p:bldP spid="629" grpId="0" animBg="1"/>
          <p:bldP spid="629" grpId="1" animBg="1"/>
          <p:bldP spid="629" grpId="2" animBg="1"/>
          <p:bldP spid="630" grpId="0" animBg="1"/>
          <p:bldP spid="630" grpId="1" animBg="1"/>
          <p:bldP spid="630" grpId="2" animBg="1"/>
          <p:bldP spid="631" grpId="0" animBg="1"/>
          <p:bldP spid="631" grpId="1" animBg="1"/>
          <p:bldP spid="631" grpId="2" animBg="1"/>
          <p:bldP spid="632" grpId="0" animBg="1"/>
          <p:bldP spid="632" grpId="1" animBg="1"/>
          <p:bldP spid="632" grpId="2" animBg="1"/>
          <p:bldP spid="633" grpId="0" animBg="1"/>
          <p:bldP spid="633" grpId="1" animBg="1"/>
          <p:bldP spid="633" grpId="2" animBg="1"/>
          <p:bldP spid="634" grpId="0" animBg="1"/>
          <p:bldP spid="634" grpId="1" animBg="1"/>
          <p:bldP spid="634" grpId="2" animBg="1"/>
          <p:bldP spid="635" grpId="0" animBg="1"/>
          <p:bldP spid="635" grpId="1" animBg="1"/>
          <p:bldP spid="635" grpId="2"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36"/>
                                            </p:tgtEl>
                                            <p:attrNameLst>
                                              <p:attrName>style.visibility</p:attrName>
                                            </p:attrNameLst>
                                          </p:cBhvr>
                                          <p:to>
                                            <p:strVal val="visible"/>
                                          </p:to>
                                        </p:set>
                                        <p:animEffect transition="in" filter="fade">
                                          <p:cBhvr>
                                            <p:cTn id="7" dur="500"/>
                                            <p:tgtEl>
                                              <p:spTgt spid="536"/>
                                            </p:tgtEl>
                                          </p:cBhvr>
                                        </p:animEffect>
                                      </p:childTnLst>
                                    </p:cTn>
                                  </p:par>
                                  <p:par>
                                    <p:cTn id="8" presetID="6" presetClass="emph" presetSubtype="0" fill="hold" nodeType="withEffect">
                                      <p:stCondLst>
                                        <p:cond delay="0"/>
                                      </p:stCondLst>
                                      <p:childTnLst>
                                        <p:animScale>
                                          <p:cBhvr>
                                            <p:cTn id="9" dur="10" fill="hold"/>
                                            <p:tgtEl>
                                              <p:spTgt spid="536"/>
                                            </p:tgtEl>
                                          </p:cBhvr>
                                          <p:by x="125000" y="125000"/>
                                        </p:animScale>
                                      </p:childTnLst>
                                    </p:cTn>
                                  </p:par>
                                  <p:par>
                                    <p:cTn id="10" presetID="6" presetClass="emph" presetSubtype="0" decel="100000" fill="hold" nodeType="withEffect">
                                      <p:stCondLst>
                                        <p:cond delay="0"/>
                                      </p:stCondLst>
                                      <p:childTnLst>
                                        <p:animScale>
                                          <p:cBhvr>
                                            <p:cTn id="11" dur="750" fill="hold"/>
                                            <p:tgtEl>
                                              <p:spTgt spid="536"/>
                                            </p:tgtEl>
                                          </p:cBhvr>
                                          <p:by x="80000" y="80000"/>
                                        </p:animScale>
                                      </p:childTnLst>
                                    </p:cTn>
                                  </p:par>
                                </p:childTnLst>
                              </p:cTn>
                            </p:par>
                            <p:par>
                              <p:cTn id="12" fill="hold">
                                <p:stCondLst>
                                  <p:cond delay="750"/>
                                </p:stCondLst>
                                <p:childTnLst>
                                  <p:par>
                                    <p:cTn id="13" presetID="10" presetClass="entr" presetSubtype="0" fill="hold" nodeType="afterEffect">
                                      <p:stCondLst>
                                        <p:cond delay="0"/>
                                      </p:stCondLst>
                                      <p:childTnLst>
                                        <p:set>
                                          <p:cBhvr>
                                            <p:cTn id="14" dur="1" fill="hold">
                                              <p:stCondLst>
                                                <p:cond delay="0"/>
                                              </p:stCondLst>
                                            </p:cTn>
                                            <p:tgtEl>
                                              <p:spTgt spid="572"/>
                                            </p:tgtEl>
                                            <p:attrNameLst>
                                              <p:attrName>style.visibility</p:attrName>
                                            </p:attrNameLst>
                                          </p:cBhvr>
                                          <p:to>
                                            <p:strVal val="visible"/>
                                          </p:to>
                                        </p:set>
                                        <p:animEffect transition="in" filter="fade">
                                          <p:cBhvr>
                                            <p:cTn id="15" dur="500"/>
                                            <p:tgtEl>
                                              <p:spTgt spid="57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554"/>
                                            </p:tgtEl>
                                            <p:attrNameLst>
                                              <p:attrName>style.visibility</p:attrName>
                                            </p:attrNameLst>
                                          </p:cBhvr>
                                          <p:to>
                                            <p:strVal val="visible"/>
                                          </p:to>
                                        </p:set>
                                        <p:animEffect transition="in" filter="fade">
                                          <p:cBhvr>
                                            <p:cTn id="20" dur="250"/>
                                            <p:tgtEl>
                                              <p:spTgt spid="554"/>
                                            </p:tgtEl>
                                          </p:cBhvr>
                                        </p:animEffect>
                                      </p:childTnLst>
                                    </p:cTn>
                                  </p:par>
                                  <p:par>
                                    <p:cTn id="21" presetID="42" presetClass="path" presetSubtype="0" decel="100000" fill="hold" nodeType="withEffect">
                                      <p:stCondLst>
                                        <p:cond delay="0"/>
                                      </p:stCondLst>
                                      <p:childTnLst>
                                        <p:animMotion origin="layout" path="M -3.33333E-6 0.03889 L -3.33333E-6 -3.7037E-7 " pathEditMode="relative" rAng="0" ptsTypes="AA">
                                          <p:cBhvr>
                                            <p:cTn id="22" dur="500" fill="hold"/>
                                            <p:tgtEl>
                                              <p:spTgt spid="554"/>
                                            </p:tgtEl>
                                            <p:attrNameLst>
                                              <p:attrName>ppt_x</p:attrName>
                                              <p:attrName>ppt_y</p:attrName>
                                            </p:attrNameLst>
                                          </p:cBhvr>
                                          <p:rCtr x="0" y="-1944"/>
                                        </p:animMotion>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41"/>
                                            </p:tgtEl>
                                            <p:attrNameLst>
                                              <p:attrName>style.visibility</p:attrName>
                                            </p:attrNameLst>
                                          </p:cBhvr>
                                          <p:to>
                                            <p:strVal val="visible"/>
                                          </p:to>
                                        </p:set>
                                        <p:animEffect transition="in" filter="fade">
                                          <p:cBhvr>
                                            <p:cTn id="27" dur="250"/>
                                            <p:tgtEl>
                                              <p:spTgt spid="541"/>
                                            </p:tgtEl>
                                          </p:cBhvr>
                                        </p:animEffect>
                                      </p:childTnLst>
                                    </p:cTn>
                                  </p:par>
                                  <p:par>
                                    <p:cTn id="28" presetID="42" presetClass="path" presetSubtype="0" decel="100000" fill="hold" nodeType="withEffect">
                                      <p:stCondLst>
                                        <p:cond delay="0"/>
                                      </p:stCondLst>
                                      <p:childTnLst>
                                        <p:animMotion origin="layout" path="M -3.75E-6 -0.03472 L -3.75E-6 1.85185E-6 " pathEditMode="relative" rAng="0" ptsTypes="AA">
                                          <p:cBhvr>
                                            <p:cTn id="29" dur="500" fill="hold"/>
                                            <p:tgtEl>
                                              <p:spTgt spid="541"/>
                                            </p:tgtEl>
                                            <p:attrNameLst>
                                              <p:attrName>ppt_x</p:attrName>
                                              <p:attrName>ppt_y</p:attrName>
                                            </p:attrNameLst>
                                          </p:cBhvr>
                                          <p:rCtr x="0" y="1736"/>
                                        </p:animMotion>
                                      </p:childTnLst>
                                    </p:cTn>
                                  </p:par>
                                  <p:par>
                                    <p:cTn id="30" presetID="10" presetClass="entr" presetSubtype="0" fill="hold" nodeType="withEffect">
                                      <p:stCondLst>
                                        <p:cond delay="0"/>
                                      </p:stCondLst>
                                      <p:childTnLst>
                                        <p:set>
                                          <p:cBhvr>
                                            <p:cTn id="31" dur="1" fill="hold">
                                              <p:stCondLst>
                                                <p:cond delay="0"/>
                                              </p:stCondLst>
                                            </p:cTn>
                                            <p:tgtEl>
                                              <p:spTgt spid="573"/>
                                            </p:tgtEl>
                                            <p:attrNameLst>
                                              <p:attrName>style.visibility</p:attrName>
                                            </p:attrNameLst>
                                          </p:cBhvr>
                                          <p:to>
                                            <p:strVal val="visible"/>
                                          </p:to>
                                        </p:set>
                                        <p:animEffect transition="in" filter="fade">
                                          <p:cBhvr>
                                            <p:cTn id="32" dur="500"/>
                                            <p:tgtEl>
                                              <p:spTgt spid="573"/>
                                            </p:tgtEl>
                                          </p:cBhvr>
                                        </p:animEffect>
                                      </p:childTnLst>
                                    </p:cTn>
                                  </p:par>
                                  <p:par>
                                    <p:cTn id="33" presetID="10" presetClass="entr" presetSubtype="0" fill="hold" nodeType="withEffect">
                                      <p:stCondLst>
                                        <p:cond delay="0"/>
                                      </p:stCondLst>
                                      <p:childTnLst>
                                        <p:set>
                                          <p:cBhvr>
                                            <p:cTn id="34" dur="1" fill="hold">
                                              <p:stCondLst>
                                                <p:cond delay="0"/>
                                              </p:stCondLst>
                                            </p:cTn>
                                            <p:tgtEl>
                                              <p:spTgt spid="605"/>
                                            </p:tgtEl>
                                            <p:attrNameLst>
                                              <p:attrName>style.visibility</p:attrName>
                                            </p:attrNameLst>
                                          </p:cBhvr>
                                          <p:to>
                                            <p:strVal val="visible"/>
                                          </p:to>
                                        </p:set>
                                        <p:animEffect transition="in" filter="fade">
                                          <p:cBhvr>
                                            <p:cTn id="35" dur="500"/>
                                            <p:tgtEl>
                                              <p:spTgt spid="605"/>
                                            </p:tgtEl>
                                          </p:cBhvr>
                                        </p:animEffect>
                                      </p:childTnLst>
                                    </p:cTn>
                                  </p:par>
                                </p:childTnLst>
                              </p:cTn>
                            </p:par>
                            <p:par>
                              <p:cTn id="36" fill="hold">
                                <p:stCondLst>
                                  <p:cond delay="500"/>
                                </p:stCondLst>
                                <p:childTnLst>
                                  <p:par>
                                    <p:cTn id="37" presetID="1" presetClass="mediacall" presetSubtype="0" fill="hold" nodeType="afterEffect">
                                      <p:stCondLst>
                                        <p:cond delay="0"/>
                                      </p:stCondLst>
                                      <p:childTnLst>
                                        <p:cmd type="call" cmd="playFrom(0.0)">
                                          <p:cBhvr>
                                            <p:cTn id="38" dur="3000" fill="hold"/>
                                            <p:tgtEl>
                                              <p:spTgt spid="59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mute="1" showWhenStopped="0">
                    <p:cTn id="282" repeatCount="indefinite" fill="hold" display="0">
                      <p:stCondLst>
                        <p:cond delay="indefinite"/>
                      </p:stCondLst>
                      <p:endCondLst>
                        <p:cond evt="onStopAudio" delay="0">
                          <p:tgtEl>
                            <p:sldTgt/>
                          </p:tgtEl>
                        </p:cond>
                      </p:endCondLst>
                    </p:cTn>
                    <p:tgtEl>
                      <p:spTgt spid="590"/>
                    </p:tgtEl>
                  </p:cMediaNode>
                </p:audio>
              </p:childTnLst>
            </p:cTn>
          </p:par>
        </p:tnLst>
      </p:timing>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00" name="!!_R1">
            <a:extLst>
              <a:ext uri="{FF2B5EF4-FFF2-40B4-BE49-F238E27FC236}">
                <a16:creationId xmlns:a16="http://schemas.microsoft.com/office/drawing/2014/main" id="{13EA7E7C-9E62-B7E8-53C4-F31EF475597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20644" y="-5434080"/>
            <a:ext cx="21129288" cy="21155160"/>
          </a:xfrm>
          <a:prstGeom prst="rect">
            <a:avLst/>
          </a:prstGeom>
        </p:spPr>
      </p:pic>
      <p:pic>
        <p:nvPicPr>
          <p:cNvPr id="1202" name="!!_R2">
            <a:extLst>
              <a:ext uri="{FF2B5EF4-FFF2-40B4-BE49-F238E27FC236}">
                <a16:creationId xmlns:a16="http://schemas.microsoft.com/office/drawing/2014/main" id="{798BA220-7095-4350-8400-6E5E8A8B376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01603" y="-4889090"/>
            <a:ext cx="20091206" cy="20065180"/>
          </a:xfrm>
          <a:prstGeom prst="rect">
            <a:avLst/>
          </a:prstGeom>
        </p:spPr>
      </p:pic>
      <p:pic>
        <p:nvPicPr>
          <p:cNvPr id="1204" name="!!_R3">
            <a:extLst>
              <a:ext uri="{FF2B5EF4-FFF2-40B4-BE49-F238E27FC236}">
                <a16:creationId xmlns:a16="http://schemas.microsoft.com/office/drawing/2014/main" id="{FA177897-EC41-8C70-C854-09999A16B99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52105" y="-3793859"/>
            <a:ext cx="17783790" cy="17874718"/>
          </a:xfrm>
          <a:prstGeom prst="rect">
            <a:avLst/>
          </a:prstGeom>
        </p:spPr>
      </p:pic>
      <p:pic>
        <p:nvPicPr>
          <p:cNvPr id="1206" name="!!_R4">
            <a:extLst>
              <a:ext uri="{FF2B5EF4-FFF2-40B4-BE49-F238E27FC236}">
                <a16:creationId xmlns:a16="http://schemas.microsoft.com/office/drawing/2014/main" id="{A023B306-6238-D877-3D18-BF2F01039FC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755" y="-3248868"/>
            <a:ext cx="16732490" cy="16784736"/>
          </a:xfrm>
          <a:prstGeom prst="rect">
            <a:avLst/>
          </a:prstGeom>
        </p:spPr>
      </p:pic>
      <p:pic>
        <p:nvPicPr>
          <p:cNvPr id="1208" name="!!_R5">
            <a:extLst>
              <a:ext uri="{FF2B5EF4-FFF2-40B4-BE49-F238E27FC236}">
                <a16:creationId xmlns:a16="http://schemas.microsoft.com/office/drawing/2014/main" id="{3C7EB4D0-296C-815B-5AEF-A0A63380892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274459" y="-2745798"/>
            <a:ext cx="15739082" cy="15778596"/>
          </a:xfrm>
          <a:prstGeom prst="rect">
            <a:avLst/>
          </a:prstGeom>
        </p:spPr>
      </p:pic>
      <p:cxnSp>
        <p:nvCxnSpPr>
          <p:cNvPr id="1223" name="!!_Line_L">
            <a:extLst>
              <a:ext uri="{FF2B5EF4-FFF2-40B4-BE49-F238E27FC236}">
                <a16:creationId xmlns:a16="http://schemas.microsoft.com/office/drawing/2014/main" id="{7195ABD4-68FB-B50C-5A4D-156088CAD91F}"/>
              </a:ext>
            </a:extLst>
          </p:cNvPr>
          <p:cNvCxnSpPr>
            <a:cxnSpLocks/>
          </p:cNvCxnSpPr>
          <p:nvPr/>
        </p:nvCxnSpPr>
        <p:spPr>
          <a:xfrm flipH="1">
            <a:off x="8736320" y="5160005"/>
            <a:ext cx="331480" cy="0"/>
          </a:xfrm>
          <a:prstGeom prst="line">
            <a:avLst/>
          </a:prstGeom>
          <a:ln w="25400">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1270" name="!!_Circle_Right">
            <a:extLst>
              <a:ext uri="{FF2B5EF4-FFF2-40B4-BE49-F238E27FC236}">
                <a16:creationId xmlns:a16="http://schemas.microsoft.com/office/drawing/2014/main" id="{C6730B20-16F2-07C9-4E8E-66A2C2AE42EB}"/>
              </a:ext>
            </a:extLst>
          </p:cNvPr>
          <p:cNvSpPr/>
          <p:nvPr/>
        </p:nvSpPr>
        <p:spPr>
          <a:xfrm>
            <a:off x="6647113" y="2646613"/>
            <a:ext cx="4993774" cy="49937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69" name="!!_Circle_Left">
            <a:extLst>
              <a:ext uri="{FF2B5EF4-FFF2-40B4-BE49-F238E27FC236}">
                <a16:creationId xmlns:a16="http://schemas.microsoft.com/office/drawing/2014/main" id="{D0E1DA99-FA34-350E-8E76-5BD20D2DED9D}"/>
              </a:ext>
            </a:extLst>
          </p:cNvPr>
          <p:cNvSpPr/>
          <p:nvPr/>
        </p:nvSpPr>
        <p:spPr>
          <a:xfrm>
            <a:off x="6647113" y="2646613"/>
            <a:ext cx="4993774" cy="499377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26" name="!!_Circle_L">
            <a:extLst>
              <a:ext uri="{FF2B5EF4-FFF2-40B4-BE49-F238E27FC236}">
                <a16:creationId xmlns:a16="http://schemas.microsoft.com/office/drawing/2014/main" id="{4D620974-8299-B250-A10E-434AA34705D3}"/>
              </a:ext>
            </a:extLst>
          </p:cNvPr>
          <p:cNvSpPr/>
          <p:nvPr/>
        </p:nvSpPr>
        <p:spPr>
          <a:xfrm>
            <a:off x="6647113" y="2646613"/>
            <a:ext cx="4993774" cy="499377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264" name="!!_Line_M">
            <a:extLst>
              <a:ext uri="{FF2B5EF4-FFF2-40B4-BE49-F238E27FC236}">
                <a16:creationId xmlns:a16="http://schemas.microsoft.com/office/drawing/2014/main" id="{195CB20D-A908-7FDB-2CCE-B8541B283A02}"/>
              </a:ext>
            </a:extLst>
          </p:cNvPr>
          <p:cNvCxnSpPr>
            <a:cxnSpLocks/>
          </p:cNvCxnSpPr>
          <p:nvPr/>
        </p:nvCxnSpPr>
        <p:spPr>
          <a:xfrm>
            <a:off x="-12649200" y="6535692"/>
            <a:ext cx="9956800" cy="0"/>
          </a:xfrm>
          <a:prstGeom prst="line">
            <a:avLst/>
          </a:prstGeom>
          <a:ln w="25400">
            <a:solidFill>
              <a:schemeClr val="accent3"/>
            </a:solidFill>
            <a:tailEnd type="none"/>
          </a:ln>
        </p:spPr>
        <p:style>
          <a:lnRef idx="1">
            <a:schemeClr val="accent1"/>
          </a:lnRef>
          <a:fillRef idx="0">
            <a:schemeClr val="accent1"/>
          </a:fillRef>
          <a:effectRef idx="0">
            <a:schemeClr val="accent1"/>
          </a:effectRef>
          <a:fontRef idx="minor">
            <a:schemeClr val="tx1"/>
          </a:fontRef>
        </p:style>
      </p:cxnSp>
      <p:sp>
        <p:nvSpPr>
          <p:cNvPr id="1267" name="!!_Circle_M">
            <a:extLst>
              <a:ext uri="{FF2B5EF4-FFF2-40B4-BE49-F238E27FC236}">
                <a16:creationId xmlns:a16="http://schemas.microsoft.com/office/drawing/2014/main" id="{110DB1F6-0E60-9798-D0A6-3D3608133A76}"/>
              </a:ext>
            </a:extLst>
          </p:cNvPr>
          <p:cNvSpPr/>
          <p:nvPr/>
        </p:nvSpPr>
        <p:spPr>
          <a:xfrm>
            <a:off x="-2988548" y="6239667"/>
            <a:ext cx="592050" cy="592050"/>
          </a:xfrm>
          <a:prstGeom prst="ellipse">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_GenAI_Text">
            <a:extLst>
              <a:ext uri="{FF2B5EF4-FFF2-40B4-BE49-F238E27FC236}">
                <a16:creationId xmlns:a16="http://schemas.microsoft.com/office/drawing/2014/main" id="{CE20BFDB-066F-CEDD-FF37-28612D62651D}"/>
              </a:ext>
            </a:extLst>
          </p:cNvPr>
          <p:cNvSpPr txBox="1"/>
          <p:nvPr/>
        </p:nvSpPr>
        <p:spPr>
          <a:xfrm>
            <a:off x="7079225" y="3993032"/>
            <a:ext cx="4085302" cy="2786917"/>
          </a:xfrm>
          <a:prstGeom prst="rect">
            <a:avLst/>
          </a:prstGeom>
          <a:noFill/>
          <a:effectLst>
            <a:softEdge rad="635000"/>
          </a:effectLst>
        </p:spPr>
        <p:txBody>
          <a:bodyPr wrap="square">
            <a:spAutoFit/>
          </a:bodyPr>
          <a:lstStyle/>
          <a:p>
            <a:pPr algn="ctr">
              <a:lnSpc>
                <a:spcPct val="85000"/>
              </a:lnSpc>
            </a:pPr>
            <a:r>
              <a:rPr lang="en-US" sz="4000">
                <a:solidFill>
                  <a:schemeClr val="bg1"/>
                </a:solidFill>
                <a:latin typeface="Anova" panose="020B0503020203020204" pitchFamily="34" charset="0"/>
              </a:rPr>
              <a:t>Generative</a:t>
            </a:r>
            <a:br>
              <a:rPr lang="en-US" sz="6600">
                <a:solidFill>
                  <a:schemeClr val="bg1"/>
                </a:solidFill>
                <a:latin typeface="Anova" panose="020B0503020203020204" pitchFamily="34" charset="0"/>
              </a:rPr>
            </a:br>
            <a:r>
              <a:rPr lang="en-US" sz="16600" spc="900">
                <a:solidFill>
                  <a:schemeClr val="bg1"/>
                </a:solidFill>
                <a:latin typeface="Anova" panose="020B0503020203020204" pitchFamily="34" charset="0"/>
              </a:rPr>
              <a:t>AI</a:t>
            </a:r>
            <a:endParaRPr lang="en-US" sz="6600" spc="900">
              <a:solidFill>
                <a:schemeClr val="bg1"/>
              </a:solidFill>
            </a:endParaRPr>
          </a:p>
        </p:txBody>
      </p:sp>
    </p:spTree>
    <p:custDataLst>
      <p:tags r:id="rId1"/>
    </p:custDataLst>
    <p:extLst>
      <p:ext uri="{BB962C8B-B14F-4D97-AF65-F5344CB8AC3E}">
        <p14:creationId xmlns:p14="http://schemas.microsoft.com/office/powerpoint/2010/main" val="341688102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fill="hold" nodeType="withEffect">
                                  <p:stCondLst>
                                    <p:cond delay="0"/>
                                  </p:stCondLst>
                                  <p:childTnLst>
                                    <p:animRot by="-1500000">
                                      <p:cBhvr>
                                        <p:cTn id="6" dur="8000" fill="hold"/>
                                        <p:tgtEl>
                                          <p:spTgt spid="1200"/>
                                        </p:tgtEl>
                                        <p:attrNameLst>
                                          <p:attrName>r</p:attrName>
                                        </p:attrNameLst>
                                      </p:cBhvr>
                                    </p:animRot>
                                  </p:childTnLst>
                                </p:cTn>
                              </p:par>
                              <p:par>
                                <p:cTn id="7" presetID="8" presetClass="emph" presetSubtype="0" fill="hold" nodeType="withEffect">
                                  <p:stCondLst>
                                    <p:cond delay="0"/>
                                  </p:stCondLst>
                                  <p:childTnLst>
                                    <p:animRot by="-2700000">
                                      <p:cBhvr>
                                        <p:cTn id="8" dur="8000" fill="hold"/>
                                        <p:tgtEl>
                                          <p:spTgt spid="1202"/>
                                        </p:tgtEl>
                                        <p:attrNameLst>
                                          <p:attrName>r</p:attrName>
                                        </p:attrNameLst>
                                      </p:cBhvr>
                                    </p:animRot>
                                  </p:childTnLst>
                                </p:cTn>
                              </p:par>
                              <p:par>
                                <p:cTn id="9" presetID="8" presetClass="emph" presetSubtype="0" fill="hold" nodeType="withEffect">
                                  <p:stCondLst>
                                    <p:cond delay="0"/>
                                  </p:stCondLst>
                                  <p:childTnLst>
                                    <p:animRot by="2160000">
                                      <p:cBhvr>
                                        <p:cTn id="10" dur="8000" fill="hold"/>
                                        <p:tgtEl>
                                          <p:spTgt spid="1204"/>
                                        </p:tgtEl>
                                        <p:attrNameLst>
                                          <p:attrName>r</p:attrName>
                                        </p:attrNameLst>
                                      </p:cBhvr>
                                    </p:animRot>
                                  </p:childTnLst>
                                </p:cTn>
                              </p:par>
                              <p:par>
                                <p:cTn id="11" presetID="8" presetClass="emph" presetSubtype="0" fill="hold" nodeType="withEffect">
                                  <p:stCondLst>
                                    <p:cond delay="0"/>
                                  </p:stCondLst>
                                  <p:childTnLst>
                                    <p:animRot by="2160000">
                                      <p:cBhvr>
                                        <p:cTn id="12" dur="8000" fill="hold"/>
                                        <p:tgtEl>
                                          <p:spTgt spid="1206"/>
                                        </p:tgtEl>
                                        <p:attrNameLst>
                                          <p:attrName>r</p:attrName>
                                        </p:attrNameLst>
                                      </p:cBhvr>
                                    </p:animRot>
                                  </p:childTnLst>
                                </p:cTn>
                              </p:par>
                              <p:par>
                                <p:cTn id="13" presetID="8" presetClass="emph" presetSubtype="0" fill="hold" nodeType="withEffect">
                                  <p:stCondLst>
                                    <p:cond delay="0"/>
                                  </p:stCondLst>
                                  <p:childTnLst>
                                    <p:animRot by="-2700000">
                                      <p:cBhvr>
                                        <p:cTn id="14" dur="8000" fill="hold"/>
                                        <p:tgtEl>
                                          <p:spTgt spid="1208"/>
                                        </p:tgtEl>
                                        <p:attrNameLst>
                                          <p:attrName>r</p:attrName>
                                        </p:attrNameLst>
                                      </p:cBhvr>
                                    </p:animRot>
                                  </p:childTnLst>
                                </p:cTn>
                              </p:par>
                              <p:par>
                                <p:cTn id="15" presetID="6" presetClass="emph" presetSubtype="0" repeatCount="3000" accel="33333" decel="33333" autoRev="1" fill="remove" grpId="0" nodeType="withEffect">
                                  <p:stCondLst>
                                    <p:cond delay="0"/>
                                  </p:stCondLst>
                                  <p:childTnLst>
                                    <p:animScale>
                                      <p:cBhvr>
                                        <p:cTn id="16" dur="1500" fill="hold"/>
                                        <p:tgtEl>
                                          <p:spTgt spid="1226"/>
                                        </p:tgtEl>
                                      </p:cBhvr>
                                      <p:by x="90000" y="90000"/>
                                    </p:animScale>
                                  </p:childTnLst>
                                </p:cTn>
                              </p:par>
                              <p:par>
                                <p:cTn id="17" presetID="6" presetClass="emph" presetSubtype="0" repeatCount="3000" accel="33333" decel="33333" autoRev="1" fill="remove" grpId="0" nodeType="withEffect">
                                  <p:stCondLst>
                                    <p:cond delay="0"/>
                                  </p:stCondLst>
                                  <p:childTnLst>
                                    <p:animScale>
                                      <p:cBhvr>
                                        <p:cTn id="18" dur="1500" fill="hold"/>
                                        <p:tgtEl>
                                          <p:spTgt spid="1269"/>
                                        </p:tgtEl>
                                      </p:cBhvr>
                                      <p:by x="95000" y="95000"/>
                                    </p:animScale>
                                  </p:childTnLst>
                                </p:cTn>
                              </p:par>
                              <p:par>
                                <p:cTn id="19" presetID="10" presetClass="entr" presetSubtype="0" fill="hold" grpId="0"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childTnLst>
                                </p:cTn>
                              </p:par>
                              <p:par>
                                <p:cTn id="22" presetID="6" presetClass="emph" presetSubtype="0" fill="hold" grpId="1" nodeType="withEffect">
                                  <p:stCondLst>
                                    <p:cond delay="0"/>
                                  </p:stCondLst>
                                  <p:childTnLst>
                                    <p:animScale>
                                      <p:cBhvr>
                                        <p:cTn id="23" dur="10" fill="hold"/>
                                        <p:tgtEl>
                                          <p:spTgt spid="11"/>
                                        </p:tgtEl>
                                      </p:cBhvr>
                                      <p:by x="125000" y="125000"/>
                                    </p:animScale>
                                  </p:childTnLst>
                                </p:cTn>
                              </p:par>
                              <p:par>
                                <p:cTn id="24" presetID="6" presetClass="emph" presetSubtype="0" decel="100000" fill="hold" grpId="2" nodeType="withEffect">
                                  <p:stCondLst>
                                    <p:cond delay="0"/>
                                  </p:stCondLst>
                                  <p:childTnLst>
                                    <p:animScale>
                                      <p:cBhvr>
                                        <p:cTn id="25" dur="750" fill="hold"/>
                                        <p:tgtEl>
                                          <p:spTgt spid="11"/>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9" grpId="0" animBg="1"/>
      <p:bldP spid="1226" grpId="0" animBg="1"/>
      <p:bldP spid="11" grpId="0"/>
      <p:bldP spid="11" grpId="1"/>
      <p:bldP spid="11" grpId="2"/>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F995942-5AAD-C099-D2D6-4D6A5DEECF22}"/>
              </a:ext>
            </a:extLst>
          </p:cNvPr>
          <p:cNvPicPr>
            <a:picLocks noChangeAspect="1"/>
          </p:cNvPicPr>
          <p:nvPr/>
        </p:nvPicPr>
        <p:blipFill>
          <a:blip r:embed="rId3">
            <a:alphaModFix amt="29000"/>
          </a:blip>
          <a:stretch>
            <a:fillRect/>
          </a:stretch>
        </p:blipFill>
        <p:spPr>
          <a:xfrm>
            <a:off x="-1779575" y="-431055"/>
            <a:ext cx="20762721" cy="11026168"/>
          </a:xfrm>
          <a:prstGeom prst="rect">
            <a:avLst/>
          </a:prstGeom>
        </p:spPr>
      </p:pic>
      <p:sp>
        <p:nvSpPr>
          <p:cNvPr id="2" name="Title 1">
            <a:extLst>
              <a:ext uri="{FF2B5EF4-FFF2-40B4-BE49-F238E27FC236}">
                <a16:creationId xmlns:a16="http://schemas.microsoft.com/office/drawing/2014/main" id="{87BAE006-B1B8-09B0-B27F-B3451FFF1471}"/>
              </a:ext>
            </a:extLst>
          </p:cNvPr>
          <p:cNvSpPr>
            <a:spLocks noGrp="1"/>
          </p:cNvSpPr>
          <p:nvPr>
            <p:ph type="title"/>
          </p:nvPr>
        </p:nvSpPr>
        <p:spPr>
          <a:xfrm>
            <a:off x="4219039" y="2954153"/>
            <a:ext cx="9849919" cy="2358793"/>
          </a:xfrm>
        </p:spPr>
        <p:txBody>
          <a:bodyPr>
            <a:normAutofit/>
          </a:bodyPr>
          <a:lstStyle/>
          <a:p>
            <a:pPr algn="ctr"/>
            <a:r>
              <a:rPr lang="en-US" sz="7200">
                <a:solidFill>
                  <a:schemeClr val="accent4"/>
                </a:solidFill>
              </a:rPr>
              <a:t>Generative AI</a:t>
            </a:r>
          </a:p>
        </p:txBody>
      </p:sp>
      <p:sp>
        <p:nvSpPr>
          <p:cNvPr id="6" name="TextBox 5">
            <a:extLst>
              <a:ext uri="{FF2B5EF4-FFF2-40B4-BE49-F238E27FC236}">
                <a16:creationId xmlns:a16="http://schemas.microsoft.com/office/drawing/2014/main" id="{3B3419D2-4D77-1AA1-738B-DFAEBFE122D2}"/>
              </a:ext>
            </a:extLst>
          </p:cNvPr>
          <p:cNvSpPr txBox="1"/>
          <p:nvPr/>
        </p:nvSpPr>
        <p:spPr>
          <a:xfrm>
            <a:off x="170766" y="4897448"/>
            <a:ext cx="17946466"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a:ln>
                  <a:noFill/>
                </a:ln>
                <a:solidFill>
                  <a:srgbClr val="032954"/>
                </a:solidFill>
                <a:effectLst/>
                <a:uLnTx/>
                <a:uFillTx/>
                <a:latin typeface="Anova Light"/>
                <a:ea typeface="MS Mincho" panose="02020609040205080304" pitchFamily="49" charset="-128"/>
                <a:cs typeface="Arial" panose="020B0604020202020204" pitchFamily="34" charset="0"/>
              </a:rPr>
              <a:t>An AI method capable of generating NEW content</a:t>
            </a:r>
            <a:endParaRPr kumimoji="0" lang="en-US" sz="4800" b="1" i="0" u="none" strike="noStrike" kern="1200" cap="none" spc="0" normalizeH="0" baseline="0" noProof="0">
              <a:ln>
                <a:noFill/>
              </a:ln>
              <a:solidFill>
                <a:srgbClr val="032954"/>
              </a:solidFill>
              <a:effectLst/>
              <a:uLnTx/>
              <a:uFillTx/>
              <a:latin typeface="Anova Light"/>
              <a:ea typeface="+mn-ea"/>
              <a:cs typeface="+mn-cs"/>
            </a:endParaRPr>
          </a:p>
        </p:txBody>
      </p:sp>
    </p:spTree>
    <p:extLst>
      <p:ext uri="{BB962C8B-B14F-4D97-AF65-F5344CB8AC3E}">
        <p14:creationId xmlns:p14="http://schemas.microsoft.com/office/powerpoint/2010/main" val="27038788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 name="Title 4">
            <a:extLst>
              <a:ext uri="{FF2B5EF4-FFF2-40B4-BE49-F238E27FC236}">
                <a16:creationId xmlns:a16="http://schemas.microsoft.com/office/drawing/2014/main" id="{7EE4370D-7949-8A2A-FF63-01143A84F0F2}"/>
              </a:ext>
            </a:extLst>
          </p:cNvPr>
          <p:cNvSpPr>
            <a:spLocks noGrp="1"/>
          </p:cNvSpPr>
          <p:nvPr>
            <p:ph type="title"/>
          </p:nvPr>
        </p:nvSpPr>
        <p:spPr>
          <a:xfrm>
            <a:off x="1252432" y="710304"/>
            <a:ext cx="15773400" cy="775596"/>
          </a:xfrm>
        </p:spPr>
        <p:txBody>
          <a:bodyPr/>
          <a:lstStyle/>
          <a:p>
            <a:r>
              <a:rPr lang="en-US"/>
              <a:t>Creating New Realities</a:t>
            </a:r>
          </a:p>
        </p:txBody>
      </p:sp>
      <p:sp>
        <p:nvSpPr>
          <p:cNvPr id="65" name="Text Placeholder 5">
            <a:extLst>
              <a:ext uri="{FF2B5EF4-FFF2-40B4-BE49-F238E27FC236}">
                <a16:creationId xmlns:a16="http://schemas.microsoft.com/office/drawing/2014/main" id="{635A8943-D501-D6E1-8357-4DEEC0268CBA}"/>
              </a:ext>
            </a:extLst>
          </p:cNvPr>
          <p:cNvSpPr txBox="1">
            <a:spLocks/>
          </p:cNvSpPr>
          <p:nvPr/>
        </p:nvSpPr>
        <p:spPr>
          <a:xfrm>
            <a:off x="1257300" y="1562100"/>
            <a:ext cx="15773400" cy="549382"/>
          </a:xfrm>
          <a:prstGeom prst="rect">
            <a:avLst/>
          </a:prstGeom>
        </p:spPr>
        <p:txBody>
          <a:bodyPr/>
          <a:lstStyle>
            <a:lvl1pPr marL="365760" indent="-365760" algn="l" defTabSz="1371600" rtl="0" eaLnBrk="1" latinLnBrk="0" hangingPunct="1">
              <a:lnSpc>
                <a:spcPct val="85000"/>
              </a:lnSpc>
              <a:spcBef>
                <a:spcPts val="1600"/>
              </a:spcBef>
              <a:buClr>
                <a:schemeClr val="accent5"/>
              </a:buClr>
              <a:buFont typeface="Anova Light" panose="020B0403020203020204" pitchFamily="34" charset="0"/>
              <a:buChar char="•"/>
              <a:defRPr sz="3600" b="0" i="0" kern="1200">
                <a:solidFill>
                  <a:schemeClr val="tx1"/>
                </a:solidFill>
                <a:latin typeface="+mn-lt"/>
                <a:ea typeface="+mn-ea"/>
                <a:cs typeface="+mn-cs"/>
              </a:defRPr>
            </a:lvl1pPr>
            <a:lvl2pPr marL="731520" indent="-365760" algn="l" defTabSz="1371600" rtl="0" eaLnBrk="1" latinLnBrk="0" hangingPunct="1">
              <a:lnSpc>
                <a:spcPct val="85000"/>
              </a:lnSpc>
              <a:spcBef>
                <a:spcPts val="1600"/>
              </a:spcBef>
              <a:buClr>
                <a:schemeClr val="accent5"/>
              </a:buClr>
              <a:buFont typeface="Anova Light" panose="020B0403020203020204" pitchFamily="34" charset="0"/>
              <a:buChar char="–"/>
              <a:defRPr sz="2800" b="0" i="0" kern="1200">
                <a:solidFill>
                  <a:schemeClr val="tx1"/>
                </a:solidFill>
                <a:latin typeface="+mn-lt"/>
                <a:ea typeface="+mn-ea"/>
                <a:cs typeface="+mn-cs"/>
              </a:defRPr>
            </a:lvl2pPr>
            <a:lvl3pPr marL="1097280" indent="-365760" algn="l" defTabSz="1371600" rtl="0" eaLnBrk="1" latinLnBrk="0" hangingPunct="1">
              <a:lnSpc>
                <a:spcPct val="85000"/>
              </a:lnSpc>
              <a:spcBef>
                <a:spcPts val="1600"/>
              </a:spcBef>
              <a:buClr>
                <a:schemeClr val="accent5"/>
              </a:buClr>
              <a:buFont typeface="Anova Light" panose="020B0403020203020204" pitchFamily="34" charset="0"/>
              <a:buChar char="•"/>
              <a:defRPr sz="2400" b="0" i="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4pPr>
            <a:lvl5pPr marL="30861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bg2"/>
                </a:solidFill>
                <a:latin typeface="+mj-lt"/>
                <a:ea typeface="+mn-ea"/>
                <a:cs typeface="+mn-cs"/>
              </a:defRPr>
            </a:lvl5pPr>
            <a:lvl6pPr marL="37719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nova Light" panose="020B0403020203020204" pitchFamily="34" charset="0"/>
              <a:buChar char="•"/>
              <a:defRPr sz="2700" kern="1200">
                <a:solidFill>
                  <a:schemeClr val="tx1"/>
                </a:solidFill>
                <a:latin typeface="+mn-lt"/>
                <a:ea typeface="+mn-ea"/>
                <a:cs typeface="+mn-cs"/>
              </a:defRPr>
            </a:lvl9pPr>
          </a:lstStyle>
          <a:p>
            <a:r>
              <a:rPr lang="en-US"/>
              <a:t>Generative AI</a:t>
            </a:r>
          </a:p>
        </p:txBody>
      </p:sp>
      <p:grpSp>
        <p:nvGrpSpPr>
          <p:cNvPr id="66" name="Group 65">
            <a:extLst>
              <a:ext uri="{FF2B5EF4-FFF2-40B4-BE49-F238E27FC236}">
                <a16:creationId xmlns:a16="http://schemas.microsoft.com/office/drawing/2014/main" id="{FA7A3A3C-0FDD-8F5A-7A89-E0AC3EE34ADF}"/>
              </a:ext>
            </a:extLst>
          </p:cNvPr>
          <p:cNvGrpSpPr/>
          <p:nvPr/>
        </p:nvGrpSpPr>
        <p:grpSpPr>
          <a:xfrm>
            <a:off x="3232600" y="2852424"/>
            <a:ext cx="12234760" cy="6908264"/>
            <a:chOff x="3232600" y="2852424"/>
            <a:chExt cx="12234760" cy="6908264"/>
          </a:xfrm>
        </p:grpSpPr>
        <p:grpSp>
          <p:nvGrpSpPr>
            <p:cNvPr id="67" name="Group 66">
              <a:extLst>
                <a:ext uri="{FF2B5EF4-FFF2-40B4-BE49-F238E27FC236}">
                  <a16:creationId xmlns:a16="http://schemas.microsoft.com/office/drawing/2014/main" id="{D0C5CB61-0484-3C20-77C8-CB483F506EAA}"/>
                </a:ext>
              </a:extLst>
            </p:cNvPr>
            <p:cNvGrpSpPr/>
            <p:nvPr/>
          </p:nvGrpSpPr>
          <p:grpSpPr>
            <a:xfrm>
              <a:off x="3232600" y="2852424"/>
              <a:ext cx="12234760" cy="6329432"/>
              <a:chOff x="3232600" y="2529702"/>
              <a:chExt cx="12234760" cy="6329432"/>
            </a:xfrm>
          </p:grpSpPr>
          <p:sp>
            <p:nvSpPr>
              <p:cNvPr id="69" name="Freeform 2">
                <a:extLst>
                  <a:ext uri="{FF2B5EF4-FFF2-40B4-BE49-F238E27FC236}">
                    <a16:creationId xmlns:a16="http://schemas.microsoft.com/office/drawing/2014/main" id="{2C33BEFF-9614-8EB2-4799-E11AF386BA51}"/>
                  </a:ext>
                </a:extLst>
              </p:cNvPr>
              <p:cNvSpPr>
                <a:spLocks noChangeAspect="1" noEditPoints="1"/>
              </p:cNvSpPr>
              <p:nvPr/>
            </p:nvSpPr>
            <p:spPr bwMode="auto">
              <a:xfrm>
                <a:off x="8292607" y="5192267"/>
                <a:ext cx="1118728" cy="1342736"/>
              </a:xfrm>
              <a:custGeom>
                <a:avLst/>
                <a:gdLst>
                  <a:gd name="T0" fmla="*/ 1600 w 3983"/>
                  <a:gd name="T1" fmla="*/ 619 h 4801"/>
                  <a:gd name="T2" fmla="*/ 496 w 3983"/>
                  <a:gd name="T3" fmla="*/ 2163 h 4801"/>
                  <a:gd name="T4" fmla="*/ 602 w 3983"/>
                  <a:gd name="T5" fmla="*/ 2163 h 4801"/>
                  <a:gd name="T6" fmla="*/ 833 w 3983"/>
                  <a:gd name="T7" fmla="*/ 3247 h 4801"/>
                  <a:gd name="T8" fmla="*/ 882 w 3983"/>
                  <a:gd name="T9" fmla="*/ 3304 h 4801"/>
                  <a:gd name="T10" fmla="*/ 1513 w 3983"/>
                  <a:gd name="T11" fmla="*/ 3440 h 4801"/>
                  <a:gd name="T12" fmla="*/ 1458 w 3983"/>
                  <a:gd name="T13" fmla="*/ 3493 h 4801"/>
                  <a:gd name="T14" fmla="*/ 1159 w 3983"/>
                  <a:gd name="T15" fmla="*/ 680 h 4801"/>
                  <a:gd name="T16" fmla="*/ 1473 w 3983"/>
                  <a:gd name="T17" fmla="*/ 1691 h 4801"/>
                  <a:gd name="T18" fmla="*/ 681 w 3983"/>
                  <a:gd name="T19" fmla="*/ 2113 h 4801"/>
                  <a:gd name="T20" fmla="*/ 512 w 3983"/>
                  <a:gd name="T21" fmla="*/ 3186 h 4801"/>
                  <a:gd name="T22" fmla="*/ 1377 w 3983"/>
                  <a:gd name="T23" fmla="*/ 3539 h 4801"/>
                  <a:gd name="T24" fmla="*/ 1806 w 3983"/>
                  <a:gd name="T25" fmla="*/ 4119 h 4801"/>
                  <a:gd name="T26" fmla="*/ 1649 w 3983"/>
                  <a:gd name="T27" fmla="*/ 3497 h 4801"/>
                  <a:gd name="T28" fmla="*/ 932 w 3983"/>
                  <a:gd name="T29" fmla="*/ 3429 h 4801"/>
                  <a:gd name="T30" fmla="*/ 947 w 3983"/>
                  <a:gd name="T31" fmla="*/ 2668 h 4801"/>
                  <a:gd name="T32" fmla="*/ 947 w 3983"/>
                  <a:gd name="T33" fmla="*/ 2575 h 4801"/>
                  <a:gd name="T34" fmla="*/ 605 w 3983"/>
                  <a:gd name="T35" fmla="*/ 2289 h 4801"/>
                  <a:gd name="T36" fmla="*/ 1566 w 3983"/>
                  <a:gd name="T37" fmla="*/ 1750 h 4801"/>
                  <a:gd name="T38" fmla="*/ 1270 w 3983"/>
                  <a:gd name="T39" fmla="*/ 662 h 4801"/>
                  <a:gd name="T40" fmla="*/ 1551 w 3983"/>
                  <a:gd name="T41" fmla="*/ 476 h 4801"/>
                  <a:gd name="T42" fmla="*/ 2571 w 3983"/>
                  <a:gd name="T43" fmla="*/ 1156 h 4801"/>
                  <a:gd name="T44" fmla="*/ 3073 w 3983"/>
                  <a:gd name="T45" fmla="*/ 1128 h 4801"/>
                  <a:gd name="T46" fmla="*/ 2275 w 3983"/>
                  <a:gd name="T47" fmla="*/ 2024 h 4801"/>
                  <a:gd name="T48" fmla="*/ 2303 w 3983"/>
                  <a:gd name="T49" fmla="*/ 1607 h 4801"/>
                  <a:gd name="T50" fmla="*/ 2710 w 3983"/>
                  <a:gd name="T51" fmla="*/ 1343 h 4801"/>
                  <a:gd name="T52" fmla="*/ 3512 w 3983"/>
                  <a:gd name="T53" fmla="*/ 2004 h 4801"/>
                  <a:gd name="T54" fmla="*/ 3095 w 3983"/>
                  <a:gd name="T55" fmla="*/ 2925 h 4801"/>
                  <a:gd name="T56" fmla="*/ 2915 w 3983"/>
                  <a:gd name="T57" fmla="*/ 2819 h 4801"/>
                  <a:gd name="T58" fmla="*/ 2358 w 3983"/>
                  <a:gd name="T59" fmla="*/ 3305 h 4801"/>
                  <a:gd name="T60" fmla="*/ 2256 w 3983"/>
                  <a:gd name="T61" fmla="*/ 3624 h 4801"/>
                  <a:gd name="T62" fmla="*/ 2175 w 3983"/>
                  <a:gd name="T63" fmla="*/ 3432 h 4801"/>
                  <a:gd name="T64" fmla="*/ 3041 w 3983"/>
                  <a:gd name="T65" fmla="*/ 2163 h 4801"/>
                  <a:gd name="T66" fmla="*/ 3391 w 3983"/>
                  <a:gd name="T67" fmla="*/ 1978 h 4801"/>
                  <a:gd name="T68" fmla="*/ 2160 w 3983"/>
                  <a:gd name="T69" fmla="*/ 764 h 4801"/>
                  <a:gd name="T70" fmla="*/ 2281 w 3983"/>
                  <a:gd name="T71" fmla="*/ 789 h 4801"/>
                  <a:gd name="T72" fmla="*/ 3822 w 3983"/>
                  <a:gd name="T73" fmla="*/ 2706 h 4801"/>
                  <a:gd name="T74" fmla="*/ 3505 w 3983"/>
                  <a:gd name="T75" fmla="*/ 3236 h 4801"/>
                  <a:gd name="T76" fmla="*/ 3166 w 3983"/>
                  <a:gd name="T77" fmla="*/ 3375 h 4801"/>
                  <a:gd name="T78" fmla="*/ 2807 w 3983"/>
                  <a:gd name="T79" fmla="*/ 3813 h 4801"/>
                  <a:gd name="T80" fmla="*/ 2061 w 3983"/>
                  <a:gd name="T81" fmla="*/ 4627 h 4801"/>
                  <a:gd name="T82" fmla="*/ 3188 w 3983"/>
                  <a:gd name="T83" fmla="*/ 1286 h 4801"/>
                  <a:gd name="T84" fmla="*/ 3689 w 3983"/>
                  <a:gd name="T85" fmla="*/ 2267 h 4801"/>
                  <a:gd name="T86" fmla="*/ 3673 w 3983"/>
                  <a:gd name="T87" fmla="*/ 2315 h 4801"/>
                  <a:gd name="T88" fmla="*/ 3698 w 3983"/>
                  <a:gd name="T89" fmla="*/ 2360 h 4801"/>
                  <a:gd name="T90" fmla="*/ 1255 w 3983"/>
                  <a:gd name="T91" fmla="*/ 4217 h 4801"/>
                  <a:gd name="T92" fmla="*/ 223 w 3983"/>
                  <a:gd name="T93" fmla="*/ 2293 h 4801"/>
                  <a:gd name="T94" fmla="*/ 1324 w 3983"/>
                  <a:gd name="T95" fmla="*/ 130 h 4801"/>
                  <a:gd name="T96" fmla="*/ 3938 w 3983"/>
                  <a:gd name="T97" fmla="*/ 2045 h 4801"/>
                  <a:gd name="T98" fmla="*/ 1348 w 3983"/>
                  <a:gd name="T99" fmla="*/ 6 h 4801"/>
                  <a:gd name="T100" fmla="*/ 37 w 3983"/>
                  <a:gd name="T101" fmla="*/ 1540 h 4801"/>
                  <a:gd name="T102" fmla="*/ 535 w 3983"/>
                  <a:gd name="T103" fmla="*/ 4048 h 4801"/>
                  <a:gd name="T104" fmla="*/ 2011 w 3983"/>
                  <a:gd name="T105" fmla="*/ 4737 h 4801"/>
                  <a:gd name="T106" fmla="*/ 3478 w 3983"/>
                  <a:gd name="T107" fmla="*/ 3651 h 4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983" h="4801">
                    <a:moveTo>
                      <a:pt x="1494" y="612"/>
                    </a:moveTo>
                    <a:lnTo>
                      <a:pt x="1494" y="612"/>
                    </a:lnTo>
                    <a:cubicBezTo>
                      <a:pt x="1494" y="585"/>
                      <a:pt x="1516" y="563"/>
                      <a:pt x="1543" y="563"/>
                    </a:cubicBezTo>
                    <a:lnTo>
                      <a:pt x="1551" y="563"/>
                    </a:lnTo>
                    <a:cubicBezTo>
                      <a:pt x="1578" y="563"/>
                      <a:pt x="1600" y="585"/>
                      <a:pt x="1600" y="612"/>
                    </a:cubicBezTo>
                    <a:lnTo>
                      <a:pt x="1600" y="619"/>
                    </a:lnTo>
                    <a:cubicBezTo>
                      <a:pt x="1600" y="646"/>
                      <a:pt x="1578" y="668"/>
                      <a:pt x="1551" y="668"/>
                    </a:cubicBezTo>
                    <a:lnTo>
                      <a:pt x="1543" y="668"/>
                    </a:lnTo>
                    <a:cubicBezTo>
                      <a:pt x="1516" y="668"/>
                      <a:pt x="1494" y="646"/>
                      <a:pt x="1494" y="619"/>
                    </a:cubicBezTo>
                    <a:lnTo>
                      <a:pt x="1494" y="612"/>
                    </a:lnTo>
                    <a:lnTo>
                      <a:pt x="1494" y="612"/>
                    </a:lnTo>
                    <a:close/>
                    <a:moveTo>
                      <a:pt x="496" y="2163"/>
                    </a:moveTo>
                    <a:lnTo>
                      <a:pt x="496" y="2163"/>
                    </a:lnTo>
                    <a:lnTo>
                      <a:pt x="496" y="2156"/>
                    </a:lnTo>
                    <a:cubicBezTo>
                      <a:pt x="496" y="2129"/>
                      <a:pt x="518" y="2107"/>
                      <a:pt x="545" y="2107"/>
                    </a:cubicBezTo>
                    <a:lnTo>
                      <a:pt x="553" y="2107"/>
                    </a:lnTo>
                    <a:cubicBezTo>
                      <a:pt x="580" y="2107"/>
                      <a:pt x="602" y="2129"/>
                      <a:pt x="602" y="2156"/>
                    </a:cubicBezTo>
                    <a:lnTo>
                      <a:pt x="602" y="2163"/>
                    </a:lnTo>
                    <a:cubicBezTo>
                      <a:pt x="602" y="2191"/>
                      <a:pt x="580" y="2213"/>
                      <a:pt x="553" y="2213"/>
                    </a:cubicBezTo>
                    <a:lnTo>
                      <a:pt x="545" y="2213"/>
                    </a:lnTo>
                    <a:cubicBezTo>
                      <a:pt x="518" y="2213"/>
                      <a:pt x="496" y="2191"/>
                      <a:pt x="496" y="2163"/>
                    </a:cubicBezTo>
                    <a:lnTo>
                      <a:pt x="496" y="2163"/>
                    </a:lnTo>
                    <a:close/>
                    <a:moveTo>
                      <a:pt x="833" y="3247"/>
                    </a:moveTo>
                    <a:lnTo>
                      <a:pt x="833" y="3247"/>
                    </a:lnTo>
                    <a:cubicBezTo>
                      <a:pt x="833" y="3220"/>
                      <a:pt x="854" y="3198"/>
                      <a:pt x="882" y="3198"/>
                    </a:cubicBezTo>
                    <a:lnTo>
                      <a:pt x="889" y="3198"/>
                    </a:lnTo>
                    <a:cubicBezTo>
                      <a:pt x="916" y="3198"/>
                      <a:pt x="938" y="3220"/>
                      <a:pt x="938" y="3247"/>
                    </a:cubicBezTo>
                    <a:lnTo>
                      <a:pt x="938" y="3255"/>
                    </a:lnTo>
                    <a:cubicBezTo>
                      <a:pt x="938" y="3282"/>
                      <a:pt x="916" y="3304"/>
                      <a:pt x="889" y="3304"/>
                    </a:cubicBezTo>
                    <a:lnTo>
                      <a:pt x="882" y="3304"/>
                    </a:lnTo>
                    <a:cubicBezTo>
                      <a:pt x="854" y="3304"/>
                      <a:pt x="833" y="3282"/>
                      <a:pt x="833" y="3255"/>
                    </a:cubicBezTo>
                    <a:lnTo>
                      <a:pt x="833" y="3247"/>
                    </a:lnTo>
                    <a:lnTo>
                      <a:pt x="833" y="3247"/>
                    </a:lnTo>
                    <a:close/>
                    <a:moveTo>
                      <a:pt x="1505" y="3440"/>
                    </a:moveTo>
                    <a:lnTo>
                      <a:pt x="1505" y="3440"/>
                    </a:lnTo>
                    <a:lnTo>
                      <a:pt x="1513" y="3440"/>
                    </a:lnTo>
                    <a:cubicBezTo>
                      <a:pt x="1540" y="3440"/>
                      <a:pt x="1562" y="3462"/>
                      <a:pt x="1562" y="3489"/>
                    </a:cubicBezTo>
                    <a:lnTo>
                      <a:pt x="1562" y="3497"/>
                    </a:lnTo>
                    <a:cubicBezTo>
                      <a:pt x="1562" y="3524"/>
                      <a:pt x="1540" y="3546"/>
                      <a:pt x="1513" y="3546"/>
                    </a:cubicBezTo>
                    <a:lnTo>
                      <a:pt x="1505" y="3546"/>
                    </a:lnTo>
                    <a:cubicBezTo>
                      <a:pt x="1479" y="3546"/>
                      <a:pt x="1458" y="3525"/>
                      <a:pt x="1457" y="3500"/>
                    </a:cubicBezTo>
                    <a:cubicBezTo>
                      <a:pt x="1457" y="3498"/>
                      <a:pt x="1458" y="3495"/>
                      <a:pt x="1458" y="3493"/>
                    </a:cubicBezTo>
                    <a:cubicBezTo>
                      <a:pt x="1458" y="3491"/>
                      <a:pt x="1457" y="3489"/>
                      <a:pt x="1457" y="3486"/>
                    </a:cubicBezTo>
                    <a:cubicBezTo>
                      <a:pt x="1458" y="3461"/>
                      <a:pt x="1479" y="3440"/>
                      <a:pt x="1505" y="3440"/>
                    </a:cubicBezTo>
                    <a:lnTo>
                      <a:pt x="1505" y="3440"/>
                    </a:lnTo>
                    <a:close/>
                    <a:moveTo>
                      <a:pt x="1270" y="569"/>
                    </a:moveTo>
                    <a:lnTo>
                      <a:pt x="1270" y="569"/>
                    </a:lnTo>
                    <a:cubicBezTo>
                      <a:pt x="1209" y="569"/>
                      <a:pt x="1159" y="619"/>
                      <a:pt x="1159" y="680"/>
                    </a:cubicBezTo>
                    <a:lnTo>
                      <a:pt x="1159" y="1519"/>
                    </a:lnTo>
                    <a:cubicBezTo>
                      <a:pt x="1120" y="1537"/>
                      <a:pt x="1092" y="1576"/>
                      <a:pt x="1092" y="1622"/>
                    </a:cubicBezTo>
                    <a:cubicBezTo>
                      <a:pt x="1092" y="1684"/>
                      <a:pt x="1143" y="1735"/>
                      <a:pt x="1205" y="1735"/>
                    </a:cubicBezTo>
                    <a:cubicBezTo>
                      <a:pt x="1249" y="1735"/>
                      <a:pt x="1287" y="1710"/>
                      <a:pt x="1306" y="1673"/>
                    </a:cubicBezTo>
                    <a:lnTo>
                      <a:pt x="1455" y="1673"/>
                    </a:lnTo>
                    <a:cubicBezTo>
                      <a:pt x="1465" y="1673"/>
                      <a:pt x="1473" y="1681"/>
                      <a:pt x="1473" y="1691"/>
                    </a:cubicBezTo>
                    <a:lnTo>
                      <a:pt x="1473" y="1747"/>
                    </a:lnTo>
                    <a:cubicBezTo>
                      <a:pt x="1432" y="1764"/>
                      <a:pt x="1403" y="1804"/>
                      <a:pt x="1403" y="1851"/>
                    </a:cubicBezTo>
                    <a:cubicBezTo>
                      <a:pt x="1403" y="1894"/>
                      <a:pt x="1428" y="1930"/>
                      <a:pt x="1463" y="1950"/>
                    </a:cubicBezTo>
                    <a:lnTo>
                      <a:pt x="1463" y="2095"/>
                    </a:lnTo>
                    <a:cubicBezTo>
                      <a:pt x="1463" y="2105"/>
                      <a:pt x="1454" y="2113"/>
                      <a:pt x="1444" y="2113"/>
                    </a:cubicBezTo>
                    <a:lnTo>
                      <a:pt x="681" y="2113"/>
                    </a:lnTo>
                    <a:cubicBezTo>
                      <a:pt x="663" y="2059"/>
                      <a:pt x="613" y="2020"/>
                      <a:pt x="553" y="2020"/>
                    </a:cubicBezTo>
                    <a:lnTo>
                      <a:pt x="545" y="2020"/>
                    </a:lnTo>
                    <a:cubicBezTo>
                      <a:pt x="470" y="2020"/>
                      <a:pt x="409" y="2081"/>
                      <a:pt x="409" y="2156"/>
                    </a:cubicBezTo>
                    <a:lnTo>
                      <a:pt x="409" y="2163"/>
                    </a:lnTo>
                    <a:cubicBezTo>
                      <a:pt x="409" y="2227"/>
                      <a:pt x="453" y="2280"/>
                      <a:pt x="512" y="2295"/>
                    </a:cubicBezTo>
                    <a:lnTo>
                      <a:pt x="512" y="3186"/>
                    </a:lnTo>
                    <a:cubicBezTo>
                      <a:pt x="512" y="3247"/>
                      <a:pt x="562" y="3297"/>
                      <a:pt x="623" y="3297"/>
                    </a:cubicBezTo>
                    <a:lnTo>
                      <a:pt x="753" y="3297"/>
                    </a:lnTo>
                    <a:cubicBezTo>
                      <a:pt x="767" y="3338"/>
                      <a:pt x="799" y="3370"/>
                      <a:pt x="839" y="3383"/>
                    </a:cubicBezTo>
                    <a:lnTo>
                      <a:pt x="839" y="3429"/>
                    </a:lnTo>
                    <a:cubicBezTo>
                      <a:pt x="839" y="3490"/>
                      <a:pt x="889" y="3539"/>
                      <a:pt x="950" y="3539"/>
                    </a:cubicBezTo>
                    <a:lnTo>
                      <a:pt x="1377" y="3539"/>
                    </a:lnTo>
                    <a:cubicBezTo>
                      <a:pt x="1388" y="3573"/>
                      <a:pt x="1411" y="3601"/>
                      <a:pt x="1442" y="3617"/>
                    </a:cubicBezTo>
                    <a:lnTo>
                      <a:pt x="1442" y="4054"/>
                    </a:lnTo>
                    <a:cubicBezTo>
                      <a:pt x="1442" y="4115"/>
                      <a:pt x="1492" y="4165"/>
                      <a:pt x="1553" y="4165"/>
                    </a:cubicBezTo>
                    <a:lnTo>
                      <a:pt x="1590" y="4165"/>
                    </a:lnTo>
                    <a:cubicBezTo>
                      <a:pt x="1608" y="4204"/>
                      <a:pt x="1647" y="4232"/>
                      <a:pt x="1693" y="4232"/>
                    </a:cubicBezTo>
                    <a:cubicBezTo>
                      <a:pt x="1755" y="4232"/>
                      <a:pt x="1806" y="4181"/>
                      <a:pt x="1806" y="4119"/>
                    </a:cubicBezTo>
                    <a:cubicBezTo>
                      <a:pt x="1806" y="4057"/>
                      <a:pt x="1755" y="4006"/>
                      <a:pt x="1693" y="4006"/>
                    </a:cubicBezTo>
                    <a:cubicBezTo>
                      <a:pt x="1647" y="4006"/>
                      <a:pt x="1607" y="4033"/>
                      <a:pt x="1590" y="4073"/>
                    </a:cubicBezTo>
                    <a:lnTo>
                      <a:pt x="1553" y="4073"/>
                    </a:lnTo>
                    <a:cubicBezTo>
                      <a:pt x="1543" y="4073"/>
                      <a:pt x="1535" y="4064"/>
                      <a:pt x="1535" y="4054"/>
                    </a:cubicBezTo>
                    <a:lnTo>
                      <a:pt x="1535" y="3631"/>
                    </a:lnTo>
                    <a:cubicBezTo>
                      <a:pt x="1599" y="3620"/>
                      <a:pt x="1649" y="3564"/>
                      <a:pt x="1649" y="3497"/>
                    </a:cubicBezTo>
                    <a:lnTo>
                      <a:pt x="1649" y="3489"/>
                    </a:lnTo>
                    <a:cubicBezTo>
                      <a:pt x="1649" y="3414"/>
                      <a:pt x="1588" y="3353"/>
                      <a:pt x="1513" y="3353"/>
                    </a:cubicBezTo>
                    <a:lnTo>
                      <a:pt x="1505" y="3353"/>
                    </a:lnTo>
                    <a:cubicBezTo>
                      <a:pt x="1445" y="3353"/>
                      <a:pt x="1394" y="3393"/>
                      <a:pt x="1377" y="3447"/>
                    </a:cubicBezTo>
                    <a:lnTo>
                      <a:pt x="950" y="3447"/>
                    </a:lnTo>
                    <a:cubicBezTo>
                      <a:pt x="940" y="3447"/>
                      <a:pt x="932" y="3439"/>
                      <a:pt x="932" y="3429"/>
                    </a:cubicBezTo>
                    <a:lnTo>
                      <a:pt x="932" y="3383"/>
                    </a:lnTo>
                    <a:cubicBezTo>
                      <a:pt x="986" y="3365"/>
                      <a:pt x="1025" y="3315"/>
                      <a:pt x="1025" y="3255"/>
                    </a:cubicBezTo>
                    <a:lnTo>
                      <a:pt x="1025" y="3247"/>
                    </a:lnTo>
                    <a:cubicBezTo>
                      <a:pt x="1025" y="3186"/>
                      <a:pt x="984" y="3135"/>
                      <a:pt x="929" y="3118"/>
                    </a:cubicBezTo>
                    <a:lnTo>
                      <a:pt x="929" y="2686"/>
                    </a:lnTo>
                    <a:cubicBezTo>
                      <a:pt x="929" y="2676"/>
                      <a:pt x="937" y="2668"/>
                      <a:pt x="947" y="2668"/>
                    </a:cubicBezTo>
                    <a:lnTo>
                      <a:pt x="986" y="2668"/>
                    </a:lnTo>
                    <a:cubicBezTo>
                      <a:pt x="1004" y="2707"/>
                      <a:pt x="1044" y="2734"/>
                      <a:pt x="1089" y="2734"/>
                    </a:cubicBezTo>
                    <a:cubicBezTo>
                      <a:pt x="1152" y="2734"/>
                      <a:pt x="1202" y="2684"/>
                      <a:pt x="1202" y="2621"/>
                    </a:cubicBezTo>
                    <a:cubicBezTo>
                      <a:pt x="1202" y="2559"/>
                      <a:pt x="1152" y="2508"/>
                      <a:pt x="1089" y="2508"/>
                    </a:cubicBezTo>
                    <a:cubicBezTo>
                      <a:pt x="1044" y="2508"/>
                      <a:pt x="1004" y="2536"/>
                      <a:pt x="986" y="2575"/>
                    </a:cubicBezTo>
                    <a:lnTo>
                      <a:pt x="947" y="2575"/>
                    </a:lnTo>
                    <a:cubicBezTo>
                      <a:pt x="886" y="2575"/>
                      <a:pt x="836" y="2625"/>
                      <a:pt x="836" y="2686"/>
                    </a:cubicBezTo>
                    <a:lnTo>
                      <a:pt x="836" y="3119"/>
                    </a:lnTo>
                    <a:cubicBezTo>
                      <a:pt x="797" y="3134"/>
                      <a:pt x="766" y="3165"/>
                      <a:pt x="753" y="3205"/>
                    </a:cubicBezTo>
                    <a:lnTo>
                      <a:pt x="623" y="3205"/>
                    </a:lnTo>
                    <a:cubicBezTo>
                      <a:pt x="613" y="3205"/>
                      <a:pt x="605" y="3196"/>
                      <a:pt x="605" y="3186"/>
                    </a:cubicBezTo>
                    <a:lnTo>
                      <a:pt x="605" y="2289"/>
                    </a:lnTo>
                    <a:cubicBezTo>
                      <a:pt x="641" y="2274"/>
                      <a:pt x="669" y="2243"/>
                      <a:pt x="681" y="2206"/>
                    </a:cubicBezTo>
                    <a:lnTo>
                      <a:pt x="1444" y="2206"/>
                    </a:lnTo>
                    <a:cubicBezTo>
                      <a:pt x="1505" y="2206"/>
                      <a:pt x="1555" y="2156"/>
                      <a:pt x="1555" y="2095"/>
                    </a:cubicBezTo>
                    <a:lnTo>
                      <a:pt x="1555" y="1957"/>
                    </a:lnTo>
                    <a:cubicBezTo>
                      <a:pt x="1598" y="1941"/>
                      <a:pt x="1629" y="1900"/>
                      <a:pt x="1629" y="1851"/>
                    </a:cubicBezTo>
                    <a:cubicBezTo>
                      <a:pt x="1629" y="1806"/>
                      <a:pt x="1603" y="1768"/>
                      <a:pt x="1566" y="1750"/>
                    </a:cubicBezTo>
                    <a:lnTo>
                      <a:pt x="1566" y="1691"/>
                    </a:lnTo>
                    <a:cubicBezTo>
                      <a:pt x="1566" y="1630"/>
                      <a:pt x="1516" y="1581"/>
                      <a:pt x="1455" y="1581"/>
                    </a:cubicBezTo>
                    <a:lnTo>
                      <a:pt x="1310" y="1581"/>
                    </a:lnTo>
                    <a:cubicBezTo>
                      <a:pt x="1299" y="1553"/>
                      <a:pt x="1278" y="1531"/>
                      <a:pt x="1252" y="1519"/>
                    </a:cubicBezTo>
                    <a:lnTo>
                      <a:pt x="1252" y="680"/>
                    </a:lnTo>
                    <a:cubicBezTo>
                      <a:pt x="1252" y="670"/>
                      <a:pt x="1260" y="662"/>
                      <a:pt x="1270" y="662"/>
                    </a:cubicBezTo>
                    <a:lnTo>
                      <a:pt x="1415" y="662"/>
                    </a:lnTo>
                    <a:cubicBezTo>
                      <a:pt x="1433" y="716"/>
                      <a:pt x="1483" y="755"/>
                      <a:pt x="1543" y="755"/>
                    </a:cubicBezTo>
                    <a:lnTo>
                      <a:pt x="1551" y="755"/>
                    </a:lnTo>
                    <a:cubicBezTo>
                      <a:pt x="1626" y="755"/>
                      <a:pt x="1687" y="694"/>
                      <a:pt x="1687" y="619"/>
                    </a:cubicBezTo>
                    <a:lnTo>
                      <a:pt x="1687" y="612"/>
                    </a:lnTo>
                    <a:cubicBezTo>
                      <a:pt x="1687" y="537"/>
                      <a:pt x="1626" y="476"/>
                      <a:pt x="1551" y="476"/>
                    </a:cubicBezTo>
                    <a:lnTo>
                      <a:pt x="1543" y="476"/>
                    </a:lnTo>
                    <a:cubicBezTo>
                      <a:pt x="1483" y="476"/>
                      <a:pt x="1433" y="515"/>
                      <a:pt x="1415" y="569"/>
                    </a:cubicBezTo>
                    <a:lnTo>
                      <a:pt x="1270" y="569"/>
                    </a:lnTo>
                    <a:lnTo>
                      <a:pt x="1270" y="569"/>
                    </a:lnTo>
                    <a:close/>
                    <a:moveTo>
                      <a:pt x="2571" y="1156"/>
                    </a:moveTo>
                    <a:lnTo>
                      <a:pt x="2571" y="1156"/>
                    </a:lnTo>
                    <a:cubicBezTo>
                      <a:pt x="2598" y="1135"/>
                      <a:pt x="2637" y="1140"/>
                      <a:pt x="2658" y="1167"/>
                    </a:cubicBezTo>
                    <a:cubicBezTo>
                      <a:pt x="2665" y="1176"/>
                      <a:pt x="2673" y="1185"/>
                      <a:pt x="2682" y="1192"/>
                    </a:cubicBezTo>
                    <a:cubicBezTo>
                      <a:pt x="2752" y="1252"/>
                      <a:pt x="2858" y="1243"/>
                      <a:pt x="2917" y="1172"/>
                    </a:cubicBezTo>
                    <a:cubicBezTo>
                      <a:pt x="2935" y="1152"/>
                      <a:pt x="2947" y="1127"/>
                      <a:pt x="2953" y="1101"/>
                    </a:cubicBezTo>
                    <a:cubicBezTo>
                      <a:pt x="2960" y="1068"/>
                      <a:pt x="2993" y="1047"/>
                      <a:pt x="3026" y="1054"/>
                    </a:cubicBezTo>
                    <a:cubicBezTo>
                      <a:pt x="3060" y="1062"/>
                      <a:pt x="3081" y="1095"/>
                      <a:pt x="3073" y="1128"/>
                    </a:cubicBezTo>
                    <a:cubicBezTo>
                      <a:pt x="3063" y="1173"/>
                      <a:pt x="3042" y="1216"/>
                      <a:pt x="3011" y="1252"/>
                    </a:cubicBezTo>
                    <a:cubicBezTo>
                      <a:pt x="2966" y="1306"/>
                      <a:pt x="2903" y="1340"/>
                      <a:pt x="2834" y="1350"/>
                    </a:cubicBezTo>
                    <a:cubicBezTo>
                      <a:pt x="2847" y="1537"/>
                      <a:pt x="2777" y="1705"/>
                      <a:pt x="2644" y="1794"/>
                    </a:cubicBezTo>
                    <a:cubicBezTo>
                      <a:pt x="2592" y="1829"/>
                      <a:pt x="2533" y="1850"/>
                      <a:pt x="2469" y="1859"/>
                    </a:cubicBezTo>
                    <a:cubicBezTo>
                      <a:pt x="2453" y="1896"/>
                      <a:pt x="2429" y="1930"/>
                      <a:pt x="2397" y="1959"/>
                    </a:cubicBezTo>
                    <a:cubicBezTo>
                      <a:pt x="2362" y="1990"/>
                      <a:pt x="2320" y="2012"/>
                      <a:pt x="2275" y="2024"/>
                    </a:cubicBezTo>
                    <a:cubicBezTo>
                      <a:pt x="2270" y="2025"/>
                      <a:pt x="2265" y="2026"/>
                      <a:pt x="2260" y="2026"/>
                    </a:cubicBezTo>
                    <a:cubicBezTo>
                      <a:pt x="2232" y="2026"/>
                      <a:pt x="2207" y="2007"/>
                      <a:pt x="2200" y="1979"/>
                    </a:cubicBezTo>
                    <a:cubicBezTo>
                      <a:pt x="2192" y="1946"/>
                      <a:pt x="2212" y="1912"/>
                      <a:pt x="2245" y="1904"/>
                    </a:cubicBezTo>
                    <a:cubicBezTo>
                      <a:pt x="2271" y="1898"/>
                      <a:pt x="2295" y="1885"/>
                      <a:pt x="2315" y="1867"/>
                    </a:cubicBezTo>
                    <a:cubicBezTo>
                      <a:pt x="2384" y="1805"/>
                      <a:pt x="2390" y="1700"/>
                      <a:pt x="2328" y="1631"/>
                    </a:cubicBezTo>
                    <a:cubicBezTo>
                      <a:pt x="2321" y="1622"/>
                      <a:pt x="2312" y="1614"/>
                      <a:pt x="2303" y="1607"/>
                    </a:cubicBezTo>
                    <a:cubicBezTo>
                      <a:pt x="2275" y="1587"/>
                      <a:pt x="2270" y="1548"/>
                      <a:pt x="2290" y="1521"/>
                    </a:cubicBezTo>
                    <a:cubicBezTo>
                      <a:pt x="2310" y="1494"/>
                      <a:pt x="2349" y="1488"/>
                      <a:pt x="2376" y="1508"/>
                    </a:cubicBezTo>
                    <a:cubicBezTo>
                      <a:pt x="2392" y="1520"/>
                      <a:pt x="2407" y="1534"/>
                      <a:pt x="2420" y="1549"/>
                    </a:cubicBezTo>
                    <a:cubicBezTo>
                      <a:pt x="2467" y="1601"/>
                      <a:pt x="2490" y="1665"/>
                      <a:pt x="2492" y="1729"/>
                    </a:cubicBezTo>
                    <a:cubicBezTo>
                      <a:pt x="2522" y="1721"/>
                      <a:pt x="2550" y="1709"/>
                      <a:pt x="2575" y="1692"/>
                    </a:cubicBezTo>
                    <a:cubicBezTo>
                      <a:pt x="2674" y="1625"/>
                      <a:pt x="2725" y="1492"/>
                      <a:pt x="2710" y="1343"/>
                    </a:cubicBezTo>
                    <a:cubicBezTo>
                      <a:pt x="2671" y="1332"/>
                      <a:pt x="2634" y="1313"/>
                      <a:pt x="2602" y="1286"/>
                    </a:cubicBezTo>
                    <a:cubicBezTo>
                      <a:pt x="2587" y="1273"/>
                      <a:pt x="2573" y="1259"/>
                      <a:pt x="2560" y="1243"/>
                    </a:cubicBezTo>
                    <a:cubicBezTo>
                      <a:pt x="2540" y="1216"/>
                      <a:pt x="2544" y="1177"/>
                      <a:pt x="2571" y="1156"/>
                    </a:cubicBezTo>
                    <a:lnTo>
                      <a:pt x="2571" y="1156"/>
                    </a:lnTo>
                    <a:close/>
                    <a:moveTo>
                      <a:pt x="3512" y="2004"/>
                    </a:moveTo>
                    <a:lnTo>
                      <a:pt x="3512" y="2004"/>
                    </a:lnTo>
                    <a:cubicBezTo>
                      <a:pt x="3501" y="2050"/>
                      <a:pt x="3480" y="2093"/>
                      <a:pt x="3450" y="2129"/>
                    </a:cubicBezTo>
                    <a:cubicBezTo>
                      <a:pt x="3404" y="2183"/>
                      <a:pt x="3342" y="2216"/>
                      <a:pt x="3273" y="2227"/>
                    </a:cubicBezTo>
                    <a:cubicBezTo>
                      <a:pt x="3288" y="2416"/>
                      <a:pt x="3232" y="2619"/>
                      <a:pt x="3069" y="2678"/>
                    </a:cubicBezTo>
                    <a:cubicBezTo>
                      <a:pt x="3041" y="2688"/>
                      <a:pt x="3009" y="2699"/>
                      <a:pt x="2974" y="2711"/>
                    </a:cubicBezTo>
                    <a:cubicBezTo>
                      <a:pt x="2981" y="2716"/>
                      <a:pt x="2989" y="2720"/>
                      <a:pt x="2995" y="2726"/>
                    </a:cubicBezTo>
                    <a:cubicBezTo>
                      <a:pt x="3054" y="2777"/>
                      <a:pt x="3089" y="2847"/>
                      <a:pt x="3095" y="2925"/>
                    </a:cubicBezTo>
                    <a:cubicBezTo>
                      <a:pt x="3098" y="2971"/>
                      <a:pt x="3090" y="3019"/>
                      <a:pt x="3071" y="3062"/>
                    </a:cubicBezTo>
                    <a:cubicBezTo>
                      <a:pt x="3061" y="3085"/>
                      <a:pt x="3039" y="3098"/>
                      <a:pt x="3015" y="3098"/>
                    </a:cubicBezTo>
                    <a:cubicBezTo>
                      <a:pt x="3007" y="3098"/>
                      <a:pt x="2998" y="3097"/>
                      <a:pt x="2990" y="3093"/>
                    </a:cubicBezTo>
                    <a:cubicBezTo>
                      <a:pt x="2959" y="3080"/>
                      <a:pt x="2945" y="3043"/>
                      <a:pt x="2959" y="3012"/>
                    </a:cubicBezTo>
                    <a:cubicBezTo>
                      <a:pt x="2969" y="2987"/>
                      <a:pt x="2974" y="2961"/>
                      <a:pt x="2972" y="2933"/>
                    </a:cubicBezTo>
                    <a:cubicBezTo>
                      <a:pt x="2969" y="2889"/>
                      <a:pt x="2948" y="2848"/>
                      <a:pt x="2915" y="2819"/>
                    </a:cubicBezTo>
                    <a:cubicBezTo>
                      <a:pt x="2881" y="2790"/>
                      <a:pt x="2838" y="2776"/>
                      <a:pt x="2793" y="2779"/>
                    </a:cubicBezTo>
                    <a:cubicBezTo>
                      <a:pt x="2782" y="2780"/>
                      <a:pt x="2770" y="2782"/>
                      <a:pt x="2759" y="2785"/>
                    </a:cubicBezTo>
                    <a:cubicBezTo>
                      <a:pt x="2752" y="2787"/>
                      <a:pt x="2745" y="2787"/>
                      <a:pt x="2738" y="2786"/>
                    </a:cubicBezTo>
                    <a:cubicBezTo>
                      <a:pt x="2735" y="2787"/>
                      <a:pt x="2732" y="2788"/>
                      <a:pt x="2732" y="2788"/>
                    </a:cubicBezTo>
                    <a:cubicBezTo>
                      <a:pt x="2435" y="2901"/>
                      <a:pt x="2341" y="3077"/>
                      <a:pt x="2312" y="3320"/>
                    </a:cubicBezTo>
                    <a:cubicBezTo>
                      <a:pt x="2326" y="3314"/>
                      <a:pt x="2342" y="3309"/>
                      <a:pt x="2358" y="3305"/>
                    </a:cubicBezTo>
                    <a:cubicBezTo>
                      <a:pt x="2403" y="3295"/>
                      <a:pt x="2451" y="3297"/>
                      <a:pt x="2496" y="3309"/>
                    </a:cubicBezTo>
                    <a:cubicBezTo>
                      <a:pt x="2529" y="3318"/>
                      <a:pt x="2548" y="3352"/>
                      <a:pt x="2539" y="3385"/>
                    </a:cubicBezTo>
                    <a:cubicBezTo>
                      <a:pt x="2530" y="3418"/>
                      <a:pt x="2496" y="3437"/>
                      <a:pt x="2463" y="3428"/>
                    </a:cubicBezTo>
                    <a:cubicBezTo>
                      <a:pt x="2437" y="3421"/>
                      <a:pt x="2410" y="3420"/>
                      <a:pt x="2384" y="3426"/>
                    </a:cubicBezTo>
                    <a:cubicBezTo>
                      <a:pt x="2340" y="3435"/>
                      <a:pt x="2303" y="3461"/>
                      <a:pt x="2278" y="3498"/>
                    </a:cubicBezTo>
                    <a:cubicBezTo>
                      <a:pt x="2254" y="3536"/>
                      <a:pt x="2246" y="3581"/>
                      <a:pt x="2256" y="3624"/>
                    </a:cubicBezTo>
                    <a:cubicBezTo>
                      <a:pt x="2258" y="3636"/>
                      <a:pt x="2262" y="3647"/>
                      <a:pt x="2266" y="3657"/>
                    </a:cubicBezTo>
                    <a:cubicBezTo>
                      <a:pt x="2280" y="3688"/>
                      <a:pt x="2266" y="3725"/>
                      <a:pt x="2235" y="3739"/>
                    </a:cubicBezTo>
                    <a:cubicBezTo>
                      <a:pt x="2227" y="3742"/>
                      <a:pt x="2219" y="3744"/>
                      <a:pt x="2210" y="3744"/>
                    </a:cubicBezTo>
                    <a:cubicBezTo>
                      <a:pt x="2187" y="3744"/>
                      <a:pt x="2164" y="3731"/>
                      <a:pt x="2154" y="3708"/>
                    </a:cubicBezTo>
                    <a:cubicBezTo>
                      <a:pt x="2146" y="3689"/>
                      <a:pt x="2139" y="3670"/>
                      <a:pt x="2135" y="3650"/>
                    </a:cubicBezTo>
                    <a:cubicBezTo>
                      <a:pt x="2119" y="3575"/>
                      <a:pt x="2133" y="3497"/>
                      <a:pt x="2175" y="3432"/>
                    </a:cubicBezTo>
                    <a:cubicBezTo>
                      <a:pt x="2177" y="3428"/>
                      <a:pt x="2181" y="3425"/>
                      <a:pt x="2183" y="3421"/>
                    </a:cubicBezTo>
                    <a:cubicBezTo>
                      <a:pt x="2181" y="3414"/>
                      <a:pt x="2180" y="3407"/>
                      <a:pt x="2181" y="3399"/>
                    </a:cubicBezTo>
                    <a:cubicBezTo>
                      <a:pt x="2198" y="3116"/>
                      <a:pt x="2273" y="2831"/>
                      <a:pt x="2692" y="2672"/>
                    </a:cubicBezTo>
                    <a:cubicBezTo>
                      <a:pt x="2698" y="2670"/>
                      <a:pt x="2916" y="2602"/>
                      <a:pt x="3027" y="2562"/>
                    </a:cubicBezTo>
                    <a:cubicBezTo>
                      <a:pt x="3128" y="2525"/>
                      <a:pt x="3164" y="2365"/>
                      <a:pt x="3148" y="2220"/>
                    </a:cubicBezTo>
                    <a:cubicBezTo>
                      <a:pt x="3109" y="2208"/>
                      <a:pt x="3072" y="2190"/>
                      <a:pt x="3041" y="2163"/>
                    </a:cubicBezTo>
                    <a:cubicBezTo>
                      <a:pt x="3025" y="2150"/>
                      <a:pt x="3011" y="2135"/>
                      <a:pt x="2999" y="2120"/>
                    </a:cubicBezTo>
                    <a:cubicBezTo>
                      <a:pt x="2978" y="2093"/>
                      <a:pt x="2983" y="2054"/>
                      <a:pt x="3010" y="2033"/>
                    </a:cubicBezTo>
                    <a:cubicBezTo>
                      <a:pt x="3036" y="2012"/>
                      <a:pt x="3075" y="2017"/>
                      <a:pt x="3096" y="2044"/>
                    </a:cubicBezTo>
                    <a:cubicBezTo>
                      <a:pt x="3103" y="2053"/>
                      <a:pt x="3111" y="2061"/>
                      <a:pt x="3120" y="2069"/>
                    </a:cubicBezTo>
                    <a:cubicBezTo>
                      <a:pt x="3190" y="2128"/>
                      <a:pt x="3296" y="2120"/>
                      <a:pt x="3356" y="2049"/>
                    </a:cubicBezTo>
                    <a:cubicBezTo>
                      <a:pt x="3373" y="2028"/>
                      <a:pt x="3385" y="2004"/>
                      <a:pt x="3391" y="1978"/>
                    </a:cubicBezTo>
                    <a:cubicBezTo>
                      <a:pt x="3398" y="1944"/>
                      <a:pt x="3431" y="1924"/>
                      <a:pt x="3465" y="1931"/>
                    </a:cubicBezTo>
                    <a:cubicBezTo>
                      <a:pt x="3498" y="1938"/>
                      <a:pt x="3519" y="1971"/>
                      <a:pt x="3512" y="2004"/>
                    </a:cubicBezTo>
                    <a:lnTo>
                      <a:pt x="3512" y="2004"/>
                    </a:lnTo>
                    <a:close/>
                    <a:moveTo>
                      <a:pt x="2165" y="902"/>
                    </a:moveTo>
                    <a:lnTo>
                      <a:pt x="2165" y="902"/>
                    </a:lnTo>
                    <a:cubicBezTo>
                      <a:pt x="2152" y="857"/>
                      <a:pt x="2150" y="810"/>
                      <a:pt x="2160" y="764"/>
                    </a:cubicBezTo>
                    <a:cubicBezTo>
                      <a:pt x="2193" y="607"/>
                      <a:pt x="2347" y="506"/>
                      <a:pt x="2504" y="539"/>
                    </a:cubicBezTo>
                    <a:cubicBezTo>
                      <a:pt x="2523" y="543"/>
                      <a:pt x="2543" y="549"/>
                      <a:pt x="2561" y="557"/>
                    </a:cubicBezTo>
                    <a:cubicBezTo>
                      <a:pt x="2592" y="571"/>
                      <a:pt x="2606" y="607"/>
                      <a:pt x="2593" y="638"/>
                    </a:cubicBezTo>
                    <a:cubicBezTo>
                      <a:pt x="2579" y="669"/>
                      <a:pt x="2543" y="684"/>
                      <a:pt x="2512" y="670"/>
                    </a:cubicBezTo>
                    <a:cubicBezTo>
                      <a:pt x="2501" y="665"/>
                      <a:pt x="2490" y="662"/>
                      <a:pt x="2479" y="659"/>
                    </a:cubicBezTo>
                    <a:cubicBezTo>
                      <a:pt x="2388" y="640"/>
                      <a:pt x="2300" y="699"/>
                      <a:pt x="2281" y="789"/>
                    </a:cubicBezTo>
                    <a:cubicBezTo>
                      <a:pt x="2275" y="816"/>
                      <a:pt x="2276" y="842"/>
                      <a:pt x="2283" y="868"/>
                    </a:cubicBezTo>
                    <a:cubicBezTo>
                      <a:pt x="2293" y="901"/>
                      <a:pt x="2274" y="935"/>
                      <a:pt x="2241" y="945"/>
                    </a:cubicBezTo>
                    <a:cubicBezTo>
                      <a:pt x="2235" y="946"/>
                      <a:pt x="2230" y="947"/>
                      <a:pt x="2224" y="947"/>
                    </a:cubicBezTo>
                    <a:cubicBezTo>
                      <a:pt x="2197" y="947"/>
                      <a:pt x="2173" y="929"/>
                      <a:pt x="2165" y="902"/>
                    </a:cubicBezTo>
                    <a:lnTo>
                      <a:pt x="2165" y="902"/>
                    </a:lnTo>
                    <a:close/>
                    <a:moveTo>
                      <a:pt x="3822" y="2706"/>
                    </a:moveTo>
                    <a:lnTo>
                      <a:pt x="3822" y="2706"/>
                    </a:lnTo>
                    <a:cubicBezTo>
                      <a:pt x="3797" y="2798"/>
                      <a:pt x="3734" y="2872"/>
                      <a:pt x="3650" y="2912"/>
                    </a:cubicBezTo>
                    <a:cubicBezTo>
                      <a:pt x="3645" y="2834"/>
                      <a:pt x="3633" y="2757"/>
                      <a:pt x="3614" y="2680"/>
                    </a:cubicBezTo>
                    <a:cubicBezTo>
                      <a:pt x="3605" y="2647"/>
                      <a:pt x="3572" y="2627"/>
                      <a:pt x="3539" y="2636"/>
                    </a:cubicBezTo>
                    <a:cubicBezTo>
                      <a:pt x="3506" y="2644"/>
                      <a:pt x="3486" y="2678"/>
                      <a:pt x="3494" y="2711"/>
                    </a:cubicBezTo>
                    <a:cubicBezTo>
                      <a:pt x="3538" y="2883"/>
                      <a:pt x="3542" y="3060"/>
                      <a:pt x="3505" y="3236"/>
                    </a:cubicBezTo>
                    <a:cubicBezTo>
                      <a:pt x="3494" y="3289"/>
                      <a:pt x="3479" y="3340"/>
                      <a:pt x="3462" y="3389"/>
                    </a:cubicBezTo>
                    <a:cubicBezTo>
                      <a:pt x="3446" y="3362"/>
                      <a:pt x="3426" y="3337"/>
                      <a:pt x="3402" y="3316"/>
                    </a:cubicBezTo>
                    <a:cubicBezTo>
                      <a:pt x="3343" y="3265"/>
                      <a:pt x="3269" y="3240"/>
                      <a:pt x="3191" y="3246"/>
                    </a:cubicBezTo>
                    <a:cubicBezTo>
                      <a:pt x="3171" y="3247"/>
                      <a:pt x="3151" y="3251"/>
                      <a:pt x="3132" y="3256"/>
                    </a:cubicBezTo>
                    <a:cubicBezTo>
                      <a:pt x="3099" y="3265"/>
                      <a:pt x="3080" y="3299"/>
                      <a:pt x="3089" y="3332"/>
                    </a:cubicBezTo>
                    <a:cubicBezTo>
                      <a:pt x="3099" y="3365"/>
                      <a:pt x="3132" y="3384"/>
                      <a:pt x="3166" y="3375"/>
                    </a:cubicBezTo>
                    <a:cubicBezTo>
                      <a:pt x="3177" y="3371"/>
                      <a:pt x="3188" y="3369"/>
                      <a:pt x="3200" y="3368"/>
                    </a:cubicBezTo>
                    <a:cubicBezTo>
                      <a:pt x="3245" y="3366"/>
                      <a:pt x="3287" y="3380"/>
                      <a:pt x="3321" y="3409"/>
                    </a:cubicBezTo>
                    <a:cubicBezTo>
                      <a:pt x="3355" y="3438"/>
                      <a:pt x="3375" y="3479"/>
                      <a:pt x="3378" y="3523"/>
                    </a:cubicBezTo>
                    <a:cubicBezTo>
                      <a:pt x="3380" y="3545"/>
                      <a:pt x="3376" y="3566"/>
                      <a:pt x="3370" y="3586"/>
                    </a:cubicBezTo>
                    <a:cubicBezTo>
                      <a:pt x="3258" y="3777"/>
                      <a:pt x="3093" y="3934"/>
                      <a:pt x="2892" y="4036"/>
                    </a:cubicBezTo>
                    <a:cubicBezTo>
                      <a:pt x="2878" y="3957"/>
                      <a:pt x="2850" y="3882"/>
                      <a:pt x="2807" y="3813"/>
                    </a:cubicBezTo>
                    <a:cubicBezTo>
                      <a:pt x="2789" y="3785"/>
                      <a:pt x="2752" y="3776"/>
                      <a:pt x="2722" y="3793"/>
                    </a:cubicBezTo>
                    <a:cubicBezTo>
                      <a:pt x="2694" y="3811"/>
                      <a:pt x="2685" y="3849"/>
                      <a:pt x="2703" y="3878"/>
                    </a:cubicBezTo>
                    <a:cubicBezTo>
                      <a:pt x="2739" y="3937"/>
                      <a:pt x="2763" y="4002"/>
                      <a:pt x="2774" y="4071"/>
                    </a:cubicBezTo>
                    <a:cubicBezTo>
                      <a:pt x="2817" y="4353"/>
                      <a:pt x="2624" y="4617"/>
                      <a:pt x="2342" y="4661"/>
                    </a:cubicBezTo>
                    <a:cubicBezTo>
                      <a:pt x="2248" y="4676"/>
                      <a:pt x="2153" y="4664"/>
                      <a:pt x="2066" y="4628"/>
                    </a:cubicBezTo>
                    <a:cubicBezTo>
                      <a:pt x="2064" y="4628"/>
                      <a:pt x="2063" y="4628"/>
                      <a:pt x="2061" y="4627"/>
                    </a:cubicBezTo>
                    <a:lnTo>
                      <a:pt x="2061" y="447"/>
                    </a:lnTo>
                    <a:cubicBezTo>
                      <a:pt x="2061" y="438"/>
                      <a:pt x="2059" y="430"/>
                      <a:pt x="2055" y="422"/>
                    </a:cubicBezTo>
                    <a:lnTo>
                      <a:pt x="2055" y="420"/>
                    </a:lnTo>
                    <a:cubicBezTo>
                      <a:pt x="2175" y="278"/>
                      <a:pt x="2409" y="210"/>
                      <a:pt x="2624" y="255"/>
                    </a:cubicBezTo>
                    <a:cubicBezTo>
                      <a:pt x="3093" y="353"/>
                      <a:pt x="3399" y="806"/>
                      <a:pt x="3322" y="1274"/>
                    </a:cubicBezTo>
                    <a:cubicBezTo>
                      <a:pt x="3277" y="1274"/>
                      <a:pt x="3233" y="1277"/>
                      <a:pt x="3188" y="1286"/>
                    </a:cubicBezTo>
                    <a:cubicBezTo>
                      <a:pt x="3155" y="1293"/>
                      <a:pt x="3133" y="1325"/>
                      <a:pt x="3140" y="1358"/>
                    </a:cubicBezTo>
                    <a:cubicBezTo>
                      <a:pt x="3146" y="1392"/>
                      <a:pt x="3179" y="1414"/>
                      <a:pt x="3212" y="1407"/>
                    </a:cubicBezTo>
                    <a:cubicBezTo>
                      <a:pt x="3280" y="1394"/>
                      <a:pt x="3349" y="1394"/>
                      <a:pt x="3417" y="1408"/>
                    </a:cubicBezTo>
                    <a:cubicBezTo>
                      <a:pt x="3552" y="1437"/>
                      <a:pt x="3669" y="1516"/>
                      <a:pt x="3744" y="1631"/>
                    </a:cubicBezTo>
                    <a:cubicBezTo>
                      <a:pt x="3820" y="1747"/>
                      <a:pt x="3846" y="1885"/>
                      <a:pt x="3818" y="2020"/>
                    </a:cubicBezTo>
                    <a:cubicBezTo>
                      <a:pt x="3798" y="2113"/>
                      <a:pt x="3754" y="2199"/>
                      <a:pt x="3689" y="2267"/>
                    </a:cubicBezTo>
                    <a:cubicBezTo>
                      <a:pt x="3688" y="2269"/>
                      <a:pt x="3688" y="2270"/>
                      <a:pt x="3687" y="2272"/>
                    </a:cubicBezTo>
                    <a:cubicBezTo>
                      <a:pt x="3686" y="2273"/>
                      <a:pt x="3685" y="2273"/>
                      <a:pt x="3684" y="2274"/>
                    </a:cubicBezTo>
                    <a:cubicBezTo>
                      <a:pt x="3682" y="2276"/>
                      <a:pt x="3682" y="2279"/>
                      <a:pt x="3681" y="2281"/>
                    </a:cubicBezTo>
                    <a:cubicBezTo>
                      <a:pt x="3679" y="2285"/>
                      <a:pt x="3677" y="2288"/>
                      <a:pt x="3676" y="2292"/>
                    </a:cubicBezTo>
                    <a:cubicBezTo>
                      <a:pt x="3674" y="2297"/>
                      <a:pt x="3674" y="2301"/>
                      <a:pt x="3674" y="2306"/>
                    </a:cubicBezTo>
                    <a:cubicBezTo>
                      <a:pt x="3673" y="2309"/>
                      <a:pt x="3673" y="2312"/>
                      <a:pt x="3673" y="2315"/>
                    </a:cubicBezTo>
                    <a:cubicBezTo>
                      <a:pt x="3674" y="2320"/>
                      <a:pt x="3675" y="2325"/>
                      <a:pt x="3677" y="2330"/>
                    </a:cubicBezTo>
                    <a:cubicBezTo>
                      <a:pt x="3678" y="2332"/>
                      <a:pt x="3678" y="2334"/>
                      <a:pt x="3679" y="2337"/>
                    </a:cubicBezTo>
                    <a:cubicBezTo>
                      <a:pt x="3682" y="2342"/>
                      <a:pt x="3685" y="2346"/>
                      <a:pt x="3690" y="2351"/>
                    </a:cubicBezTo>
                    <a:cubicBezTo>
                      <a:pt x="3691" y="2352"/>
                      <a:pt x="3691" y="2353"/>
                      <a:pt x="3692" y="2355"/>
                    </a:cubicBezTo>
                    <a:cubicBezTo>
                      <a:pt x="3693" y="2355"/>
                      <a:pt x="3694" y="2355"/>
                      <a:pt x="3694" y="2356"/>
                    </a:cubicBezTo>
                    <a:cubicBezTo>
                      <a:pt x="3696" y="2357"/>
                      <a:pt x="3697" y="2359"/>
                      <a:pt x="3698" y="2360"/>
                    </a:cubicBezTo>
                    <a:cubicBezTo>
                      <a:pt x="3807" y="2438"/>
                      <a:pt x="3857" y="2577"/>
                      <a:pt x="3822" y="2706"/>
                    </a:cubicBezTo>
                    <a:lnTo>
                      <a:pt x="3822" y="2706"/>
                    </a:lnTo>
                    <a:close/>
                    <a:moveTo>
                      <a:pt x="1932" y="4625"/>
                    </a:moveTo>
                    <a:lnTo>
                      <a:pt x="1932" y="4625"/>
                    </a:lnTo>
                    <a:lnTo>
                      <a:pt x="1583" y="4673"/>
                    </a:lnTo>
                    <a:lnTo>
                      <a:pt x="1255" y="4217"/>
                    </a:lnTo>
                    <a:cubicBezTo>
                      <a:pt x="1249" y="4207"/>
                      <a:pt x="1239" y="4200"/>
                      <a:pt x="1228" y="4195"/>
                    </a:cubicBezTo>
                    <a:lnTo>
                      <a:pt x="613" y="3946"/>
                    </a:lnTo>
                    <a:lnTo>
                      <a:pt x="428" y="2946"/>
                    </a:lnTo>
                    <a:cubicBezTo>
                      <a:pt x="425" y="2931"/>
                      <a:pt x="417" y="2918"/>
                      <a:pt x="405" y="2909"/>
                    </a:cubicBezTo>
                    <a:lnTo>
                      <a:pt x="133" y="2692"/>
                    </a:lnTo>
                    <a:lnTo>
                      <a:pt x="223" y="2293"/>
                    </a:lnTo>
                    <a:cubicBezTo>
                      <a:pt x="224" y="2287"/>
                      <a:pt x="225" y="2280"/>
                      <a:pt x="224" y="2274"/>
                    </a:cubicBezTo>
                    <a:lnTo>
                      <a:pt x="163" y="1568"/>
                    </a:lnTo>
                    <a:lnTo>
                      <a:pt x="580" y="1327"/>
                    </a:lnTo>
                    <a:cubicBezTo>
                      <a:pt x="599" y="1316"/>
                      <a:pt x="611" y="1295"/>
                      <a:pt x="611" y="1273"/>
                    </a:cubicBezTo>
                    <a:lnTo>
                      <a:pt x="611" y="463"/>
                    </a:lnTo>
                    <a:lnTo>
                      <a:pt x="1324" y="130"/>
                    </a:lnTo>
                    <a:cubicBezTo>
                      <a:pt x="1701" y="293"/>
                      <a:pt x="1862" y="358"/>
                      <a:pt x="1932" y="383"/>
                    </a:cubicBezTo>
                    <a:lnTo>
                      <a:pt x="1932" y="4625"/>
                    </a:lnTo>
                    <a:lnTo>
                      <a:pt x="1932" y="4625"/>
                    </a:lnTo>
                    <a:close/>
                    <a:moveTo>
                      <a:pt x="3820" y="2302"/>
                    </a:moveTo>
                    <a:lnTo>
                      <a:pt x="3820" y="2302"/>
                    </a:lnTo>
                    <a:cubicBezTo>
                      <a:pt x="3877" y="2226"/>
                      <a:pt x="3919" y="2139"/>
                      <a:pt x="3938" y="2045"/>
                    </a:cubicBezTo>
                    <a:cubicBezTo>
                      <a:pt x="3973" y="1878"/>
                      <a:pt x="3941" y="1707"/>
                      <a:pt x="3847" y="1564"/>
                    </a:cubicBezTo>
                    <a:cubicBezTo>
                      <a:pt x="3754" y="1421"/>
                      <a:pt x="3611" y="1324"/>
                      <a:pt x="3445" y="1288"/>
                    </a:cubicBezTo>
                    <a:cubicBezTo>
                      <a:pt x="3528" y="757"/>
                      <a:pt x="3181" y="246"/>
                      <a:pt x="2649" y="135"/>
                    </a:cubicBezTo>
                    <a:cubicBezTo>
                      <a:pt x="2418" y="86"/>
                      <a:pt x="2176" y="145"/>
                      <a:pt x="2019" y="282"/>
                    </a:cubicBezTo>
                    <a:cubicBezTo>
                      <a:pt x="2014" y="280"/>
                      <a:pt x="2009" y="278"/>
                      <a:pt x="2003" y="278"/>
                    </a:cubicBezTo>
                    <a:cubicBezTo>
                      <a:pt x="1963" y="269"/>
                      <a:pt x="1636" y="131"/>
                      <a:pt x="1348" y="6"/>
                    </a:cubicBezTo>
                    <a:cubicBezTo>
                      <a:pt x="1331" y="0"/>
                      <a:pt x="1313" y="0"/>
                      <a:pt x="1297" y="6"/>
                    </a:cubicBezTo>
                    <a:lnTo>
                      <a:pt x="523" y="368"/>
                    </a:lnTo>
                    <a:cubicBezTo>
                      <a:pt x="501" y="378"/>
                      <a:pt x="487" y="400"/>
                      <a:pt x="487" y="424"/>
                    </a:cubicBezTo>
                    <a:lnTo>
                      <a:pt x="487" y="1238"/>
                    </a:lnTo>
                    <a:lnTo>
                      <a:pt x="67" y="1481"/>
                    </a:lnTo>
                    <a:cubicBezTo>
                      <a:pt x="47" y="1493"/>
                      <a:pt x="35" y="1516"/>
                      <a:pt x="37" y="1540"/>
                    </a:cubicBezTo>
                    <a:lnTo>
                      <a:pt x="100" y="2275"/>
                    </a:lnTo>
                    <a:lnTo>
                      <a:pt x="4" y="2703"/>
                    </a:lnTo>
                    <a:cubicBezTo>
                      <a:pt x="0" y="2726"/>
                      <a:pt x="7" y="2750"/>
                      <a:pt x="26" y="2765"/>
                    </a:cubicBezTo>
                    <a:lnTo>
                      <a:pt x="311" y="2991"/>
                    </a:lnTo>
                    <a:lnTo>
                      <a:pt x="498" y="4002"/>
                    </a:lnTo>
                    <a:cubicBezTo>
                      <a:pt x="502" y="4023"/>
                      <a:pt x="516" y="4040"/>
                      <a:pt x="535" y="4048"/>
                    </a:cubicBezTo>
                    <a:lnTo>
                      <a:pt x="1166" y="4303"/>
                    </a:lnTo>
                    <a:lnTo>
                      <a:pt x="1505" y="4775"/>
                    </a:lnTo>
                    <a:cubicBezTo>
                      <a:pt x="1517" y="4791"/>
                      <a:pt x="1535" y="4801"/>
                      <a:pt x="1555" y="4801"/>
                    </a:cubicBezTo>
                    <a:cubicBezTo>
                      <a:pt x="1558" y="4801"/>
                      <a:pt x="1561" y="4800"/>
                      <a:pt x="1563" y="4800"/>
                    </a:cubicBezTo>
                    <a:lnTo>
                      <a:pt x="2002" y="4740"/>
                    </a:lnTo>
                    <a:cubicBezTo>
                      <a:pt x="2005" y="4740"/>
                      <a:pt x="2008" y="4738"/>
                      <a:pt x="2011" y="4737"/>
                    </a:cubicBezTo>
                    <a:cubicBezTo>
                      <a:pt x="2014" y="4739"/>
                      <a:pt x="2016" y="4741"/>
                      <a:pt x="2018" y="4742"/>
                    </a:cubicBezTo>
                    <a:cubicBezTo>
                      <a:pt x="2096" y="4774"/>
                      <a:pt x="2179" y="4791"/>
                      <a:pt x="2262" y="4791"/>
                    </a:cubicBezTo>
                    <a:cubicBezTo>
                      <a:pt x="2295" y="4791"/>
                      <a:pt x="2328" y="4788"/>
                      <a:pt x="2361" y="4783"/>
                    </a:cubicBezTo>
                    <a:cubicBezTo>
                      <a:pt x="2671" y="4735"/>
                      <a:pt x="2894" y="4471"/>
                      <a:pt x="2902" y="4168"/>
                    </a:cubicBezTo>
                    <a:cubicBezTo>
                      <a:pt x="3136" y="4060"/>
                      <a:pt x="3330" y="3887"/>
                      <a:pt x="3462" y="3672"/>
                    </a:cubicBezTo>
                    <a:cubicBezTo>
                      <a:pt x="3468" y="3667"/>
                      <a:pt x="3474" y="3660"/>
                      <a:pt x="3478" y="3651"/>
                    </a:cubicBezTo>
                    <a:cubicBezTo>
                      <a:pt x="3480" y="3646"/>
                      <a:pt x="3482" y="3641"/>
                      <a:pt x="3484" y="3636"/>
                    </a:cubicBezTo>
                    <a:cubicBezTo>
                      <a:pt x="3549" y="3521"/>
                      <a:pt x="3598" y="3395"/>
                      <a:pt x="3626" y="3261"/>
                    </a:cubicBezTo>
                    <a:cubicBezTo>
                      <a:pt x="3641" y="3189"/>
                      <a:pt x="3650" y="3116"/>
                      <a:pt x="3653" y="3044"/>
                    </a:cubicBezTo>
                    <a:cubicBezTo>
                      <a:pt x="3793" y="2997"/>
                      <a:pt x="3902" y="2883"/>
                      <a:pt x="3941" y="2738"/>
                    </a:cubicBezTo>
                    <a:cubicBezTo>
                      <a:pt x="3983" y="2581"/>
                      <a:pt x="3935" y="2413"/>
                      <a:pt x="3820" y="2302"/>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70" name="TextBox 69">
                <a:extLst>
                  <a:ext uri="{FF2B5EF4-FFF2-40B4-BE49-F238E27FC236}">
                    <a16:creationId xmlns:a16="http://schemas.microsoft.com/office/drawing/2014/main" id="{96976515-0216-2E05-184A-6C82FFF8EED9}"/>
                  </a:ext>
                </a:extLst>
              </p:cNvPr>
              <p:cNvSpPr txBox="1"/>
              <p:nvPr/>
            </p:nvSpPr>
            <p:spPr>
              <a:xfrm>
                <a:off x="7917420" y="7020491"/>
                <a:ext cx="1869101" cy="369332"/>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0766D1"/>
                    </a:solidFill>
                    <a:effectLst/>
                    <a:uLnTx/>
                    <a:uFillTx/>
                    <a:latin typeface="Anova Light"/>
                    <a:ea typeface="+mn-ea"/>
                    <a:cs typeface="+mn-cs"/>
                  </a:rPr>
                  <a:t>Generative AI</a:t>
                </a:r>
              </a:p>
            </p:txBody>
          </p:sp>
          <p:grpSp>
            <p:nvGrpSpPr>
              <p:cNvPr id="71" name="Group 70">
                <a:extLst>
                  <a:ext uri="{FF2B5EF4-FFF2-40B4-BE49-F238E27FC236}">
                    <a16:creationId xmlns:a16="http://schemas.microsoft.com/office/drawing/2014/main" id="{C9B6FAC0-761F-1472-3031-6D5D4DFF3AE6}"/>
                  </a:ext>
                </a:extLst>
              </p:cNvPr>
              <p:cNvGrpSpPr/>
              <p:nvPr/>
            </p:nvGrpSpPr>
            <p:grpSpPr>
              <a:xfrm>
                <a:off x="3232600" y="2555134"/>
                <a:ext cx="4413272" cy="5366666"/>
                <a:chOff x="6500307" y="2191048"/>
                <a:chExt cx="4413272" cy="5366666"/>
              </a:xfrm>
            </p:grpSpPr>
            <p:sp>
              <p:nvSpPr>
                <p:cNvPr id="93" name="Rounded Rectangle 5">
                  <a:extLst>
                    <a:ext uri="{FF2B5EF4-FFF2-40B4-BE49-F238E27FC236}">
                      <a16:creationId xmlns:a16="http://schemas.microsoft.com/office/drawing/2014/main" id="{74C03433-196C-3476-85DA-EB9B4C5C81C2}"/>
                    </a:ext>
                  </a:extLst>
                </p:cNvPr>
                <p:cNvSpPr/>
                <p:nvPr/>
              </p:nvSpPr>
              <p:spPr>
                <a:xfrm>
                  <a:off x="6500307" y="2191048"/>
                  <a:ext cx="4413272" cy="564164"/>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766D1"/>
                      </a:solidFill>
                      <a:effectLst/>
                      <a:uLnTx/>
                      <a:uFillTx/>
                      <a:latin typeface="Anova Bold"/>
                      <a:ea typeface="+mn-ea"/>
                      <a:cs typeface="+mn-cs"/>
                    </a:rPr>
                    <a:t>LEARNS FROM DATA</a:t>
                  </a:r>
                </a:p>
              </p:txBody>
            </p:sp>
            <p:grpSp>
              <p:nvGrpSpPr>
                <p:cNvPr id="94" name="Group 93">
                  <a:extLst>
                    <a:ext uri="{FF2B5EF4-FFF2-40B4-BE49-F238E27FC236}">
                      <a16:creationId xmlns:a16="http://schemas.microsoft.com/office/drawing/2014/main" id="{05FC6D2A-2F53-83E7-0413-CB91764A14C5}"/>
                    </a:ext>
                  </a:extLst>
                </p:cNvPr>
                <p:cNvGrpSpPr/>
                <p:nvPr/>
              </p:nvGrpSpPr>
              <p:grpSpPr>
                <a:xfrm>
                  <a:off x="6843586" y="3281538"/>
                  <a:ext cx="3203318" cy="4276176"/>
                  <a:chOff x="6843586" y="3281538"/>
                  <a:chExt cx="3203318" cy="4276176"/>
                </a:xfrm>
              </p:grpSpPr>
              <p:sp>
                <p:nvSpPr>
                  <p:cNvPr id="95" name="Round Same Side Corner Rectangle 7">
                    <a:extLst>
                      <a:ext uri="{FF2B5EF4-FFF2-40B4-BE49-F238E27FC236}">
                        <a16:creationId xmlns:a16="http://schemas.microsoft.com/office/drawing/2014/main" id="{6BEF2419-AC37-9D82-455F-D7EE15E78DA0}"/>
                      </a:ext>
                    </a:extLst>
                  </p:cNvPr>
                  <p:cNvSpPr/>
                  <p:nvPr/>
                </p:nvSpPr>
                <p:spPr>
                  <a:xfrm rot="16200000">
                    <a:off x="6307157" y="3817967"/>
                    <a:ext cx="4276176" cy="3203318"/>
                  </a:xfrm>
                  <a:prstGeom prst="round2Same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sp>
                <p:nvSpPr>
                  <p:cNvPr id="96" name="Rounded Rectangle 8">
                    <a:extLst>
                      <a:ext uri="{FF2B5EF4-FFF2-40B4-BE49-F238E27FC236}">
                        <a16:creationId xmlns:a16="http://schemas.microsoft.com/office/drawing/2014/main" id="{E31EC538-DACA-21FA-1CE0-CB38463867B2}"/>
                      </a:ext>
                    </a:extLst>
                  </p:cNvPr>
                  <p:cNvSpPr/>
                  <p:nvPr/>
                </p:nvSpPr>
                <p:spPr>
                  <a:xfrm>
                    <a:off x="8166916" y="3734484"/>
                    <a:ext cx="1080054"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Light"/>
                        <a:ea typeface="+mn-ea"/>
                        <a:cs typeface="+mn-cs"/>
                      </a:rPr>
                      <a:t>Text</a:t>
                    </a:r>
                  </a:p>
                </p:txBody>
              </p:sp>
              <p:sp>
                <p:nvSpPr>
                  <p:cNvPr id="97" name="Rounded Rectangle 9">
                    <a:extLst>
                      <a:ext uri="{FF2B5EF4-FFF2-40B4-BE49-F238E27FC236}">
                        <a16:creationId xmlns:a16="http://schemas.microsoft.com/office/drawing/2014/main" id="{3B9E2501-3BE9-1EF9-56FC-47DD4F9750BD}"/>
                      </a:ext>
                    </a:extLst>
                  </p:cNvPr>
                  <p:cNvSpPr/>
                  <p:nvPr/>
                </p:nvSpPr>
                <p:spPr>
                  <a:xfrm>
                    <a:off x="8165667" y="4455800"/>
                    <a:ext cx="1349601"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Light"/>
                        <a:ea typeface="+mn-ea"/>
                        <a:cs typeface="+mn-cs"/>
                      </a:rPr>
                      <a:t>Images</a:t>
                    </a:r>
                  </a:p>
                </p:txBody>
              </p:sp>
              <p:sp>
                <p:nvSpPr>
                  <p:cNvPr id="98" name="Rounded Rectangle 10">
                    <a:extLst>
                      <a:ext uri="{FF2B5EF4-FFF2-40B4-BE49-F238E27FC236}">
                        <a16:creationId xmlns:a16="http://schemas.microsoft.com/office/drawing/2014/main" id="{63A2C139-B7BF-D38F-A5FF-DF97505A3261}"/>
                      </a:ext>
                    </a:extLst>
                  </p:cNvPr>
                  <p:cNvSpPr/>
                  <p:nvPr/>
                </p:nvSpPr>
                <p:spPr>
                  <a:xfrm>
                    <a:off x="8165667" y="5196994"/>
                    <a:ext cx="1349601"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Light"/>
                        <a:ea typeface="+mn-ea"/>
                        <a:cs typeface="+mn-cs"/>
                      </a:rPr>
                      <a:t>Audio</a:t>
                    </a:r>
                  </a:p>
                </p:txBody>
              </p:sp>
              <p:sp>
                <p:nvSpPr>
                  <p:cNvPr id="99" name="Rounded Rectangle 11">
                    <a:extLst>
                      <a:ext uri="{FF2B5EF4-FFF2-40B4-BE49-F238E27FC236}">
                        <a16:creationId xmlns:a16="http://schemas.microsoft.com/office/drawing/2014/main" id="{B78C696A-2011-1A74-B9AF-B4AD2F0C6BF2}"/>
                      </a:ext>
                    </a:extLst>
                  </p:cNvPr>
                  <p:cNvSpPr/>
                  <p:nvPr/>
                </p:nvSpPr>
                <p:spPr>
                  <a:xfrm>
                    <a:off x="8165667" y="6012832"/>
                    <a:ext cx="1349601"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Light"/>
                        <a:ea typeface="+mn-ea"/>
                        <a:cs typeface="+mn-cs"/>
                      </a:rPr>
                      <a:t>Tables</a:t>
                    </a:r>
                  </a:p>
                </p:txBody>
              </p:sp>
              <p:sp>
                <p:nvSpPr>
                  <p:cNvPr id="100" name="Rounded Rectangle 12">
                    <a:extLst>
                      <a:ext uri="{FF2B5EF4-FFF2-40B4-BE49-F238E27FC236}">
                        <a16:creationId xmlns:a16="http://schemas.microsoft.com/office/drawing/2014/main" id="{E148E504-1D7F-F33D-A925-0D332701CACC}"/>
                      </a:ext>
                    </a:extLst>
                  </p:cNvPr>
                  <p:cNvSpPr/>
                  <p:nvPr/>
                </p:nvSpPr>
                <p:spPr>
                  <a:xfrm>
                    <a:off x="8165667" y="6766153"/>
                    <a:ext cx="1716158"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0766D1"/>
                        </a:solidFill>
                        <a:effectLst/>
                        <a:uLnTx/>
                        <a:uFillTx/>
                        <a:latin typeface="Anova Light"/>
                        <a:ea typeface="+mn-ea"/>
                        <a:cs typeface="+mn-cs"/>
                      </a:rPr>
                      <a:t>3D signals</a:t>
                    </a:r>
                  </a:p>
                </p:txBody>
              </p:sp>
              <p:grpSp>
                <p:nvGrpSpPr>
                  <p:cNvPr id="101" name="Group 100">
                    <a:extLst>
                      <a:ext uri="{FF2B5EF4-FFF2-40B4-BE49-F238E27FC236}">
                        <a16:creationId xmlns:a16="http://schemas.microsoft.com/office/drawing/2014/main" id="{07CD08BA-010A-BF68-FE36-FEA22E84CBE4}"/>
                      </a:ext>
                    </a:extLst>
                  </p:cNvPr>
                  <p:cNvGrpSpPr/>
                  <p:nvPr/>
                </p:nvGrpSpPr>
                <p:grpSpPr>
                  <a:xfrm>
                    <a:off x="7385561" y="3734484"/>
                    <a:ext cx="718412" cy="3689206"/>
                    <a:chOff x="5182817" y="5829012"/>
                    <a:chExt cx="718412" cy="3689206"/>
                  </a:xfrm>
                </p:grpSpPr>
                <p:sp>
                  <p:nvSpPr>
                    <p:cNvPr id="102" name="Freeform 9">
                      <a:extLst>
                        <a:ext uri="{FF2B5EF4-FFF2-40B4-BE49-F238E27FC236}">
                          <a16:creationId xmlns:a16="http://schemas.microsoft.com/office/drawing/2014/main" id="{802553AB-3834-6548-8724-440F4DB63B65}"/>
                        </a:ext>
                      </a:extLst>
                    </p:cNvPr>
                    <p:cNvSpPr>
                      <a:spLocks noChangeAspect="1" noEditPoints="1"/>
                    </p:cNvSpPr>
                    <p:nvPr/>
                  </p:nvSpPr>
                  <p:spPr bwMode="auto">
                    <a:xfrm>
                      <a:off x="5263682" y="5829012"/>
                      <a:ext cx="556591" cy="556591"/>
                    </a:xfrm>
                    <a:custGeom>
                      <a:avLst/>
                      <a:gdLst>
                        <a:gd name="T0" fmla="*/ 4329 w 4799"/>
                        <a:gd name="T1" fmla="*/ 4240 h 4799"/>
                        <a:gd name="T2" fmla="*/ 600 w 4799"/>
                        <a:gd name="T3" fmla="*/ 4307 h 4799"/>
                        <a:gd name="T4" fmla="*/ 600 w 4799"/>
                        <a:gd name="T5" fmla="*/ 4173 h 4799"/>
                        <a:gd name="T6" fmla="*/ 4329 w 4799"/>
                        <a:gd name="T7" fmla="*/ 4240 h 4799"/>
                        <a:gd name="T8" fmla="*/ 4329 w 4799"/>
                        <a:gd name="T9" fmla="*/ 3740 h 4799"/>
                        <a:gd name="T10" fmla="*/ 4262 w 4799"/>
                        <a:gd name="T11" fmla="*/ 3807 h 4799"/>
                        <a:gd name="T12" fmla="*/ 533 w 4799"/>
                        <a:gd name="T13" fmla="*/ 3740 h 4799"/>
                        <a:gd name="T14" fmla="*/ 4262 w 4799"/>
                        <a:gd name="T15" fmla="*/ 3673 h 4799"/>
                        <a:gd name="T16" fmla="*/ 4329 w 4799"/>
                        <a:gd name="T17" fmla="*/ 3740 h 4799"/>
                        <a:gd name="T18" fmla="*/ 4329 w 4799"/>
                        <a:gd name="T19" fmla="*/ 3241 h 4799"/>
                        <a:gd name="T20" fmla="*/ 600 w 4799"/>
                        <a:gd name="T21" fmla="*/ 3308 h 4799"/>
                        <a:gd name="T22" fmla="*/ 600 w 4799"/>
                        <a:gd name="T23" fmla="*/ 3174 h 4799"/>
                        <a:gd name="T24" fmla="*/ 4329 w 4799"/>
                        <a:gd name="T25" fmla="*/ 3241 h 4799"/>
                        <a:gd name="T26" fmla="*/ 4329 w 4799"/>
                        <a:gd name="T27" fmla="*/ 2742 h 4799"/>
                        <a:gd name="T28" fmla="*/ 4262 w 4799"/>
                        <a:gd name="T29" fmla="*/ 2809 h 4799"/>
                        <a:gd name="T30" fmla="*/ 2587 w 4799"/>
                        <a:gd name="T31" fmla="*/ 2742 h 4799"/>
                        <a:gd name="T32" fmla="*/ 4262 w 4799"/>
                        <a:gd name="T33" fmla="*/ 2675 h 4799"/>
                        <a:gd name="T34" fmla="*/ 4329 w 4799"/>
                        <a:gd name="T35" fmla="*/ 2742 h 4799"/>
                        <a:gd name="T36" fmla="*/ 4329 w 4799"/>
                        <a:gd name="T37" fmla="*/ 2243 h 4799"/>
                        <a:gd name="T38" fmla="*/ 2654 w 4799"/>
                        <a:gd name="T39" fmla="*/ 2310 h 4799"/>
                        <a:gd name="T40" fmla="*/ 2654 w 4799"/>
                        <a:gd name="T41" fmla="*/ 2176 h 4799"/>
                        <a:gd name="T42" fmla="*/ 4329 w 4799"/>
                        <a:gd name="T43" fmla="*/ 2243 h 4799"/>
                        <a:gd name="T44" fmla="*/ 4329 w 4799"/>
                        <a:gd name="T45" fmla="*/ 1744 h 4799"/>
                        <a:gd name="T46" fmla="*/ 4262 w 4799"/>
                        <a:gd name="T47" fmla="*/ 1811 h 4799"/>
                        <a:gd name="T48" fmla="*/ 2587 w 4799"/>
                        <a:gd name="T49" fmla="*/ 1744 h 4799"/>
                        <a:gd name="T50" fmla="*/ 4262 w 4799"/>
                        <a:gd name="T51" fmla="*/ 1677 h 4799"/>
                        <a:gd name="T52" fmla="*/ 4329 w 4799"/>
                        <a:gd name="T53" fmla="*/ 1744 h 4799"/>
                        <a:gd name="T54" fmla="*/ 4329 w 4799"/>
                        <a:gd name="T55" fmla="*/ 1244 h 4799"/>
                        <a:gd name="T56" fmla="*/ 2654 w 4799"/>
                        <a:gd name="T57" fmla="*/ 1311 h 4799"/>
                        <a:gd name="T58" fmla="*/ 2654 w 4799"/>
                        <a:gd name="T59" fmla="*/ 1177 h 4799"/>
                        <a:gd name="T60" fmla="*/ 4329 w 4799"/>
                        <a:gd name="T61" fmla="*/ 1244 h 4799"/>
                        <a:gd name="T62" fmla="*/ 4329 w 4799"/>
                        <a:gd name="T63" fmla="*/ 745 h 4799"/>
                        <a:gd name="T64" fmla="*/ 4262 w 4799"/>
                        <a:gd name="T65" fmla="*/ 812 h 4799"/>
                        <a:gd name="T66" fmla="*/ 2587 w 4799"/>
                        <a:gd name="T67" fmla="*/ 745 h 4799"/>
                        <a:gd name="T68" fmla="*/ 4262 w 4799"/>
                        <a:gd name="T69" fmla="*/ 678 h 4799"/>
                        <a:gd name="T70" fmla="*/ 4329 w 4799"/>
                        <a:gd name="T71" fmla="*/ 745 h 4799"/>
                        <a:gd name="T72" fmla="*/ 1278 w 4799"/>
                        <a:gd name="T73" fmla="*/ 839 h 4799"/>
                        <a:gd name="T74" fmla="*/ 582 w 4799"/>
                        <a:gd name="T75" fmla="*/ 651 h 4799"/>
                        <a:gd name="T76" fmla="*/ 2185 w 4799"/>
                        <a:gd name="T77" fmla="*/ 839 h 4799"/>
                        <a:gd name="T78" fmla="*/ 1489 w 4799"/>
                        <a:gd name="T79" fmla="*/ 2730 h 4799"/>
                        <a:gd name="T80" fmla="*/ 1278 w 4799"/>
                        <a:gd name="T81" fmla="*/ 839 h 4799"/>
                        <a:gd name="T82" fmla="*/ 4665 w 4799"/>
                        <a:gd name="T83" fmla="*/ 4458 h 4799"/>
                        <a:gd name="T84" fmla="*/ 4459 w 4799"/>
                        <a:gd name="T85" fmla="*/ 4664 h 4799"/>
                        <a:gd name="T86" fmla="*/ 134 w 4799"/>
                        <a:gd name="T87" fmla="*/ 4458 h 4799"/>
                        <a:gd name="T88" fmla="*/ 340 w 4799"/>
                        <a:gd name="T89" fmla="*/ 133 h 4799"/>
                        <a:gd name="T90" fmla="*/ 4665 w 4799"/>
                        <a:gd name="T91" fmla="*/ 339 h 4799"/>
                        <a:gd name="T92" fmla="*/ 4665 w 4799"/>
                        <a:gd name="T93" fmla="*/ 4458 h 4799"/>
                        <a:gd name="T94" fmla="*/ 4459 w 4799"/>
                        <a:gd name="T95" fmla="*/ 0 h 4799"/>
                        <a:gd name="T96" fmla="*/ 0 w 4799"/>
                        <a:gd name="T97" fmla="*/ 339 h 4799"/>
                        <a:gd name="T98" fmla="*/ 340 w 4799"/>
                        <a:gd name="T99" fmla="*/ 4799 h 4799"/>
                        <a:gd name="T100" fmla="*/ 4799 w 4799"/>
                        <a:gd name="T101" fmla="*/ 4458 h 4799"/>
                        <a:gd name="T102" fmla="*/ 4459 w 4799"/>
                        <a:gd name="T103" fmla="*/ 0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99" h="4799">
                          <a:moveTo>
                            <a:pt x="4329" y="4240"/>
                          </a:moveTo>
                          <a:lnTo>
                            <a:pt x="4329" y="4240"/>
                          </a:lnTo>
                          <a:cubicBezTo>
                            <a:pt x="4329" y="4277"/>
                            <a:pt x="4299" y="4307"/>
                            <a:pt x="4262" y="4307"/>
                          </a:cubicBezTo>
                          <a:lnTo>
                            <a:pt x="600" y="4307"/>
                          </a:lnTo>
                          <a:cubicBezTo>
                            <a:pt x="563" y="4307"/>
                            <a:pt x="533" y="4277"/>
                            <a:pt x="533" y="4240"/>
                          </a:cubicBezTo>
                          <a:cubicBezTo>
                            <a:pt x="533" y="4203"/>
                            <a:pt x="563" y="4173"/>
                            <a:pt x="600" y="4173"/>
                          </a:cubicBezTo>
                          <a:lnTo>
                            <a:pt x="4262" y="4173"/>
                          </a:lnTo>
                          <a:cubicBezTo>
                            <a:pt x="4299" y="4173"/>
                            <a:pt x="4329" y="4203"/>
                            <a:pt x="4329" y="4240"/>
                          </a:cubicBezTo>
                          <a:lnTo>
                            <a:pt x="4329" y="4240"/>
                          </a:lnTo>
                          <a:close/>
                          <a:moveTo>
                            <a:pt x="4329" y="3740"/>
                          </a:moveTo>
                          <a:lnTo>
                            <a:pt x="4329" y="3740"/>
                          </a:lnTo>
                          <a:cubicBezTo>
                            <a:pt x="4329" y="3778"/>
                            <a:pt x="4299" y="3807"/>
                            <a:pt x="4262" y="3807"/>
                          </a:cubicBezTo>
                          <a:lnTo>
                            <a:pt x="600" y="3807"/>
                          </a:lnTo>
                          <a:cubicBezTo>
                            <a:pt x="563" y="3807"/>
                            <a:pt x="533" y="3778"/>
                            <a:pt x="533" y="3740"/>
                          </a:cubicBezTo>
                          <a:cubicBezTo>
                            <a:pt x="533" y="3703"/>
                            <a:pt x="563" y="3673"/>
                            <a:pt x="600" y="3673"/>
                          </a:cubicBezTo>
                          <a:lnTo>
                            <a:pt x="4262" y="3673"/>
                          </a:lnTo>
                          <a:cubicBezTo>
                            <a:pt x="4299" y="3673"/>
                            <a:pt x="4329" y="3703"/>
                            <a:pt x="4329" y="3740"/>
                          </a:cubicBezTo>
                          <a:lnTo>
                            <a:pt x="4329" y="3740"/>
                          </a:lnTo>
                          <a:close/>
                          <a:moveTo>
                            <a:pt x="4329" y="3241"/>
                          </a:moveTo>
                          <a:lnTo>
                            <a:pt x="4329" y="3241"/>
                          </a:lnTo>
                          <a:cubicBezTo>
                            <a:pt x="4329" y="3278"/>
                            <a:pt x="4299" y="3308"/>
                            <a:pt x="4262" y="3308"/>
                          </a:cubicBezTo>
                          <a:lnTo>
                            <a:pt x="600" y="3308"/>
                          </a:lnTo>
                          <a:cubicBezTo>
                            <a:pt x="563" y="3308"/>
                            <a:pt x="533" y="3278"/>
                            <a:pt x="533" y="3241"/>
                          </a:cubicBezTo>
                          <a:cubicBezTo>
                            <a:pt x="533" y="3204"/>
                            <a:pt x="563" y="3174"/>
                            <a:pt x="600" y="3174"/>
                          </a:cubicBezTo>
                          <a:lnTo>
                            <a:pt x="4262" y="3174"/>
                          </a:lnTo>
                          <a:cubicBezTo>
                            <a:pt x="4299" y="3174"/>
                            <a:pt x="4329" y="3204"/>
                            <a:pt x="4329" y="3241"/>
                          </a:cubicBezTo>
                          <a:lnTo>
                            <a:pt x="4329" y="3241"/>
                          </a:lnTo>
                          <a:close/>
                          <a:moveTo>
                            <a:pt x="4329" y="2742"/>
                          </a:moveTo>
                          <a:lnTo>
                            <a:pt x="4329" y="2742"/>
                          </a:lnTo>
                          <a:cubicBezTo>
                            <a:pt x="4329" y="2779"/>
                            <a:pt x="4299" y="2809"/>
                            <a:pt x="4262" y="2809"/>
                          </a:cubicBezTo>
                          <a:lnTo>
                            <a:pt x="2654" y="2809"/>
                          </a:lnTo>
                          <a:cubicBezTo>
                            <a:pt x="2617" y="2809"/>
                            <a:pt x="2587" y="2779"/>
                            <a:pt x="2587" y="2742"/>
                          </a:cubicBezTo>
                          <a:cubicBezTo>
                            <a:pt x="2587" y="2705"/>
                            <a:pt x="2617" y="2675"/>
                            <a:pt x="2654" y="2675"/>
                          </a:cubicBezTo>
                          <a:lnTo>
                            <a:pt x="4262" y="2675"/>
                          </a:lnTo>
                          <a:cubicBezTo>
                            <a:pt x="4299" y="2675"/>
                            <a:pt x="4329" y="2705"/>
                            <a:pt x="4329" y="2742"/>
                          </a:cubicBezTo>
                          <a:lnTo>
                            <a:pt x="4329" y="2742"/>
                          </a:lnTo>
                          <a:close/>
                          <a:moveTo>
                            <a:pt x="4329" y="2243"/>
                          </a:moveTo>
                          <a:lnTo>
                            <a:pt x="4329" y="2243"/>
                          </a:lnTo>
                          <a:cubicBezTo>
                            <a:pt x="4329" y="2280"/>
                            <a:pt x="4299" y="2310"/>
                            <a:pt x="4262" y="2310"/>
                          </a:cubicBezTo>
                          <a:lnTo>
                            <a:pt x="2654" y="2310"/>
                          </a:lnTo>
                          <a:cubicBezTo>
                            <a:pt x="2617" y="2310"/>
                            <a:pt x="2587" y="2280"/>
                            <a:pt x="2587" y="2243"/>
                          </a:cubicBezTo>
                          <a:cubicBezTo>
                            <a:pt x="2587" y="2206"/>
                            <a:pt x="2617" y="2176"/>
                            <a:pt x="2654" y="2176"/>
                          </a:cubicBezTo>
                          <a:lnTo>
                            <a:pt x="4262" y="2176"/>
                          </a:lnTo>
                          <a:cubicBezTo>
                            <a:pt x="4299" y="2176"/>
                            <a:pt x="4329" y="2206"/>
                            <a:pt x="4329" y="2243"/>
                          </a:cubicBezTo>
                          <a:lnTo>
                            <a:pt x="4329" y="2243"/>
                          </a:lnTo>
                          <a:close/>
                          <a:moveTo>
                            <a:pt x="4329" y="1744"/>
                          </a:moveTo>
                          <a:lnTo>
                            <a:pt x="4329" y="1744"/>
                          </a:lnTo>
                          <a:cubicBezTo>
                            <a:pt x="4329" y="1781"/>
                            <a:pt x="4299" y="1811"/>
                            <a:pt x="4262" y="1811"/>
                          </a:cubicBezTo>
                          <a:lnTo>
                            <a:pt x="2654" y="1811"/>
                          </a:lnTo>
                          <a:cubicBezTo>
                            <a:pt x="2617" y="1811"/>
                            <a:pt x="2587" y="1781"/>
                            <a:pt x="2587" y="1744"/>
                          </a:cubicBezTo>
                          <a:cubicBezTo>
                            <a:pt x="2587" y="1707"/>
                            <a:pt x="2617" y="1677"/>
                            <a:pt x="2654" y="1677"/>
                          </a:cubicBezTo>
                          <a:lnTo>
                            <a:pt x="4262" y="1677"/>
                          </a:lnTo>
                          <a:cubicBezTo>
                            <a:pt x="4299" y="1677"/>
                            <a:pt x="4329" y="1707"/>
                            <a:pt x="4329" y="1744"/>
                          </a:cubicBezTo>
                          <a:lnTo>
                            <a:pt x="4329" y="1744"/>
                          </a:lnTo>
                          <a:close/>
                          <a:moveTo>
                            <a:pt x="4329" y="1244"/>
                          </a:moveTo>
                          <a:lnTo>
                            <a:pt x="4329" y="1244"/>
                          </a:lnTo>
                          <a:cubicBezTo>
                            <a:pt x="4329" y="1281"/>
                            <a:pt x="4299" y="1311"/>
                            <a:pt x="4262" y="1311"/>
                          </a:cubicBezTo>
                          <a:lnTo>
                            <a:pt x="2654" y="1311"/>
                          </a:lnTo>
                          <a:cubicBezTo>
                            <a:pt x="2617" y="1311"/>
                            <a:pt x="2587" y="1281"/>
                            <a:pt x="2587" y="1244"/>
                          </a:cubicBezTo>
                          <a:cubicBezTo>
                            <a:pt x="2587" y="1207"/>
                            <a:pt x="2617" y="1177"/>
                            <a:pt x="2654" y="1177"/>
                          </a:cubicBezTo>
                          <a:lnTo>
                            <a:pt x="4262" y="1177"/>
                          </a:lnTo>
                          <a:cubicBezTo>
                            <a:pt x="4299" y="1177"/>
                            <a:pt x="4329" y="1207"/>
                            <a:pt x="4329" y="1244"/>
                          </a:cubicBezTo>
                          <a:lnTo>
                            <a:pt x="4329" y="1244"/>
                          </a:lnTo>
                          <a:close/>
                          <a:moveTo>
                            <a:pt x="4329" y="745"/>
                          </a:moveTo>
                          <a:lnTo>
                            <a:pt x="4329" y="745"/>
                          </a:lnTo>
                          <a:cubicBezTo>
                            <a:pt x="4329" y="782"/>
                            <a:pt x="4299" y="812"/>
                            <a:pt x="4262" y="812"/>
                          </a:cubicBezTo>
                          <a:lnTo>
                            <a:pt x="2654" y="812"/>
                          </a:lnTo>
                          <a:cubicBezTo>
                            <a:pt x="2617" y="812"/>
                            <a:pt x="2587" y="782"/>
                            <a:pt x="2587" y="745"/>
                          </a:cubicBezTo>
                          <a:cubicBezTo>
                            <a:pt x="2587" y="708"/>
                            <a:pt x="2617" y="678"/>
                            <a:pt x="2654" y="678"/>
                          </a:cubicBezTo>
                          <a:lnTo>
                            <a:pt x="4262" y="678"/>
                          </a:lnTo>
                          <a:cubicBezTo>
                            <a:pt x="4299" y="678"/>
                            <a:pt x="4329" y="708"/>
                            <a:pt x="4329" y="745"/>
                          </a:cubicBezTo>
                          <a:lnTo>
                            <a:pt x="4329" y="745"/>
                          </a:lnTo>
                          <a:close/>
                          <a:moveTo>
                            <a:pt x="1278" y="839"/>
                          </a:moveTo>
                          <a:lnTo>
                            <a:pt x="1278" y="839"/>
                          </a:lnTo>
                          <a:lnTo>
                            <a:pt x="582" y="839"/>
                          </a:lnTo>
                          <a:lnTo>
                            <a:pt x="582" y="651"/>
                          </a:lnTo>
                          <a:lnTo>
                            <a:pt x="2185" y="651"/>
                          </a:lnTo>
                          <a:lnTo>
                            <a:pt x="2185" y="839"/>
                          </a:lnTo>
                          <a:lnTo>
                            <a:pt x="1489" y="839"/>
                          </a:lnTo>
                          <a:lnTo>
                            <a:pt x="1489" y="2730"/>
                          </a:lnTo>
                          <a:lnTo>
                            <a:pt x="1278" y="2730"/>
                          </a:lnTo>
                          <a:lnTo>
                            <a:pt x="1278" y="839"/>
                          </a:lnTo>
                          <a:lnTo>
                            <a:pt x="1278" y="839"/>
                          </a:lnTo>
                          <a:close/>
                          <a:moveTo>
                            <a:pt x="4665" y="4458"/>
                          </a:moveTo>
                          <a:lnTo>
                            <a:pt x="4665" y="4458"/>
                          </a:lnTo>
                          <a:cubicBezTo>
                            <a:pt x="4665" y="4572"/>
                            <a:pt x="4573" y="4664"/>
                            <a:pt x="4459" y="4664"/>
                          </a:cubicBezTo>
                          <a:lnTo>
                            <a:pt x="340" y="4664"/>
                          </a:lnTo>
                          <a:cubicBezTo>
                            <a:pt x="226" y="4664"/>
                            <a:pt x="134" y="4572"/>
                            <a:pt x="134" y="4458"/>
                          </a:cubicBezTo>
                          <a:lnTo>
                            <a:pt x="134" y="339"/>
                          </a:lnTo>
                          <a:cubicBezTo>
                            <a:pt x="134" y="225"/>
                            <a:pt x="226" y="133"/>
                            <a:pt x="340" y="133"/>
                          </a:cubicBezTo>
                          <a:lnTo>
                            <a:pt x="4459" y="133"/>
                          </a:lnTo>
                          <a:cubicBezTo>
                            <a:pt x="4573" y="133"/>
                            <a:pt x="4665" y="225"/>
                            <a:pt x="4665" y="339"/>
                          </a:cubicBezTo>
                          <a:lnTo>
                            <a:pt x="4665" y="4458"/>
                          </a:lnTo>
                          <a:lnTo>
                            <a:pt x="4665" y="4458"/>
                          </a:lnTo>
                          <a:close/>
                          <a:moveTo>
                            <a:pt x="4459" y="0"/>
                          </a:moveTo>
                          <a:lnTo>
                            <a:pt x="4459" y="0"/>
                          </a:lnTo>
                          <a:lnTo>
                            <a:pt x="340" y="0"/>
                          </a:lnTo>
                          <a:cubicBezTo>
                            <a:pt x="152" y="0"/>
                            <a:pt x="0" y="151"/>
                            <a:pt x="0" y="339"/>
                          </a:cubicBezTo>
                          <a:lnTo>
                            <a:pt x="0" y="4458"/>
                          </a:lnTo>
                          <a:cubicBezTo>
                            <a:pt x="0" y="4646"/>
                            <a:pt x="152" y="4799"/>
                            <a:pt x="340" y="4799"/>
                          </a:cubicBezTo>
                          <a:lnTo>
                            <a:pt x="4459" y="4799"/>
                          </a:lnTo>
                          <a:cubicBezTo>
                            <a:pt x="4647" y="4799"/>
                            <a:pt x="4799" y="4646"/>
                            <a:pt x="4799" y="4458"/>
                          </a:cubicBezTo>
                          <a:lnTo>
                            <a:pt x="4799" y="339"/>
                          </a:lnTo>
                          <a:cubicBezTo>
                            <a:pt x="4799" y="151"/>
                            <a:pt x="4647" y="0"/>
                            <a:pt x="4459"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03" name="Freeform 15">
                      <a:extLst>
                        <a:ext uri="{FF2B5EF4-FFF2-40B4-BE49-F238E27FC236}">
                          <a16:creationId xmlns:a16="http://schemas.microsoft.com/office/drawing/2014/main" id="{5F9680A9-C8BB-079F-50E8-EE6570F01351}"/>
                        </a:ext>
                      </a:extLst>
                    </p:cNvPr>
                    <p:cNvSpPr>
                      <a:spLocks noChangeAspect="1" noEditPoints="1"/>
                    </p:cNvSpPr>
                    <p:nvPr/>
                  </p:nvSpPr>
                  <p:spPr bwMode="auto">
                    <a:xfrm>
                      <a:off x="5256960" y="6538341"/>
                      <a:ext cx="570034" cy="564164"/>
                    </a:xfrm>
                    <a:custGeom>
                      <a:avLst/>
                      <a:gdLst>
                        <a:gd name="T0" fmla="*/ 1400 w 4799"/>
                        <a:gd name="T1" fmla="*/ 1117 h 4754"/>
                        <a:gd name="T2" fmla="*/ 1400 w 4799"/>
                        <a:gd name="T3" fmla="*/ 1117 h 4754"/>
                        <a:gd name="T4" fmla="*/ 1894 w 4799"/>
                        <a:gd name="T5" fmla="*/ 1611 h 4754"/>
                        <a:gd name="T6" fmla="*/ 1400 w 4799"/>
                        <a:gd name="T7" fmla="*/ 2105 h 4754"/>
                        <a:gd name="T8" fmla="*/ 906 w 4799"/>
                        <a:gd name="T9" fmla="*/ 1611 h 4754"/>
                        <a:gd name="T10" fmla="*/ 1400 w 4799"/>
                        <a:gd name="T11" fmla="*/ 1117 h 4754"/>
                        <a:gd name="T12" fmla="*/ 1400 w 4799"/>
                        <a:gd name="T13" fmla="*/ 1117 h 4754"/>
                        <a:gd name="T14" fmla="*/ 1400 w 4799"/>
                        <a:gd name="T15" fmla="*/ 2240 h 4754"/>
                        <a:gd name="T16" fmla="*/ 1400 w 4799"/>
                        <a:gd name="T17" fmla="*/ 2240 h 4754"/>
                        <a:gd name="T18" fmla="*/ 2029 w 4799"/>
                        <a:gd name="T19" fmla="*/ 1611 h 4754"/>
                        <a:gd name="T20" fmla="*/ 1400 w 4799"/>
                        <a:gd name="T21" fmla="*/ 982 h 4754"/>
                        <a:gd name="T22" fmla="*/ 771 w 4799"/>
                        <a:gd name="T23" fmla="*/ 1611 h 4754"/>
                        <a:gd name="T24" fmla="*/ 1400 w 4799"/>
                        <a:gd name="T25" fmla="*/ 2240 h 4754"/>
                        <a:gd name="T26" fmla="*/ 1400 w 4799"/>
                        <a:gd name="T27" fmla="*/ 2240 h 4754"/>
                        <a:gd name="T28" fmla="*/ 607 w 4799"/>
                        <a:gd name="T29" fmla="*/ 3858 h 4754"/>
                        <a:gd name="T30" fmla="*/ 607 w 4799"/>
                        <a:gd name="T31" fmla="*/ 3858 h 4754"/>
                        <a:gd name="T32" fmla="*/ 1432 w 4799"/>
                        <a:gd name="T33" fmla="*/ 2686 h 4754"/>
                        <a:gd name="T34" fmla="*/ 2258 w 4799"/>
                        <a:gd name="T35" fmla="*/ 3586 h 4754"/>
                        <a:gd name="T36" fmla="*/ 2319 w 4799"/>
                        <a:gd name="T37" fmla="*/ 3607 h 4754"/>
                        <a:gd name="T38" fmla="*/ 2370 w 4799"/>
                        <a:gd name="T39" fmla="*/ 3567 h 4754"/>
                        <a:gd name="T40" fmla="*/ 3221 w 4799"/>
                        <a:gd name="T41" fmla="*/ 1570 h 4754"/>
                        <a:gd name="T42" fmla="*/ 4185 w 4799"/>
                        <a:gd name="T43" fmla="*/ 3858 h 4754"/>
                        <a:gd name="T44" fmla="*/ 607 w 4799"/>
                        <a:gd name="T45" fmla="*/ 3858 h 4754"/>
                        <a:gd name="T46" fmla="*/ 607 w 4799"/>
                        <a:gd name="T47" fmla="*/ 3858 h 4754"/>
                        <a:gd name="T48" fmla="*/ 3284 w 4799"/>
                        <a:gd name="T49" fmla="*/ 1371 h 4754"/>
                        <a:gd name="T50" fmla="*/ 3284 w 4799"/>
                        <a:gd name="T51" fmla="*/ 1371 h 4754"/>
                        <a:gd name="T52" fmla="*/ 3222 w 4799"/>
                        <a:gd name="T53" fmla="*/ 1330 h 4754"/>
                        <a:gd name="T54" fmla="*/ 3222 w 4799"/>
                        <a:gd name="T55" fmla="*/ 1330 h 4754"/>
                        <a:gd name="T56" fmla="*/ 3160 w 4799"/>
                        <a:gd name="T57" fmla="*/ 1371 h 4754"/>
                        <a:gd name="T58" fmla="*/ 2287 w 4799"/>
                        <a:gd name="T59" fmla="*/ 3418 h 4754"/>
                        <a:gd name="T60" fmla="*/ 1475 w 4799"/>
                        <a:gd name="T61" fmla="*/ 2533 h 4754"/>
                        <a:gd name="T62" fmla="*/ 1421 w 4799"/>
                        <a:gd name="T63" fmla="*/ 2512 h 4754"/>
                        <a:gd name="T64" fmla="*/ 1370 w 4799"/>
                        <a:gd name="T65" fmla="*/ 2540 h 4754"/>
                        <a:gd name="T66" fmla="*/ 438 w 4799"/>
                        <a:gd name="T67" fmla="*/ 3865 h 4754"/>
                        <a:gd name="T68" fmla="*/ 399 w 4799"/>
                        <a:gd name="T69" fmla="*/ 3926 h 4754"/>
                        <a:gd name="T70" fmla="*/ 467 w 4799"/>
                        <a:gd name="T71" fmla="*/ 3993 h 4754"/>
                        <a:gd name="T72" fmla="*/ 4286 w 4799"/>
                        <a:gd name="T73" fmla="*/ 3993 h 4754"/>
                        <a:gd name="T74" fmla="*/ 4343 w 4799"/>
                        <a:gd name="T75" fmla="*/ 3963 h 4754"/>
                        <a:gd name="T76" fmla="*/ 4349 w 4799"/>
                        <a:gd name="T77" fmla="*/ 3899 h 4754"/>
                        <a:gd name="T78" fmla="*/ 3284 w 4799"/>
                        <a:gd name="T79" fmla="*/ 1371 h 4754"/>
                        <a:gd name="T80" fmla="*/ 3284 w 4799"/>
                        <a:gd name="T81" fmla="*/ 1371 h 4754"/>
                        <a:gd name="T82" fmla="*/ 4665 w 4799"/>
                        <a:gd name="T83" fmla="*/ 4412 h 4754"/>
                        <a:gd name="T84" fmla="*/ 4665 w 4799"/>
                        <a:gd name="T85" fmla="*/ 4412 h 4754"/>
                        <a:gd name="T86" fmla="*/ 4458 w 4799"/>
                        <a:gd name="T87" fmla="*/ 4619 h 4754"/>
                        <a:gd name="T88" fmla="*/ 341 w 4799"/>
                        <a:gd name="T89" fmla="*/ 4619 h 4754"/>
                        <a:gd name="T90" fmla="*/ 134 w 4799"/>
                        <a:gd name="T91" fmla="*/ 4412 h 4754"/>
                        <a:gd name="T92" fmla="*/ 134 w 4799"/>
                        <a:gd name="T93" fmla="*/ 341 h 4754"/>
                        <a:gd name="T94" fmla="*/ 341 w 4799"/>
                        <a:gd name="T95" fmla="*/ 134 h 4754"/>
                        <a:gd name="T96" fmla="*/ 4458 w 4799"/>
                        <a:gd name="T97" fmla="*/ 134 h 4754"/>
                        <a:gd name="T98" fmla="*/ 4665 w 4799"/>
                        <a:gd name="T99" fmla="*/ 341 h 4754"/>
                        <a:gd name="T100" fmla="*/ 4665 w 4799"/>
                        <a:gd name="T101" fmla="*/ 4412 h 4754"/>
                        <a:gd name="T102" fmla="*/ 4665 w 4799"/>
                        <a:gd name="T103" fmla="*/ 4412 h 4754"/>
                        <a:gd name="T104" fmla="*/ 4458 w 4799"/>
                        <a:gd name="T105" fmla="*/ 0 h 4754"/>
                        <a:gd name="T106" fmla="*/ 4458 w 4799"/>
                        <a:gd name="T107" fmla="*/ 0 h 4754"/>
                        <a:gd name="T108" fmla="*/ 341 w 4799"/>
                        <a:gd name="T109" fmla="*/ 0 h 4754"/>
                        <a:gd name="T110" fmla="*/ 0 w 4799"/>
                        <a:gd name="T111" fmla="*/ 341 h 4754"/>
                        <a:gd name="T112" fmla="*/ 0 w 4799"/>
                        <a:gd name="T113" fmla="*/ 4412 h 4754"/>
                        <a:gd name="T114" fmla="*/ 341 w 4799"/>
                        <a:gd name="T115" fmla="*/ 4754 h 4754"/>
                        <a:gd name="T116" fmla="*/ 4458 w 4799"/>
                        <a:gd name="T117" fmla="*/ 4754 h 4754"/>
                        <a:gd name="T118" fmla="*/ 4799 w 4799"/>
                        <a:gd name="T119" fmla="*/ 4412 h 4754"/>
                        <a:gd name="T120" fmla="*/ 4799 w 4799"/>
                        <a:gd name="T121" fmla="*/ 341 h 4754"/>
                        <a:gd name="T122" fmla="*/ 4458 w 4799"/>
                        <a:gd name="T123" fmla="*/ 0 h 4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99" h="4754">
                          <a:moveTo>
                            <a:pt x="1400" y="1117"/>
                          </a:moveTo>
                          <a:lnTo>
                            <a:pt x="1400" y="1117"/>
                          </a:lnTo>
                          <a:cubicBezTo>
                            <a:pt x="1673" y="1117"/>
                            <a:pt x="1894" y="1338"/>
                            <a:pt x="1894" y="1611"/>
                          </a:cubicBezTo>
                          <a:cubicBezTo>
                            <a:pt x="1894" y="1883"/>
                            <a:pt x="1673" y="2105"/>
                            <a:pt x="1400" y="2105"/>
                          </a:cubicBezTo>
                          <a:cubicBezTo>
                            <a:pt x="1128" y="2105"/>
                            <a:pt x="906" y="1883"/>
                            <a:pt x="906" y="1611"/>
                          </a:cubicBezTo>
                          <a:cubicBezTo>
                            <a:pt x="906" y="1338"/>
                            <a:pt x="1128" y="1117"/>
                            <a:pt x="1400" y="1117"/>
                          </a:cubicBezTo>
                          <a:lnTo>
                            <a:pt x="1400" y="1117"/>
                          </a:lnTo>
                          <a:close/>
                          <a:moveTo>
                            <a:pt x="1400" y="2240"/>
                          </a:moveTo>
                          <a:lnTo>
                            <a:pt x="1400" y="2240"/>
                          </a:lnTo>
                          <a:cubicBezTo>
                            <a:pt x="1747" y="2240"/>
                            <a:pt x="2029" y="1958"/>
                            <a:pt x="2029" y="1611"/>
                          </a:cubicBezTo>
                          <a:cubicBezTo>
                            <a:pt x="2029" y="1264"/>
                            <a:pt x="1747" y="982"/>
                            <a:pt x="1400" y="982"/>
                          </a:cubicBezTo>
                          <a:cubicBezTo>
                            <a:pt x="1054" y="982"/>
                            <a:pt x="771" y="1264"/>
                            <a:pt x="771" y="1611"/>
                          </a:cubicBezTo>
                          <a:cubicBezTo>
                            <a:pt x="771" y="1958"/>
                            <a:pt x="1054" y="2240"/>
                            <a:pt x="1400" y="2240"/>
                          </a:cubicBezTo>
                          <a:lnTo>
                            <a:pt x="1400" y="2240"/>
                          </a:lnTo>
                          <a:close/>
                          <a:moveTo>
                            <a:pt x="607" y="3858"/>
                          </a:moveTo>
                          <a:lnTo>
                            <a:pt x="607" y="3858"/>
                          </a:lnTo>
                          <a:lnTo>
                            <a:pt x="1432" y="2686"/>
                          </a:lnTo>
                          <a:lnTo>
                            <a:pt x="2258" y="3586"/>
                          </a:lnTo>
                          <a:cubicBezTo>
                            <a:pt x="2273" y="3603"/>
                            <a:pt x="2296" y="3611"/>
                            <a:pt x="2319" y="3607"/>
                          </a:cubicBezTo>
                          <a:cubicBezTo>
                            <a:pt x="2342" y="3603"/>
                            <a:pt x="2361" y="3588"/>
                            <a:pt x="2370" y="3567"/>
                          </a:cubicBezTo>
                          <a:lnTo>
                            <a:pt x="3221" y="1570"/>
                          </a:lnTo>
                          <a:lnTo>
                            <a:pt x="4185" y="3858"/>
                          </a:lnTo>
                          <a:lnTo>
                            <a:pt x="607" y="3858"/>
                          </a:lnTo>
                          <a:lnTo>
                            <a:pt x="607" y="3858"/>
                          </a:lnTo>
                          <a:close/>
                          <a:moveTo>
                            <a:pt x="3284" y="1371"/>
                          </a:moveTo>
                          <a:lnTo>
                            <a:pt x="3284" y="1371"/>
                          </a:lnTo>
                          <a:cubicBezTo>
                            <a:pt x="3273" y="1346"/>
                            <a:pt x="3249" y="1330"/>
                            <a:pt x="3222" y="1330"/>
                          </a:cubicBezTo>
                          <a:lnTo>
                            <a:pt x="3222" y="1330"/>
                          </a:lnTo>
                          <a:cubicBezTo>
                            <a:pt x="3195" y="1330"/>
                            <a:pt x="3170" y="1346"/>
                            <a:pt x="3160" y="1371"/>
                          </a:cubicBezTo>
                          <a:lnTo>
                            <a:pt x="2287" y="3418"/>
                          </a:lnTo>
                          <a:lnTo>
                            <a:pt x="1475" y="2533"/>
                          </a:lnTo>
                          <a:cubicBezTo>
                            <a:pt x="1461" y="2518"/>
                            <a:pt x="1441" y="2511"/>
                            <a:pt x="1421" y="2512"/>
                          </a:cubicBezTo>
                          <a:cubicBezTo>
                            <a:pt x="1400" y="2513"/>
                            <a:pt x="1382" y="2523"/>
                            <a:pt x="1370" y="2540"/>
                          </a:cubicBezTo>
                          <a:lnTo>
                            <a:pt x="438" y="3865"/>
                          </a:lnTo>
                          <a:cubicBezTo>
                            <a:pt x="415" y="3875"/>
                            <a:pt x="399" y="3899"/>
                            <a:pt x="399" y="3926"/>
                          </a:cubicBezTo>
                          <a:cubicBezTo>
                            <a:pt x="399" y="3963"/>
                            <a:pt x="429" y="3993"/>
                            <a:pt x="467" y="3993"/>
                          </a:cubicBezTo>
                          <a:lnTo>
                            <a:pt x="4286" y="3993"/>
                          </a:lnTo>
                          <a:cubicBezTo>
                            <a:pt x="4309" y="3993"/>
                            <a:pt x="4330" y="3982"/>
                            <a:pt x="4343" y="3963"/>
                          </a:cubicBezTo>
                          <a:cubicBezTo>
                            <a:pt x="4355" y="3944"/>
                            <a:pt x="4357" y="3920"/>
                            <a:pt x="4349" y="3899"/>
                          </a:cubicBezTo>
                          <a:lnTo>
                            <a:pt x="3284" y="1371"/>
                          </a:lnTo>
                          <a:lnTo>
                            <a:pt x="3284" y="1371"/>
                          </a:lnTo>
                          <a:close/>
                          <a:moveTo>
                            <a:pt x="4665" y="4412"/>
                          </a:moveTo>
                          <a:lnTo>
                            <a:pt x="4665" y="4412"/>
                          </a:lnTo>
                          <a:cubicBezTo>
                            <a:pt x="4665" y="4526"/>
                            <a:pt x="4572" y="4619"/>
                            <a:pt x="4458" y="4619"/>
                          </a:cubicBezTo>
                          <a:lnTo>
                            <a:pt x="341" y="4619"/>
                          </a:lnTo>
                          <a:cubicBezTo>
                            <a:pt x="227" y="4619"/>
                            <a:pt x="134" y="4526"/>
                            <a:pt x="134" y="4412"/>
                          </a:cubicBezTo>
                          <a:lnTo>
                            <a:pt x="134" y="341"/>
                          </a:lnTo>
                          <a:cubicBezTo>
                            <a:pt x="134" y="227"/>
                            <a:pt x="227" y="134"/>
                            <a:pt x="341" y="134"/>
                          </a:cubicBezTo>
                          <a:lnTo>
                            <a:pt x="4458" y="134"/>
                          </a:lnTo>
                          <a:cubicBezTo>
                            <a:pt x="4572" y="134"/>
                            <a:pt x="4665" y="227"/>
                            <a:pt x="4665" y="341"/>
                          </a:cubicBezTo>
                          <a:lnTo>
                            <a:pt x="4665" y="4412"/>
                          </a:lnTo>
                          <a:lnTo>
                            <a:pt x="4665" y="4412"/>
                          </a:lnTo>
                          <a:close/>
                          <a:moveTo>
                            <a:pt x="4458" y="0"/>
                          </a:moveTo>
                          <a:lnTo>
                            <a:pt x="4458" y="0"/>
                          </a:lnTo>
                          <a:lnTo>
                            <a:pt x="341" y="0"/>
                          </a:lnTo>
                          <a:cubicBezTo>
                            <a:pt x="153" y="0"/>
                            <a:pt x="0" y="153"/>
                            <a:pt x="0" y="341"/>
                          </a:cubicBezTo>
                          <a:lnTo>
                            <a:pt x="0" y="4412"/>
                          </a:lnTo>
                          <a:cubicBezTo>
                            <a:pt x="0" y="4600"/>
                            <a:pt x="153" y="4754"/>
                            <a:pt x="341" y="4754"/>
                          </a:cubicBezTo>
                          <a:lnTo>
                            <a:pt x="4458" y="4754"/>
                          </a:lnTo>
                          <a:cubicBezTo>
                            <a:pt x="4646" y="4754"/>
                            <a:pt x="4799" y="4600"/>
                            <a:pt x="4799" y="4412"/>
                          </a:cubicBezTo>
                          <a:lnTo>
                            <a:pt x="4799" y="341"/>
                          </a:lnTo>
                          <a:cubicBezTo>
                            <a:pt x="4799" y="153"/>
                            <a:pt x="4646" y="0"/>
                            <a:pt x="4458"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04" name="Freeform 6">
                      <a:extLst>
                        <a:ext uri="{FF2B5EF4-FFF2-40B4-BE49-F238E27FC236}">
                          <a16:creationId xmlns:a16="http://schemas.microsoft.com/office/drawing/2014/main" id="{C7B5F565-0764-99F4-8B37-0F8440BE439F}"/>
                        </a:ext>
                      </a:extLst>
                    </p:cNvPr>
                    <p:cNvSpPr>
                      <a:spLocks noChangeAspect="1" noEditPoints="1"/>
                    </p:cNvSpPr>
                    <p:nvPr/>
                  </p:nvSpPr>
                  <p:spPr bwMode="auto">
                    <a:xfrm>
                      <a:off x="5231252" y="7255243"/>
                      <a:ext cx="621451" cy="691836"/>
                    </a:xfrm>
                    <a:custGeom>
                      <a:avLst/>
                      <a:gdLst>
                        <a:gd name="T0" fmla="*/ 3662 w 5174"/>
                        <a:gd name="T1" fmla="*/ 2091 h 5760"/>
                        <a:gd name="T2" fmla="*/ 3917 w 5174"/>
                        <a:gd name="T3" fmla="*/ 2578 h 5760"/>
                        <a:gd name="T4" fmla="*/ 3941 w 5174"/>
                        <a:gd name="T5" fmla="*/ 3133 h 5760"/>
                        <a:gd name="T6" fmla="*/ 3734 w 5174"/>
                        <a:gd name="T7" fmla="*/ 3636 h 5760"/>
                        <a:gd name="T8" fmla="*/ 3535 w 5174"/>
                        <a:gd name="T9" fmla="*/ 3831 h 5760"/>
                        <a:gd name="T10" fmla="*/ 3456 w 5174"/>
                        <a:gd name="T11" fmla="*/ 3765 h 5760"/>
                        <a:gd name="T12" fmla="*/ 3603 w 5174"/>
                        <a:gd name="T13" fmla="*/ 3545 h 5760"/>
                        <a:gd name="T14" fmla="*/ 3782 w 5174"/>
                        <a:gd name="T15" fmla="*/ 3105 h 5760"/>
                        <a:gd name="T16" fmla="*/ 3761 w 5174"/>
                        <a:gd name="T17" fmla="*/ 2620 h 5760"/>
                        <a:gd name="T18" fmla="*/ 3538 w 5174"/>
                        <a:gd name="T19" fmla="*/ 2194 h 5760"/>
                        <a:gd name="T20" fmla="*/ 3458 w 5174"/>
                        <a:gd name="T21" fmla="*/ 2028 h 5760"/>
                        <a:gd name="T22" fmla="*/ 288 w 5174"/>
                        <a:gd name="T23" fmla="*/ 1662 h 5760"/>
                        <a:gd name="T24" fmla="*/ 166 w 5174"/>
                        <a:gd name="T25" fmla="*/ 1784 h 5760"/>
                        <a:gd name="T26" fmla="*/ 197 w 5174"/>
                        <a:gd name="T27" fmla="*/ 4086 h 5760"/>
                        <a:gd name="T28" fmla="*/ 1334 w 5174"/>
                        <a:gd name="T29" fmla="*/ 4149 h 5760"/>
                        <a:gd name="T30" fmla="*/ 1480 w 5174"/>
                        <a:gd name="T31" fmla="*/ 4056 h 5760"/>
                        <a:gd name="T32" fmla="*/ 1480 w 5174"/>
                        <a:gd name="T33" fmla="*/ 1749 h 5760"/>
                        <a:gd name="T34" fmla="*/ 1334 w 5174"/>
                        <a:gd name="T35" fmla="*/ 1658 h 5760"/>
                        <a:gd name="T36" fmla="*/ 3936 w 5174"/>
                        <a:gd name="T37" fmla="*/ 1330 h 5760"/>
                        <a:gd name="T38" fmla="*/ 4364 w 5174"/>
                        <a:gd name="T39" fmla="*/ 1923 h 5760"/>
                        <a:gd name="T40" fmla="*/ 4573 w 5174"/>
                        <a:gd name="T41" fmla="*/ 2618 h 5760"/>
                        <a:gd name="T42" fmla="*/ 4550 w 5174"/>
                        <a:gd name="T43" fmla="*/ 3350 h 5760"/>
                        <a:gd name="T44" fmla="*/ 4299 w 5174"/>
                        <a:gd name="T45" fmla="*/ 4023 h 5760"/>
                        <a:gd name="T46" fmla="*/ 3931 w 5174"/>
                        <a:gd name="T47" fmla="*/ 4500 h 5760"/>
                        <a:gd name="T48" fmla="*/ 3835 w 5174"/>
                        <a:gd name="T49" fmla="*/ 4488 h 5760"/>
                        <a:gd name="T50" fmla="*/ 3833 w 5174"/>
                        <a:gd name="T51" fmla="*/ 4372 h 5760"/>
                        <a:gd name="T52" fmla="*/ 4222 w 5174"/>
                        <a:gd name="T53" fmla="*/ 3824 h 5760"/>
                        <a:gd name="T54" fmla="*/ 4414 w 5174"/>
                        <a:gd name="T55" fmla="*/ 3185 h 5760"/>
                        <a:gd name="T56" fmla="*/ 4392 w 5174"/>
                        <a:gd name="T57" fmla="*/ 2505 h 5760"/>
                        <a:gd name="T58" fmla="*/ 4156 w 5174"/>
                        <a:gd name="T59" fmla="*/ 1876 h 5760"/>
                        <a:gd name="T60" fmla="*/ 3809 w 5174"/>
                        <a:gd name="T61" fmla="*/ 1423 h 5760"/>
                        <a:gd name="T62" fmla="*/ 3843 w 5174"/>
                        <a:gd name="T63" fmla="*/ 1314 h 5760"/>
                        <a:gd name="T64" fmla="*/ 4341 w 5174"/>
                        <a:gd name="T65" fmla="*/ 904 h 5760"/>
                        <a:gd name="T66" fmla="*/ 4821 w 5174"/>
                        <a:gd name="T67" fmla="*/ 1541 h 5760"/>
                        <a:gd name="T68" fmla="*/ 5102 w 5174"/>
                        <a:gd name="T69" fmla="*/ 2278 h 5760"/>
                        <a:gd name="T70" fmla="*/ 5168 w 5174"/>
                        <a:gd name="T71" fmla="*/ 3075 h 5760"/>
                        <a:gd name="T72" fmla="*/ 5016 w 5174"/>
                        <a:gd name="T73" fmla="*/ 3847 h 5760"/>
                        <a:gd name="T74" fmla="*/ 4660 w 5174"/>
                        <a:gd name="T75" fmla="*/ 4543 h 5760"/>
                        <a:gd name="T76" fmla="*/ 4318 w 5174"/>
                        <a:gd name="T77" fmla="*/ 4933 h 5760"/>
                        <a:gd name="T78" fmla="*/ 4226 w 5174"/>
                        <a:gd name="T79" fmla="*/ 4891 h 5760"/>
                        <a:gd name="T80" fmla="*/ 4351 w 5174"/>
                        <a:gd name="T81" fmla="*/ 4680 h 5760"/>
                        <a:gd name="T82" fmla="*/ 4781 w 5174"/>
                        <a:gd name="T83" fmla="*/ 4006 h 5760"/>
                        <a:gd name="T84" fmla="*/ 4994 w 5174"/>
                        <a:gd name="T85" fmla="*/ 3240 h 5760"/>
                        <a:gd name="T86" fmla="*/ 4975 w 5174"/>
                        <a:gd name="T87" fmla="*/ 2461 h 5760"/>
                        <a:gd name="T88" fmla="*/ 4748 w 5174"/>
                        <a:gd name="T89" fmla="*/ 1752 h 5760"/>
                        <a:gd name="T90" fmla="*/ 4332 w 5174"/>
                        <a:gd name="T91" fmla="*/ 1129 h 5760"/>
                        <a:gd name="T92" fmla="*/ 4212 w 5174"/>
                        <a:gd name="T93" fmla="*/ 925 h 5760"/>
                        <a:gd name="T94" fmla="*/ 1635 w 5174"/>
                        <a:gd name="T95" fmla="*/ 1702 h 5760"/>
                        <a:gd name="T96" fmla="*/ 1655 w 5174"/>
                        <a:gd name="T97" fmla="*/ 4030 h 5760"/>
                        <a:gd name="T98" fmla="*/ 3165 w 5174"/>
                        <a:gd name="T99" fmla="*/ 5 h 5760"/>
                        <a:gd name="T100" fmla="*/ 3213 w 5174"/>
                        <a:gd name="T101" fmla="*/ 5680 h 5760"/>
                        <a:gd name="T102" fmla="*/ 3149 w 5174"/>
                        <a:gd name="T103" fmla="*/ 5758 h 5760"/>
                        <a:gd name="T104" fmla="*/ 1559 w 5174"/>
                        <a:gd name="T105" fmla="*/ 4217 h 5760"/>
                        <a:gd name="T106" fmla="*/ 1334 w 5174"/>
                        <a:gd name="T107" fmla="*/ 4310 h 5760"/>
                        <a:gd name="T108" fmla="*/ 115 w 5174"/>
                        <a:gd name="T109" fmla="*/ 4233 h 5760"/>
                        <a:gd name="T110" fmla="*/ 0 w 5174"/>
                        <a:gd name="T111" fmla="*/ 3985 h 5760"/>
                        <a:gd name="T112" fmla="*/ 77 w 5174"/>
                        <a:gd name="T113" fmla="*/ 1613 h 5760"/>
                        <a:gd name="T114" fmla="*/ 325 w 5174"/>
                        <a:gd name="T115" fmla="*/ 1498 h 5760"/>
                        <a:gd name="T116" fmla="*/ 1538 w 5174"/>
                        <a:gd name="T117" fmla="*/ 1573 h 5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174" h="5760">
                          <a:moveTo>
                            <a:pt x="3517" y="1985"/>
                          </a:moveTo>
                          <a:lnTo>
                            <a:pt x="3542" y="1985"/>
                          </a:lnTo>
                          <a:lnTo>
                            <a:pt x="3564" y="1993"/>
                          </a:lnTo>
                          <a:lnTo>
                            <a:pt x="3585" y="2007"/>
                          </a:lnTo>
                          <a:lnTo>
                            <a:pt x="3662" y="2091"/>
                          </a:lnTo>
                          <a:lnTo>
                            <a:pt x="3730" y="2180"/>
                          </a:lnTo>
                          <a:lnTo>
                            <a:pt x="3789" y="2273"/>
                          </a:lnTo>
                          <a:lnTo>
                            <a:pt x="3842" y="2372"/>
                          </a:lnTo>
                          <a:lnTo>
                            <a:pt x="3884" y="2473"/>
                          </a:lnTo>
                          <a:lnTo>
                            <a:pt x="3917" y="2578"/>
                          </a:lnTo>
                          <a:lnTo>
                            <a:pt x="3939" y="2688"/>
                          </a:lnTo>
                          <a:lnTo>
                            <a:pt x="3955" y="2798"/>
                          </a:lnTo>
                          <a:lnTo>
                            <a:pt x="3960" y="2911"/>
                          </a:lnTo>
                          <a:lnTo>
                            <a:pt x="3955" y="3023"/>
                          </a:lnTo>
                          <a:lnTo>
                            <a:pt x="3941" y="3133"/>
                          </a:lnTo>
                          <a:lnTo>
                            <a:pt x="3917" y="3240"/>
                          </a:lnTo>
                          <a:lnTo>
                            <a:pt x="3884" y="3344"/>
                          </a:lnTo>
                          <a:lnTo>
                            <a:pt x="3843" y="3446"/>
                          </a:lnTo>
                          <a:lnTo>
                            <a:pt x="3793" y="3543"/>
                          </a:lnTo>
                          <a:lnTo>
                            <a:pt x="3734" y="3636"/>
                          </a:lnTo>
                          <a:lnTo>
                            <a:pt x="3667" y="3725"/>
                          </a:lnTo>
                          <a:lnTo>
                            <a:pt x="3592" y="3809"/>
                          </a:lnTo>
                          <a:lnTo>
                            <a:pt x="3575" y="3821"/>
                          </a:lnTo>
                          <a:lnTo>
                            <a:pt x="3555" y="3830"/>
                          </a:lnTo>
                          <a:lnTo>
                            <a:pt x="3535" y="3831"/>
                          </a:lnTo>
                          <a:lnTo>
                            <a:pt x="3515" y="3830"/>
                          </a:lnTo>
                          <a:lnTo>
                            <a:pt x="3496" y="3821"/>
                          </a:lnTo>
                          <a:lnTo>
                            <a:pt x="3479" y="3809"/>
                          </a:lnTo>
                          <a:lnTo>
                            <a:pt x="3463" y="3788"/>
                          </a:lnTo>
                          <a:lnTo>
                            <a:pt x="3456" y="3765"/>
                          </a:lnTo>
                          <a:lnTo>
                            <a:pt x="3456" y="3741"/>
                          </a:lnTo>
                          <a:lnTo>
                            <a:pt x="3463" y="3716"/>
                          </a:lnTo>
                          <a:lnTo>
                            <a:pt x="3477" y="3695"/>
                          </a:lnTo>
                          <a:lnTo>
                            <a:pt x="3543" y="3622"/>
                          </a:lnTo>
                          <a:lnTo>
                            <a:pt x="3603" y="3545"/>
                          </a:lnTo>
                          <a:lnTo>
                            <a:pt x="3653" y="3465"/>
                          </a:lnTo>
                          <a:lnTo>
                            <a:pt x="3697" y="3379"/>
                          </a:lnTo>
                          <a:lnTo>
                            <a:pt x="3734" y="3290"/>
                          </a:lnTo>
                          <a:lnTo>
                            <a:pt x="3761" y="3199"/>
                          </a:lnTo>
                          <a:lnTo>
                            <a:pt x="3782" y="3105"/>
                          </a:lnTo>
                          <a:lnTo>
                            <a:pt x="3795" y="3009"/>
                          </a:lnTo>
                          <a:lnTo>
                            <a:pt x="3800" y="2911"/>
                          </a:lnTo>
                          <a:lnTo>
                            <a:pt x="3795" y="2812"/>
                          </a:lnTo>
                          <a:lnTo>
                            <a:pt x="3782" y="2716"/>
                          </a:lnTo>
                          <a:lnTo>
                            <a:pt x="3761" y="2620"/>
                          </a:lnTo>
                          <a:lnTo>
                            <a:pt x="3732" y="2529"/>
                          </a:lnTo>
                          <a:lnTo>
                            <a:pt x="3695" y="2438"/>
                          </a:lnTo>
                          <a:lnTo>
                            <a:pt x="3650" y="2353"/>
                          </a:lnTo>
                          <a:lnTo>
                            <a:pt x="3599" y="2271"/>
                          </a:lnTo>
                          <a:lnTo>
                            <a:pt x="3538" y="2194"/>
                          </a:lnTo>
                          <a:lnTo>
                            <a:pt x="3472" y="2121"/>
                          </a:lnTo>
                          <a:lnTo>
                            <a:pt x="3458" y="2100"/>
                          </a:lnTo>
                          <a:lnTo>
                            <a:pt x="3449" y="2077"/>
                          </a:lnTo>
                          <a:lnTo>
                            <a:pt x="3449" y="2053"/>
                          </a:lnTo>
                          <a:lnTo>
                            <a:pt x="3458" y="2028"/>
                          </a:lnTo>
                          <a:lnTo>
                            <a:pt x="3472" y="2007"/>
                          </a:lnTo>
                          <a:lnTo>
                            <a:pt x="3493" y="1993"/>
                          </a:lnTo>
                          <a:lnTo>
                            <a:pt x="3517" y="1985"/>
                          </a:lnTo>
                          <a:close/>
                          <a:moveTo>
                            <a:pt x="325" y="1658"/>
                          </a:moveTo>
                          <a:lnTo>
                            <a:pt x="288" y="1662"/>
                          </a:lnTo>
                          <a:lnTo>
                            <a:pt x="253" y="1674"/>
                          </a:lnTo>
                          <a:lnTo>
                            <a:pt x="222" y="1693"/>
                          </a:lnTo>
                          <a:lnTo>
                            <a:pt x="197" y="1719"/>
                          </a:lnTo>
                          <a:lnTo>
                            <a:pt x="178" y="1749"/>
                          </a:lnTo>
                          <a:lnTo>
                            <a:pt x="166" y="1784"/>
                          </a:lnTo>
                          <a:lnTo>
                            <a:pt x="161" y="1822"/>
                          </a:lnTo>
                          <a:lnTo>
                            <a:pt x="161" y="3985"/>
                          </a:lnTo>
                          <a:lnTo>
                            <a:pt x="166" y="4022"/>
                          </a:lnTo>
                          <a:lnTo>
                            <a:pt x="178" y="4056"/>
                          </a:lnTo>
                          <a:lnTo>
                            <a:pt x="197" y="4086"/>
                          </a:lnTo>
                          <a:lnTo>
                            <a:pt x="222" y="4112"/>
                          </a:lnTo>
                          <a:lnTo>
                            <a:pt x="253" y="4131"/>
                          </a:lnTo>
                          <a:lnTo>
                            <a:pt x="288" y="4144"/>
                          </a:lnTo>
                          <a:lnTo>
                            <a:pt x="325" y="4149"/>
                          </a:lnTo>
                          <a:lnTo>
                            <a:pt x="1334" y="4149"/>
                          </a:lnTo>
                          <a:lnTo>
                            <a:pt x="1370" y="4144"/>
                          </a:lnTo>
                          <a:lnTo>
                            <a:pt x="1405" y="4131"/>
                          </a:lnTo>
                          <a:lnTo>
                            <a:pt x="1437" y="4112"/>
                          </a:lnTo>
                          <a:lnTo>
                            <a:pt x="1461" y="4086"/>
                          </a:lnTo>
                          <a:lnTo>
                            <a:pt x="1480" y="4056"/>
                          </a:lnTo>
                          <a:lnTo>
                            <a:pt x="1494" y="4022"/>
                          </a:lnTo>
                          <a:lnTo>
                            <a:pt x="1498" y="3985"/>
                          </a:lnTo>
                          <a:lnTo>
                            <a:pt x="1498" y="1822"/>
                          </a:lnTo>
                          <a:lnTo>
                            <a:pt x="1494" y="1784"/>
                          </a:lnTo>
                          <a:lnTo>
                            <a:pt x="1480" y="1749"/>
                          </a:lnTo>
                          <a:lnTo>
                            <a:pt x="1461" y="1719"/>
                          </a:lnTo>
                          <a:lnTo>
                            <a:pt x="1437" y="1693"/>
                          </a:lnTo>
                          <a:lnTo>
                            <a:pt x="1405" y="1674"/>
                          </a:lnTo>
                          <a:lnTo>
                            <a:pt x="1370" y="1662"/>
                          </a:lnTo>
                          <a:lnTo>
                            <a:pt x="1334" y="1658"/>
                          </a:lnTo>
                          <a:lnTo>
                            <a:pt x="325" y="1658"/>
                          </a:lnTo>
                          <a:close/>
                          <a:moveTo>
                            <a:pt x="3868" y="1307"/>
                          </a:moveTo>
                          <a:lnTo>
                            <a:pt x="3892" y="1307"/>
                          </a:lnTo>
                          <a:lnTo>
                            <a:pt x="3915" y="1314"/>
                          </a:lnTo>
                          <a:lnTo>
                            <a:pt x="3936" y="1330"/>
                          </a:lnTo>
                          <a:lnTo>
                            <a:pt x="4039" y="1438"/>
                          </a:lnTo>
                          <a:lnTo>
                            <a:pt x="4131" y="1552"/>
                          </a:lnTo>
                          <a:lnTo>
                            <a:pt x="4217" y="1672"/>
                          </a:lnTo>
                          <a:lnTo>
                            <a:pt x="4294" y="1796"/>
                          </a:lnTo>
                          <a:lnTo>
                            <a:pt x="4364" y="1923"/>
                          </a:lnTo>
                          <a:lnTo>
                            <a:pt x="4423" y="2056"/>
                          </a:lnTo>
                          <a:lnTo>
                            <a:pt x="4474" y="2192"/>
                          </a:lnTo>
                          <a:lnTo>
                            <a:pt x="4517" y="2330"/>
                          </a:lnTo>
                          <a:lnTo>
                            <a:pt x="4550" y="2473"/>
                          </a:lnTo>
                          <a:lnTo>
                            <a:pt x="4573" y="2618"/>
                          </a:lnTo>
                          <a:lnTo>
                            <a:pt x="4587" y="2765"/>
                          </a:lnTo>
                          <a:lnTo>
                            <a:pt x="4592" y="2913"/>
                          </a:lnTo>
                          <a:lnTo>
                            <a:pt x="4587" y="3062"/>
                          </a:lnTo>
                          <a:lnTo>
                            <a:pt x="4573" y="3206"/>
                          </a:lnTo>
                          <a:lnTo>
                            <a:pt x="4550" y="3350"/>
                          </a:lnTo>
                          <a:lnTo>
                            <a:pt x="4517" y="3491"/>
                          </a:lnTo>
                          <a:lnTo>
                            <a:pt x="4477" y="3629"/>
                          </a:lnTo>
                          <a:lnTo>
                            <a:pt x="4426" y="3763"/>
                          </a:lnTo>
                          <a:lnTo>
                            <a:pt x="4367" y="3896"/>
                          </a:lnTo>
                          <a:lnTo>
                            <a:pt x="4299" y="4023"/>
                          </a:lnTo>
                          <a:lnTo>
                            <a:pt x="4224" y="4145"/>
                          </a:lnTo>
                          <a:lnTo>
                            <a:pt x="4140" y="4264"/>
                          </a:lnTo>
                          <a:lnTo>
                            <a:pt x="4048" y="4378"/>
                          </a:lnTo>
                          <a:lnTo>
                            <a:pt x="3948" y="4486"/>
                          </a:lnTo>
                          <a:lnTo>
                            <a:pt x="3931" y="4500"/>
                          </a:lnTo>
                          <a:lnTo>
                            <a:pt x="3912" y="4507"/>
                          </a:lnTo>
                          <a:lnTo>
                            <a:pt x="3891" y="4510"/>
                          </a:lnTo>
                          <a:lnTo>
                            <a:pt x="3870" y="4507"/>
                          </a:lnTo>
                          <a:lnTo>
                            <a:pt x="3850" y="4500"/>
                          </a:lnTo>
                          <a:lnTo>
                            <a:pt x="3835" y="4488"/>
                          </a:lnTo>
                          <a:lnTo>
                            <a:pt x="3819" y="4467"/>
                          </a:lnTo>
                          <a:lnTo>
                            <a:pt x="3812" y="4442"/>
                          </a:lnTo>
                          <a:lnTo>
                            <a:pt x="3812" y="4418"/>
                          </a:lnTo>
                          <a:lnTo>
                            <a:pt x="3819" y="4393"/>
                          </a:lnTo>
                          <a:lnTo>
                            <a:pt x="3833" y="4372"/>
                          </a:lnTo>
                          <a:lnTo>
                            <a:pt x="3926" y="4273"/>
                          </a:lnTo>
                          <a:lnTo>
                            <a:pt x="4011" y="4168"/>
                          </a:lnTo>
                          <a:lnTo>
                            <a:pt x="4090" y="4056"/>
                          </a:lnTo>
                          <a:lnTo>
                            <a:pt x="4159" y="3943"/>
                          </a:lnTo>
                          <a:lnTo>
                            <a:pt x="4222" y="3824"/>
                          </a:lnTo>
                          <a:lnTo>
                            <a:pt x="4278" y="3702"/>
                          </a:lnTo>
                          <a:lnTo>
                            <a:pt x="4323" y="3578"/>
                          </a:lnTo>
                          <a:lnTo>
                            <a:pt x="4362" y="3449"/>
                          </a:lnTo>
                          <a:lnTo>
                            <a:pt x="4393" y="3318"/>
                          </a:lnTo>
                          <a:lnTo>
                            <a:pt x="4414" y="3185"/>
                          </a:lnTo>
                          <a:lnTo>
                            <a:pt x="4428" y="3051"/>
                          </a:lnTo>
                          <a:lnTo>
                            <a:pt x="4432" y="2913"/>
                          </a:lnTo>
                          <a:lnTo>
                            <a:pt x="4428" y="2775"/>
                          </a:lnTo>
                          <a:lnTo>
                            <a:pt x="4414" y="2639"/>
                          </a:lnTo>
                          <a:lnTo>
                            <a:pt x="4392" y="2505"/>
                          </a:lnTo>
                          <a:lnTo>
                            <a:pt x="4362" y="2372"/>
                          </a:lnTo>
                          <a:lnTo>
                            <a:pt x="4322" y="2243"/>
                          </a:lnTo>
                          <a:lnTo>
                            <a:pt x="4275" y="2117"/>
                          </a:lnTo>
                          <a:lnTo>
                            <a:pt x="4219" y="1995"/>
                          </a:lnTo>
                          <a:lnTo>
                            <a:pt x="4156" y="1876"/>
                          </a:lnTo>
                          <a:lnTo>
                            <a:pt x="4084" y="1761"/>
                          </a:lnTo>
                          <a:lnTo>
                            <a:pt x="4004" y="1649"/>
                          </a:lnTo>
                          <a:lnTo>
                            <a:pt x="3917" y="1545"/>
                          </a:lnTo>
                          <a:lnTo>
                            <a:pt x="3823" y="1443"/>
                          </a:lnTo>
                          <a:lnTo>
                            <a:pt x="3809" y="1423"/>
                          </a:lnTo>
                          <a:lnTo>
                            <a:pt x="3800" y="1398"/>
                          </a:lnTo>
                          <a:lnTo>
                            <a:pt x="3800" y="1374"/>
                          </a:lnTo>
                          <a:lnTo>
                            <a:pt x="3809" y="1351"/>
                          </a:lnTo>
                          <a:lnTo>
                            <a:pt x="3823" y="1330"/>
                          </a:lnTo>
                          <a:lnTo>
                            <a:pt x="3843" y="1314"/>
                          </a:lnTo>
                          <a:lnTo>
                            <a:pt x="3868" y="1307"/>
                          </a:lnTo>
                          <a:close/>
                          <a:moveTo>
                            <a:pt x="4271" y="881"/>
                          </a:moveTo>
                          <a:lnTo>
                            <a:pt x="4296" y="881"/>
                          </a:lnTo>
                          <a:lnTo>
                            <a:pt x="4320" y="890"/>
                          </a:lnTo>
                          <a:lnTo>
                            <a:pt x="4341" y="904"/>
                          </a:lnTo>
                          <a:lnTo>
                            <a:pt x="4451" y="1023"/>
                          </a:lnTo>
                          <a:lnTo>
                            <a:pt x="4556" y="1145"/>
                          </a:lnTo>
                          <a:lnTo>
                            <a:pt x="4652" y="1272"/>
                          </a:lnTo>
                          <a:lnTo>
                            <a:pt x="4741" y="1405"/>
                          </a:lnTo>
                          <a:lnTo>
                            <a:pt x="4821" y="1541"/>
                          </a:lnTo>
                          <a:lnTo>
                            <a:pt x="4893" y="1683"/>
                          </a:lnTo>
                          <a:lnTo>
                            <a:pt x="4957" y="1826"/>
                          </a:lnTo>
                          <a:lnTo>
                            <a:pt x="5015" y="1974"/>
                          </a:lnTo>
                          <a:lnTo>
                            <a:pt x="5062" y="2124"/>
                          </a:lnTo>
                          <a:lnTo>
                            <a:pt x="5102" y="2278"/>
                          </a:lnTo>
                          <a:lnTo>
                            <a:pt x="5133" y="2435"/>
                          </a:lnTo>
                          <a:lnTo>
                            <a:pt x="5154" y="2592"/>
                          </a:lnTo>
                          <a:lnTo>
                            <a:pt x="5168" y="2753"/>
                          </a:lnTo>
                          <a:lnTo>
                            <a:pt x="5174" y="2915"/>
                          </a:lnTo>
                          <a:lnTo>
                            <a:pt x="5168" y="3075"/>
                          </a:lnTo>
                          <a:lnTo>
                            <a:pt x="5156" y="3234"/>
                          </a:lnTo>
                          <a:lnTo>
                            <a:pt x="5133" y="3391"/>
                          </a:lnTo>
                          <a:lnTo>
                            <a:pt x="5104" y="3545"/>
                          </a:lnTo>
                          <a:lnTo>
                            <a:pt x="5064" y="3699"/>
                          </a:lnTo>
                          <a:lnTo>
                            <a:pt x="5016" y="3847"/>
                          </a:lnTo>
                          <a:lnTo>
                            <a:pt x="4962" y="3994"/>
                          </a:lnTo>
                          <a:lnTo>
                            <a:pt x="4898" y="4137"/>
                          </a:lnTo>
                          <a:lnTo>
                            <a:pt x="4826" y="4276"/>
                          </a:lnTo>
                          <a:lnTo>
                            <a:pt x="4748" y="4413"/>
                          </a:lnTo>
                          <a:lnTo>
                            <a:pt x="4660" y="4543"/>
                          </a:lnTo>
                          <a:lnTo>
                            <a:pt x="4566" y="4671"/>
                          </a:lnTo>
                          <a:lnTo>
                            <a:pt x="4463" y="4793"/>
                          </a:lnTo>
                          <a:lnTo>
                            <a:pt x="4355" y="4912"/>
                          </a:lnTo>
                          <a:lnTo>
                            <a:pt x="4337" y="4924"/>
                          </a:lnTo>
                          <a:lnTo>
                            <a:pt x="4318" y="4933"/>
                          </a:lnTo>
                          <a:lnTo>
                            <a:pt x="4297" y="4934"/>
                          </a:lnTo>
                          <a:lnTo>
                            <a:pt x="4276" y="4933"/>
                          </a:lnTo>
                          <a:lnTo>
                            <a:pt x="4257" y="4924"/>
                          </a:lnTo>
                          <a:lnTo>
                            <a:pt x="4241" y="4912"/>
                          </a:lnTo>
                          <a:lnTo>
                            <a:pt x="4226" y="4891"/>
                          </a:lnTo>
                          <a:lnTo>
                            <a:pt x="4219" y="4868"/>
                          </a:lnTo>
                          <a:lnTo>
                            <a:pt x="4219" y="4844"/>
                          </a:lnTo>
                          <a:lnTo>
                            <a:pt x="4226" y="4819"/>
                          </a:lnTo>
                          <a:lnTo>
                            <a:pt x="4240" y="4798"/>
                          </a:lnTo>
                          <a:lnTo>
                            <a:pt x="4351" y="4680"/>
                          </a:lnTo>
                          <a:lnTo>
                            <a:pt x="4454" y="4554"/>
                          </a:lnTo>
                          <a:lnTo>
                            <a:pt x="4549" y="4423"/>
                          </a:lnTo>
                          <a:lnTo>
                            <a:pt x="4634" y="4289"/>
                          </a:lnTo>
                          <a:lnTo>
                            <a:pt x="4713" y="4149"/>
                          </a:lnTo>
                          <a:lnTo>
                            <a:pt x="4781" y="4006"/>
                          </a:lnTo>
                          <a:lnTo>
                            <a:pt x="4842" y="3859"/>
                          </a:lnTo>
                          <a:lnTo>
                            <a:pt x="4894" y="3709"/>
                          </a:lnTo>
                          <a:lnTo>
                            <a:pt x="4936" y="3555"/>
                          </a:lnTo>
                          <a:lnTo>
                            <a:pt x="4969" y="3398"/>
                          </a:lnTo>
                          <a:lnTo>
                            <a:pt x="4994" y="3240"/>
                          </a:lnTo>
                          <a:lnTo>
                            <a:pt x="5008" y="3077"/>
                          </a:lnTo>
                          <a:lnTo>
                            <a:pt x="5013" y="2915"/>
                          </a:lnTo>
                          <a:lnTo>
                            <a:pt x="5008" y="2763"/>
                          </a:lnTo>
                          <a:lnTo>
                            <a:pt x="4995" y="2611"/>
                          </a:lnTo>
                          <a:lnTo>
                            <a:pt x="4975" y="2461"/>
                          </a:lnTo>
                          <a:lnTo>
                            <a:pt x="4945" y="2314"/>
                          </a:lnTo>
                          <a:lnTo>
                            <a:pt x="4908" y="2170"/>
                          </a:lnTo>
                          <a:lnTo>
                            <a:pt x="4863" y="2026"/>
                          </a:lnTo>
                          <a:lnTo>
                            <a:pt x="4809" y="1889"/>
                          </a:lnTo>
                          <a:lnTo>
                            <a:pt x="4748" y="1752"/>
                          </a:lnTo>
                          <a:lnTo>
                            <a:pt x="4680" y="1620"/>
                          </a:lnTo>
                          <a:lnTo>
                            <a:pt x="4605" y="1491"/>
                          </a:lnTo>
                          <a:lnTo>
                            <a:pt x="4521" y="1365"/>
                          </a:lnTo>
                          <a:lnTo>
                            <a:pt x="4430" y="1245"/>
                          </a:lnTo>
                          <a:lnTo>
                            <a:pt x="4332" y="1129"/>
                          </a:lnTo>
                          <a:lnTo>
                            <a:pt x="4226" y="1018"/>
                          </a:lnTo>
                          <a:lnTo>
                            <a:pt x="4212" y="997"/>
                          </a:lnTo>
                          <a:lnTo>
                            <a:pt x="4203" y="974"/>
                          </a:lnTo>
                          <a:lnTo>
                            <a:pt x="4203" y="950"/>
                          </a:lnTo>
                          <a:lnTo>
                            <a:pt x="4212" y="925"/>
                          </a:lnTo>
                          <a:lnTo>
                            <a:pt x="4226" y="904"/>
                          </a:lnTo>
                          <a:lnTo>
                            <a:pt x="4247" y="890"/>
                          </a:lnTo>
                          <a:lnTo>
                            <a:pt x="4271" y="881"/>
                          </a:lnTo>
                          <a:close/>
                          <a:moveTo>
                            <a:pt x="3053" y="276"/>
                          </a:moveTo>
                          <a:lnTo>
                            <a:pt x="1635" y="1702"/>
                          </a:lnTo>
                          <a:lnTo>
                            <a:pt x="1648" y="1740"/>
                          </a:lnTo>
                          <a:lnTo>
                            <a:pt x="1655" y="1780"/>
                          </a:lnTo>
                          <a:lnTo>
                            <a:pt x="1658" y="1822"/>
                          </a:lnTo>
                          <a:lnTo>
                            <a:pt x="1658" y="3985"/>
                          </a:lnTo>
                          <a:lnTo>
                            <a:pt x="1655" y="4030"/>
                          </a:lnTo>
                          <a:lnTo>
                            <a:pt x="1644" y="4074"/>
                          </a:lnTo>
                          <a:lnTo>
                            <a:pt x="3053" y="5486"/>
                          </a:lnTo>
                          <a:lnTo>
                            <a:pt x="3053" y="276"/>
                          </a:lnTo>
                          <a:close/>
                          <a:moveTo>
                            <a:pt x="3142" y="0"/>
                          </a:moveTo>
                          <a:lnTo>
                            <a:pt x="3165" y="5"/>
                          </a:lnTo>
                          <a:lnTo>
                            <a:pt x="3184" y="17"/>
                          </a:lnTo>
                          <a:lnTo>
                            <a:pt x="3199" y="35"/>
                          </a:lnTo>
                          <a:lnTo>
                            <a:pt x="3210" y="56"/>
                          </a:lnTo>
                          <a:lnTo>
                            <a:pt x="3213" y="80"/>
                          </a:lnTo>
                          <a:lnTo>
                            <a:pt x="3213" y="5680"/>
                          </a:lnTo>
                          <a:lnTo>
                            <a:pt x="3210" y="5702"/>
                          </a:lnTo>
                          <a:lnTo>
                            <a:pt x="3199" y="5725"/>
                          </a:lnTo>
                          <a:lnTo>
                            <a:pt x="3184" y="5741"/>
                          </a:lnTo>
                          <a:lnTo>
                            <a:pt x="3165" y="5753"/>
                          </a:lnTo>
                          <a:lnTo>
                            <a:pt x="3149" y="5758"/>
                          </a:lnTo>
                          <a:lnTo>
                            <a:pt x="3133" y="5760"/>
                          </a:lnTo>
                          <a:lnTo>
                            <a:pt x="3112" y="5757"/>
                          </a:lnTo>
                          <a:lnTo>
                            <a:pt x="3093" y="5750"/>
                          </a:lnTo>
                          <a:lnTo>
                            <a:pt x="3077" y="5737"/>
                          </a:lnTo>
                          <a:lnTo>
                            <a:pt x="1559" y="4217"/>
                          </a:lnTo>
                          <a:lnTo>
                            <a:pt x="1522" y="4248"/>
                          </a:lnTo>
                          <a:lnTo>
                            <a:pt x="1480" y="4273"/>
                          </a:lnTo>
                          <a:lnTo>
                            <a:pt x="1435" y="4292"/>
                          </a:lnTo>
                          <a:lnTo>
                            <a:pt x="1384" y="4304"/>
                          </a:lnTo>
                          <a:lnTo>
                            <a:pt x="1334" y="4310"/>
                          </a:lnTo>
                          <a:lnTo>
                            <a:pt x="325" y="4310"/>
                          </a:lnTo>
                          <a:lnTo>
                            <a:pt x="267" y="4304"/>
                          </a:lnTo>
                          <a:lnTo>
                            <a:pt x="211" y="4289"/>
                          </a:lnTo>
                          <a:lnTo>
                            <a:pt x="161" y="4264"/>
                          </a:lnTo>
                          <a:lnTo>
                            <a:pt x="115" y="4233"/>
                          </a:lnTo>
                          <a:lnTo>
                            <a:pt x="77" y="4193"/>
                          </a:lnTo>
                          <a:lnTo>
                            <a:pt x="44" y="4147"/>
                          </a:lnTo>
                          <a:lnTo>
                            <a:pt x="21" y="4097"/>
                          </a:lnTo>
                          <a:lnTo>
                            <a:pt x="5" y="4042"/>
                          </a:lnTo>
                          <a:lnTo>
                            <a:pt x="0" y="3985"/>
                          </a:lnTo>
                          <a:lnTo>
                            <a:pt x="0" y="1822"/>
                          </a:lnTo>
                          <a:lnTo>
                            <a:pt x="5" y="1763"/>
                          </a:lnTo>
                          <a:lnTo>
                            <a:pt x="21" y="1709"/>
                          </a:lnTo>
                          <a:lnTo>
                            <a:pt x="44" y="1658"/>
                          </a:lnTo>
                          <a:lnTo>
                            <a:pt x="77" y="1613"/>
                          </a:lnTo>
                          <a:lnTo>
                            <a:pt x="115" y="1574"/>
                          </a:lnTo>
                          <a:lnTo>
                            <a:pt x="161" y="1541"/>
                          </a:lnTo>
                          <a:lnTo>
                            <a:pt x="211" y="1517"/>
                          </a:lnTo>
                          <a:lnTo>
                            <a:pt x="267" y="1503"/>
                          </a:lnTo>
                          <a:lnTo>
                            <a:pt x="325" y="1498"/>
                          </a:lnTo>
                          <a:lnTo>
                            <a:pt x="1334" y="1498"/>
                          </a:lnTo>
                          <a:lnTo>
                            <a:pt x="1391" y="1503"/>
                          </a:lnTo>
                          <a:lnTo>
                            <a:pt x="1443" y="1517"/>
                          </a:lnTo>
                          <a:lnTo>
                            <a:pt x="1494" y="1541"/>
                          </a:lnTo>
                          <a:lnTo>
                            <a:pt x="1538" y="1573"/>
                          </a:lnTo>
                          <a:lnTo>
                            <a:pt x="3077" y="24"/>
                          </a:lnTo>
                          <a:lnTo>
                            <a:pt x="3096" y="9"/>
                          </a:lnTo>
                          <a:lnTo>
                            <a:pt x="3117" y="2"/>
                          </a:lnTo>
                          <a:lnTo>
                            <a:pt x="3142" y="0"/>
                          </a:ln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05" name="Freeform 13">
                      <a:extLst>
                        <a:ext uri="{FF2B5EF4-FFF2-40B4-BE49-F238E27FC236}">
                          <a16:creationId xmlns:a16="http://schemas.microsoft.com/office/drawing/2014/main" id="{4A1A0F1E-4995-1272-64E7-ABD451EEBA26}"/>
                        </a:ext>
                      </a:extLst>
                    </p:cNvPr>
                    <p:cNvSpPr>
                      <a:spLocks noChangeAspect="1" noEditPoints="1"/>
                    </p:cNvSpPr>
                    <p:nvPr/>
                  </p:nvSpPr>
                  <p:spPr bwMode="auto">
                    <a:xfrm>
                      <a:off x="5264324" y="8099817"/>
                      <a:ext cx="555306" cy="556591"/>
                    </a:xfrm>
                    <a:custGeom>
                      <a:avLst/>
                      <a:gdLst>
                        <a:gd name="T0" fmla="*/ 4084 w 4788"/>
                        <a:gd name="T1" fmla="*/ 3461 h 4799"/>
                        <a:gd name="T2" fmla="*/ 3626 w 4788"/>
                        <a:gd name="T3" fmla="*/ 4038 h 4799"/>
                        <a:gd name="T4" fmla="*/ 3626 w 4788"/>
                        <a:gd name="T5" fmla="*/ 4172 h 4799"/>
                        <a:gd name="T6" fmla="*/ 4277 w 4788"/>
                        <a:gd name="T7" fmla="*/ 3520 h 4799"/>
                        <a:gd name="T8" fmla="*/ 3433 w 4788"/>
                        <a:gd name="T9" fmla="*/ 3979 h 4799"/>
                        <a:gd name="T10" fmla="*/ 2490 w 4788"/>
                        <a:gd name="T11" fmla="*/ 3520 h 4799"/>
                        <a:gd name="T12" fmla="*/ 3068 w 4788"/>
                        <a:gd name="T13" fmla="*/ 3979 h 4799"/>
                        <a:gd name="T14" fmla="*/ 2490 w 4788"/>
                        <a:gd name="T15" fmla="*/ 3520 h 4799"/>
                        <a:gd name="T16" fmla="*/ 3008 w 4788"/>
                        <a:gd name="T17" fmla="*/ 4172 h 4799"/>
                        <a:gd name="T18" fmla="*/ 2550 w 4788"/>
                        <a:gd name="T19" fmla="*/ 3327 h 4799"/>
                        <a:gd name="T20" fmla="*/ 2550 w 4788"/>
                        <a:gd name="T21" fmla="*/ 4172 h 4799"/>
                        <a:gd name="T22" fmla="*/ 1932 w 4788"/>
                        <a:gd name="T23" fmla="*/ 3461 h 4799"/>
                        <a:gd name="T24" fmla="*/ 1474 w 4788"/>
                        <a:gd name="T25" fmla="*/ 4038 h 4799"/>
                        <a:gd name="T26" fmla="*/ 1474 w 4788"/>
                        <a:gd name="T27" fmla="*/ 4172 h 4799"/>
                        <a:gd name="T28" fmla="*/ 2125 w 4788"/>
                        <a:gd name="T29" fmla="*/ 3520 h 4799"/>
                        <a:gd name="T30" fmla="*/ 1281 w 4788"/>
                        <a:gd name="T31" fmla="*/ 3979 h 4799"/>
                        <a:gd name="T32" fmla="*/ 3566 w 4788"/>
                        <a:gd name="T33" fmla="*/ 2201 h 4799"/>
                        <a:gd name="T34" fmla="*/ 4143 w 4788"/>
                        <a:gd name="T35" fmla="*/ 2660 h 4799"/>
                        <a:gd name="T36" fmla="*/ 3566 w 4788"/>
                        <a:gd name="T37" fmla="*/ 2201 h 4799"/>
                        <a:gd name="T38" fmla="*/ 4084 w 4788"/>
                        <a:gd name="T39" fmla="*/ 2853 h 4799"/>
                        <a:gd name="T40" fmla="*/ 3626 w 4788"/>
                        <a:gd name="T41" fmla="*/ 2008 h 4799"/>
                        <a:gd name="T42" fmla="*/ 3626 w 4788"/>
                        <a:gd name="T43" fmla="*/ 2853 h 4799"/>
                        <a:gd name="T44" fmla="*/ 3008 w 4788"/>
                        <a:gd name="T45" fmla="*/ 2142 h 4799"/>
                        <a:gd name="T46" fmla="*/ 2550 w 4788"/>
                        <a:gd name="T47" fmla="*/ 2719 h 4799"/>
                        <a:gd name="T48" fmla="*/ 2550 w 4788"/>
                        <a:gd name="T49" fmla="*/ 2853 h 4799"/>
                        <a:gd name="T50" fmla="*/ 3201 w 4788"/>
                        <a:gd name="T51" fmla="*/ 2201 h 4799"/>
                        <a:gd name="T52" fmla="*/ 2357 w 4788"/>
                        <a:gd name="T53" fmla="*/ 2660 h 4799"/>
                        <a:gd name="T54" fmla="*/ 1414 w 4788"/>
                        <a:gd name="T55" fmla="*/ 2201 h 4799"/>
                        <a:gd name="T56" fmla="*/ 1992 w 4788"/>
                        <a:gd name="T57" fmla="*/ 2660 h 4799"/>
                        <a:gd name="T58" fmla="*/ 1414 w 4788"/>
                        <a:gd name="T59" fmla="*/ 2201 h 4799"/>
                        <a:gd name="T60" fmla="*/ 1932 w 4788"/>
                        <a:gd name="T61" fmla="*/ 2853 h 4799"/>
                        <a:gd name="T62" fmla="*/ 1474 w 4788"/>
                        <a:gd name="T63" fmla="*/ 2008 h 4799"/>
                        <a:gd name="T64" fmla="*/ 1474 w 4788"/>
                        <a:gd name="T65" fmla="*/ 2853 h 4799"/>
                        <a:gd name="T66" fmla="*/ 4084 w 4788"/>
                        <a:gd name="T67" fmla="*/ 802 h 4799"/>
                        <a:gd name="T68" fmla="*/ 3626 w 4788"/>
                        <a:gd name="T69" fmla="*/ 1379 h 4799"/>
                        <a:gd name="T70" fmla="*/ 3626 w 4788"/>
                        <a:gd name="T71" fmla="*/ 1513 h 4799"/>
                        <a:gd name="T72" fmla="*/ 4277 w 4788"/>
                        <a:gd name="T73" fmla="*/ 861 h 4799"/>
                        <a:gd name="T74" fmla="*/ 3433 w 4788"/>
                        <a:gd name="T75" fmla="*/ 1320 h 4799"/>
                        <a:gd name="T76" fmla="*/ 2490 w 4788"/>
                        <a:gd name="T77" fmla="*/ 861 h 4799"/>
                        <a:gd name="T78" fmla="*/ 3068 w 4788"/>
                        <a:gd name="T79" fmla="*/ 1320 h 4799"/>
                        <a:gd name="T80" fmla="*/ 2490 w 4788"/>
                        <a:gd name="T81" fmla="*/ 861 h 4799"/>
                        <a:gd name="T82" fmla="*/ 3008 w 4788"/>
                        <a:gd name="T83" fmla="*/ 1513 h 4799"/>
                        <a:gd name="T84" fmla="*/ 2550 w 4788"/>
                        <a:gd name="T85" fmla="*/ 668 h 4799"/>
                        <a:gd name="T86" fmla="*/ 2550 w 4788"/>
                        <a:gd name="T87" fmla="*/ 1513 h 4799"/>
                        <a:gd name="T88" fmla="*/ 1932 w 4788"/>
                        <a:gd name="T89" fmla="*/ 802 h 4799"/>
                        <a:gd name="T90" fmla="*/ 1474 w 4788"/>
                        <a:gd name="T91" fmla="*/ 1379 h 4799"/>
                        <a:gd name="T92" fmla="*/ 1474 w 4788"/>
                        <a:gd name="T93" fmla="*/ 1513 h 4799"/>
                        <a:gd name="T94" fmla="*/ 2125 w 4788"/>
                        <a:gd name="T95" fmla="*/ 861 h 4799"/>
                        <a:gd name="T96" fmla="*/ 1281 w 4788"/>
                        <a:gd name="T97" fmla="*/ 1320 h 4799"/>
                        <a:gd name="T98" fmla="*/ 135 w 4788"/>
                        <a:gd name="T99" fmla="*/ 4480 h 4799"/>
                        <a:gd name="T100" fmla="*/ 4641 w 4788"/>
                        <a:gd name="T101" fmla="*/ 341 h 4799"/>
                        <a:gd name="T102" fmla="*/ 247 w 4788"/>
                        <a:gd name="T103" fmla="*/ 4650 h 4799"/>
                        <a:gd name="T104" fmla="*/ 4469 w 4788"/>
                        <a:gd name="T105" fmla="*/ 0 h 4799"/>
                        <a:gd name="T106" fmla="*/ 0 w 4788"/>
                        <a:gd name="T107" fmla="*/ 341 h 4799"/>
                        <a:gd name="T108" fmla="*/ 4469 w 4788"/>
                        <a:gd name="T109" fmla="*/ 4799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788" h="4799">
                          <a:moveTo>
                            <a:pt x="3566" y="3520"/>
                          </a:moveTo>
                          <a:lnTo>
                            <a:pt x="3566" y="3520"/>
                          </a:lnTo>
                          <a:cubicBezTo>
                            <a:pt x="3566" y="3487"/>
                            <a:pt x="3593" y="3461"/>
                            <a:pt x="3626" y="3461"/>
                          </a:cubicBezTo>
                          <a:lnTo>
                            <a:pt x="4084" y="3461"/>
                          </a:lnTo>
                          <a:cubicBezTo>
                            <a:pt x="4117" y="3461"/>
                            <a:pt x="4143" y="3487"/>
                            <a:pt x="4143" y="3520"/>
                          </a:cubicBezTo>
                          <a:lnTo>
                            <a:pt x="4143" y="3979"/>
                          </a:lnTo>
                          <a:cubicBezTo>
                            <a:pt x="4143" y="4011"/>
                            <a:pt x="4117" y="4038"/>
                            <a:pt x="4084" y="4038"/>
                          </a:cubicBezTo>
                          <a:lnTo>
                            <a:pt x="3626" y="4038"/>
                          </a:lnTo>
                          <a:cubicBezTo>
                            <a:pt x="3593" y="4038"/>
                            <a:pt x="3566" y="4011"/>
                            <a:pt x="3566" y="3979"/>
                          </a:cubicBezTo>
                          <a:lnTo>
                            <a:pt x="3566" y="3520"/>
                          </a:lnTo>
                          <a:lnTo>
                            <a:pt x="3566" y="3520"/>
                          </a:lnTo>
                          <a:close/>
                          <a:moveTo>
                            <a:pt x="3626" y="4172"/>
                          </a:moveTo>
                          <a:lnTo>
                            <a:pt x="3626" y="4172"/>
                          </a:lnTo>
                          <a:lnTo>
                            <a:pt x="4084" y="4172"/>
                          </a:lnTo>
                          <a:cubicBezTo>
                            <a:pt x="4191" y="4172"/>
                            <a:pt x="4277" y="4085"/>
                            <a:pt x="4277" y="3979"/>
                          </a:cubicBezTo>
                          <a:lnTo>
                            <a:pt x="4277" y="3520"/>
                          </a:lnTo>
                          <a:cubicBezTo>
                            <a:pt x="4277" y="3413"/>
                            <a:pt x="4191" y="3327"/>
                            <a:pt x="4084" y="3327"/>
                          </a:cubicBezTo>
                          <a:lnTo>
                            <a:pt x="3626" y="3327"/>
                          </a:lnTo>
                          <a:cubicBezTo>
                            <a:pt x="3519" y="3327"/>
                            <a:pt x="3433" y="3413"/>
                            <a:pt x="3433" y="3520"/>
                          </a:cubicBezTo>
                          <a:lnTo>
                            <a:pt x="3433" y="3979"/>
                          </a:lnTo>
                          <a:cubicBezTo>
                            <a:pt x="3433" y="4085"/>
                            <a:pt x="3519" y="4172"/>
                            <a:pt x="3626" y="4172"/>
                          </a:cubicBezTo>
                          <a:lnTo>
                            <a:pt x="3626" y="4172"/>
                          </a:lnTo>
                          <a:close/>
                          <a:moveTo>
                            <a:pt x="2490" y="3520"/>
                          </a:moveTo>
                          <a:lnTo>
                            <a:pt x="2490" y="3520"/>
                          </a:lnTo>
                          <a:cubicBezTo>
                            <a:pt x="2490" y="3487"/>
                            <a:pt x="2517" y="3461"/>
                            <a:pt x="2550" y="3461"/>
                          </a:cubicBezTo>
                          <a:lnTo>
                            <a:pt x="3008" y="3461"/>
                          </a:lnTo>
                          <a:cubicBezTo>
                            <a:pt x="3041" y="3461"/>
                            <a:pt x="3068" y="3487"/>
                            <a:pt x="3068" y="3520"/>
                          </a:cubicBezTo>
                          <a:lnTo>
                            <a:pt x="3068" y="3979"/>
                          </a:lnTo>
                          <a:cubicBezTo>
                            <a:pt x="3068" y="4011"/>
                            <a:pt x="3041" y="4038"/>
                            <a:pt x="3008" y="4038"/>
                          </a:cubicBezTo>
                          <a:lnTo>
                            <a:pt x="2550" y="4038"/>
                          </a:lnTo>
                          <a:cubicBezTo>
                            <a:pt x="2517" y="4038"/>
                            <a:pt x="2490" y="4011"/>
                            <a:pt x="2490" y="3979"/>
                          </a:cubicBezTo>
                          <a:lnTo>
                            <a:pt x="2490" y="3520"/>
                          </a:lnTo>
                          <a:lnTo>
                            <a:pt x="2490" y="3520"/>
                          </a:lnTo>
                          <a:close/>
                          <a:moveTo>
                            <a:pt x="2550" y="4172"/>
                          </a:moveTo>
                          <a:lnTo>
                            <a:pt x="2550" y="4172"/>
                          </a:lnTo>
                          <a:lnTo>
                            <a:pt x="3008" y="4172"/>
                          </a:lnTo>
                          <a:cubicBezTo>
                            <a:pt x="3115" y="4172"/>
                            <a:pt x="3201" y="4085"/>
                            <a:pt x="3201" y="3979"/>
                          </a:cubicBezTo>
                          <a:lnTo>
                            <a:pt x="3201" y="3520"/>
                          </a:lnTo>
                          <a:cubicBezTo>
                            <a:pt x="3201" y="3413"/>
                            <a:pt x="3115" y="3327"/>
                            <a:pt x="3008" y="3327"/>
                          </a:cubicBezTo>
                          <a:lnTo>
                            <a:pt x="2550" y="3327"/>
                          </a:lnTo>
                          <a:cubicBezTo>
                            <a:pt x="2443" y="3327"/>
                            <a:pt x="2357" y="3413"/>
                            <a:pt x="2357" y="3520"/>
                          </a:cubicBezTo>
                          <a:lnTo>
                            <a:pt x="2357" y="3979"/>
                          </a:lnTo>
                          <a:cubicBezTo>
                            <a:pt x="2357" y="4085"/>
                            <a:pt x="2443" y="4172"/>
                            <a:pt x="2550" y="4172"/>
                          </a:cubicBezTo>
                          <a:lnTo>
                            <a:pt x="2550" y="4172"/>
                          </a:lnTo>
                          <a:close/>
                          <a:moveTo>
                            <a:pt x="1414" y="3520"/>
                          </a:moveTo>
                          <a:lnTo>
                            <a:pt x="1414" y="3520"/>
                          </a:lnTo>
                          <a:cubicBezTo>
                            <a:pt x="1414" y="3487"/>
                            <a:pt x="1441" y="3461"/>
                            <a:pt x="1474" y="3461"/>
                          </a:cubicBezTo>
                          <a:lnTo>
                            <a:pt x="1932" y="3461"/>
                          </a:lnTo>
                          <a:cubicBezTo>
                            <a:pt x="1965" y="3461"/>
                            <a:pt x="1992" y="3487"/>
                            <a:pt x="1992" y="3520"/>
                          </a:cubicBezTo>
                          <a:lnTo>
                            <a:pt x="1992" y="3979"/>
                          </a:lnTo>
                          <a:cubicBezTo>
                            <a:pt x="1992" y="4011"/>
                            <a:pt x="1965" y="4038"/>
                            <a:pt x="1932" y="4038"/>
                          </a:cubicBezTo>
                          <a:lnTo>
                            <a:pt x="1474" y="4038"/>
                          </a:lnTo>
                          <a:cubicBezTo>
                            <a:pt x="1441" y="4038"/>
                            <a:pt x="1414" y="4011"/>
                            <a:pt x="1414" y="3979"/>
                          </a:cubicBezTo>
                          <a:lnTo>
                            <a:pt x="1414" y="3520"/>
                          </a:lnTo>
                          <a:lnTo>
                            <a:pt x="1414" y="3520"/>
                          </a:lnTo>
                          <a:close/>
                          <a:moveTo>
                            <a:pt x="1474" y="4172"/>
                          </a:moveTo>
                          <a:lnTo>
                            <a:pt x="1474" y="4172"/>
                          </a:lnTo>
                          <a:lnTo>
                            <a:pt x="1932" y="4172"/>
                          </a:lnTo>
                          <a:cubicBezTo>
                            <a:pt x="2039" y="4172"/>
                            <a:pt x="2125" y="4085"/>
                            <a:pt x="2125" y="3979"/>
                          </a:cubicBezTo>
                          <a:lnTo>
                            <a:pt x="2125" y="3520"/>
                          </a:lnTo>
                          <a:cubicBezTo>
                            <a:pt x="2125" y="3413"/>
                            <a:pt x="2039" y="3327"/>
                            <a:pt x="1932" y="3327"/>
                          </a:cubicBezTo>
                          <a:lnTo>
                            <a:pt x="1474" y="3327"/>
                          </a:lnTo>
                          <a:cubicBezTo>
                            <a:pt x="1367" y="3327"/>
                            <a:pt x="1281" y="3413"/>
                            <a:pt x="1281" y="3520"/>
                          </a:cubicBezTo>
                          <a:lnTo>
                            <a:pt x="1281" y="3979"/>
                          </a:lnTo>
                          <a:cubicBezTo>
                            <a:pt x="1281" y="4085"/>
                            <a:pt x="1367" y="4172"/>
                            <a:pt x="1474" y="4172"/>
                          </a:cubicBezTo>
                          <a:lnTo>
                            <a:pt x="1474" y="4172"/>
                          </a:lnTo>
                          <a:close/>
                          <a:moveTo>
                            <a:pt x="3566" y="2201"/>
                          </a:moveTo>
                          <a:lnTo>
                            <a:pt x="3566" y="2201"/>
                          </a:lnTo>
                          <a:cubicBezTo>
                            <a:pt x="3566" y="2169"/>
                            <a:pt x="3593" y="2142"/>
                            <a:pt x="3626" y="2142"/>
                          </a:cubicBezTo>
                          <a:lnTo>
                            <a:pt x="4084" y="2142"/>
                          </a:lnTo>
                          <a:cubicBezTo>
                            <a:pt x="4117" y="2142"/>
                            <a:pt x="4143" y="2169"/>
                            <a:pt x="4143" y="2201"/>
                          </a:cubicBezTo>
                          <a:lnTo>
                            <a:pt x="4143" y="2660"/>
                          </a:lnTo>
                          <a:cubicBezTo>
                            <a:pt x="4143" y="2693"/>
                            <a:pt x="4117" y="2719"/>
                            <a:pt x="4084" y="2719"/>
                          </a:cubicBezTo>
                          <a:lnTo>
                            <a:pt x="3626" y="2719"/>
                          </a:lnTo>
                          <a:cubicBezTo>
                            <a:pt x="3593" y="2719"/>
                            <a:pt x="3566" y="2693"/>
                            <a:pt x="3566" y="2660"/>
                          </a:cubicBezTo>
                          <a:lnTo>
                            <a:pt x="3566" y="2201"/>
                          </a:lnTo>
                          <a:lnTo>
                            <a:pt x="3566" y="2201"/>
                          </a:lnTo>
                          <a:close/>
                          <a:moveTo>
                            <a:pt x="3626" y="2853"/>
                          </a:moveTo>
                          <a:lnTo>
                            <a:pt x="3626" y="2853"/>
                          </a:lnTo>
                          <a:lnTo>
                            <a:pt x="4084" y="2853"/>
                          </a:lnTo>
                          <a:cubicBezTo>
                            <a:pt x="4191" y="2853"/>
                            <a:pt x="4277" y="2767"/>
                            <a:pt x="4277" y="2660"/>
                          </a:cubicBezTo>
                          <a:lnTo>
                            <a:pt x="4277" y="2201"/>
                          </a:lnTo>
                          <a:cubicBezTo>
                            <a:pt x="4277" y="2095"/>
                            <a:pt x="4191" y="2008"/>
                            <a:pt x="4084" y="2008"/>
                          </a:cubicBezTo>
                          <a:lnTo>
                            <a:pt x="3626" y="2008"/>
                          </a:lnTo>
                          <a:cubicBezTo>
                            <a:pt x="3519" y="2008"/>
                            <a:pt x="3433" y="2095"/>
                            <a:pt x="3433" y="2201"/>
                          </a:cubicBezTo>
                          <a:lnTo>
                            <a:pt x="3433" y="2660"/>
                          </a:lnTo>
                          <a:cubicBezTo>
                            <a:pt x="3433" y="2767"/>
                            <a:pt x="3519" y="2853"/>
                            <a:pt x="3626" y="2853"/>
                          </a:cubicBezTo>
                          <a:lnTo>
                            <a:pt x="3626" y="2853"/>
                          </a:lnTo>
                          <a:close/>
                          <a:moveTo>
                            <a:pt x="2490" y="2201"/>
                          </a:moveTo>
                          <a:lnTo>
                            <a:pt x="2490" y="2201"/>
                          </a:lnTo>
                          <a:cubicBezTo>
                            <a:pt x="2490" y="2169"/>
                            <a:pt x="2517" y="2142"/>
                            <a:pt x="2550" y="2142"/>
                          </a:cubicBezTo>
                          <a:lnTo>
                            <a:pt x="3008" y="2142"/>
                          </a:lnTo>
                          <a:cubicBezTo>
                            <a:pt x="3041" y="2142"/>
                            <a:pt x="3068" y="2169"/>
                            <a:pt x="3068" y="2201"/>
                          </a:cubicBezTo>
                          <a:lnTo>
                            <a:pt x="3068" y="2660"/>
                          </a:lnTo>
                          <a:cubicBezTo>
                            <a:pt x="3068" y="2693"/>
                            <a:pt x="3041" y="2719"/>
                            <a:pt x="3008" y="2719"/>
                          </a:cubicBezTo>
                          <a:lnTo>
                            <a:pt x="2550" y="2719"/>
                          </a:lnTo>
                          <a:cubicBezTo>
                            <a:pt x="2517" y="2719"/>
                            <a:pt x="2490" y="2693"/>
                            <a:pt x="2490" y="2660"/>
                          </a:cubicBezTo>
                          <a:lnTo>
                            <a:pt x="2490" y="2201"/>
                          </a:lnTo>
                          <a:lnTo>
                            <a:pt x="2490" y="2201"/>
                          </a:lnTo>
                          <a:close/>
                          <a:moveTo>
                            <a:pt x="2550" y="2853"/>
                          </a:moveTo>
                          <a:lnTo>
                            <a:pt x="2550" y="2853"/>
                          </a:lnTo>
                          <a:lnTo>
                            <a:pt x="3008" y="2853"/>
                          </a:lnTo>
                          <a:cubicBezTo>
                            <a:pt x="3115" y="2853"/>
                            <a:pt x="3201" y="2767"/>
                            <a:pt x="3201" y="2660"/>
                          </a:cubicBezTo>
                          <a:lnTo>
                            <a:pt x="3201" y="2201"/>
                          </a:lnTo>
                          <a:cubicBezTo>
                            <a:pt x="3201" y="2095"/>
                            <a:pt x="3115" y="2008"/>
                            <a:pt x="3008" y="2008"/>
                          </a:cubicBezTo>
                          <a:lnTo>
                            <a:pt x="2550" y="2008"/>
                          </a:lnTo>
                          <a:cubicBezTo>
                            <a:pt x="2443" y="2008"/>
                            <a:pt x="2357" y="2095"/>
                            <a:pt x="2357" y="2201"/>
                          </a:cubicBezTo>
                          <a:lnTo>
                            <a:pt x="2357" y="2660"/>
                          </a:lnTo>
                          <a:cubicBezTo>
                            <a:pt x="2357" y="2767"/>
                            <a:pt x="2443" y="2853"/>
                            <a:pt x="2550" y="2853"/>
                          </a:cubicBezTo>
                          <a:lnTo>
                            <a:pt x="2550" y="2853"/>
                          </a:lnTo>
                          <a:close/>
                          <a:moveTo>
                            <a:pt x="1414" y="2201"/>
                          </a:moveTo>
                          <a:lnTo>
                            <a:pt x="1414" y="2201"/>
                          </a:lnTo>
                          <a:cubicBezTo>
                            <a:pt x="1414" y="2169"/>
                            <a:pt x="1441" y="2142"/>
                            <a:pt x="1474" y="2142"/>
                          </a:cubicBezTo>
                          <a:lnTo>
                            <a:pt x="1932" y="2142"/>
                          </a:lnTo>
                          <a:cubicBezTo>
                            <a:pt x="1965" y="2142"/>
                            <a:pt x="1992" y="2169"/>
                            <a:pt x="1992" y="2201"/>
                          </a:cubicBezTo>
                          <a:lnTo>
                            <a:pt x="1992" y="2660"/>
                          </a:lnTo>
                          <a:cubicBezTo>
                            <a:pt x="1992" y="2693"/>
                            <a:pt x="1965" y="2719"/>
                            <a:pt x="1932" y="2719"/>
                          </a:cubicBezTo>
                          <a:lnTo>
                            <a:pt x="1474" y="2719"/>
                          </a:lnTo>
                          <a:cubicBezTo>
                            <a:pt x="1441" y="2719"/>
                            <a:pt x="1414" y="2693"/>
                            <a:pt x="1414" y="2660"/>
                          </a:cubicBezTo>
                          <a:lnTo>
                            <a:pt x="1414" y="2201"/>
                          </a:lnTo>
                          <a:lnTo>
                            <a:pt x="1414" y="2201"/>
                          </a:lnTo>
                          <a:close/>
                          <a:moveTo>
                            <a:pt x="1474" y="2853"/>
                          </a:moveTo>
                          <a:lnTo>
                            <a:pt x="1474" y="2853"/>
                          </a:lnTo>
                          <a:lnTo>
                            <a:pt x="1932" y="2853"/>
                          </a:lnTo>
                          <a:cubicBezTo>
                            <a:pt x="2039" y="2853"/>
                            <a:pt x="2125" y="2767"/>
                            <a:pt x="2125" y="2660"/>
                          </a:cubicBezTo>
                          <a:lnTo>
                            <a:pt x="2125" y="2201"/>
                          </a:lnTo>
                          <a:cubicBezTo>
                            <a:pt x="2125" y="2095"/>
                            <a:pt x="2039" y="2008"/>
                            <a:pt x="1932" y="2008"/>
                          </a:cubicBezTo>
                          <a:lnTo>
                            <a:pt x="1474" y="2008"/>
                          </a:lnTo>
                          <a:cubicBezTo>
                            <a:pt x="1367" y="2008"/>
                            <a:pt x="1281" y="2095"/>
                            <a:pt x="1281" y="2201"/>
                          </a:cubicBezTo>
                          <a:lnTo>
                            <a:pt x="1281" y="2660"/>
                          </a:lnTo>
                          <a:cubicBezTo>
                            <a:pt x="1281" y="2767"/>
                            <a:pt x="1367" y="2853"/>
                            <a:pt x="1474" y="2853"/>
                          </a:cubicBezTo>
                          <a:lnTo>
                            <a:pt x="1474" y="2853"/>
                          </a:lnTo>
                          <a:close/>
                          <a:moveTo>
                            <a:pt x="3566" y="861"/>
                          </a:moveTo>
                          <a:lnTo>
                            <a:pt x="3566" y="861"/>
                          </a:lnTo>
                          <a:cubicBezTo>
                            <a:pt x="3566" y="828"/>
                            <a:pt x="3593" y="802"/>
                            <a:pt x="3626" y="802"/>
                          </a:cubicBezTo>
                          <a:lnTo>
                            <a:pt x="4084" y="802"/>
                          </a:lnTo>
                          <a:cubicBezTo>
                            <a:pt x="4117" y="802"/>
                            <a:pt x="4143" y="828"/>
                            <a:pt x="4143" y="861"/>
                          </a:cubicBezTo>
                          <a:lnTo>
                            <a:pt x="4143" y="1320"/>
                          </a:lnTo>
                          <a:cubicBezTo>
                            <a:pt x="4143" y="1352"/>
                            <a:pt x="4117" y="1379"/>
                            <a:pt x="4084" y="1379"/>
                          </a:cubicBezTo>
                          <a:lnTo>
                            <a:pt x="3626" y="1379"/>
                          </a:lnTo>
                          <a:cubicBezTo>
                            <a:pt x="3593" y="1379"/>
                            <a:pt x="3566" y="1352"/>
                            <a:pt x="3566" y="1320"/>
                          </a:cubicBezTo>
                          <a:lnTo>
                            <a:pt x="3566" y="861"/>
                          </a:lnTo>
                          <a:lnTo>
                            <a:pt x="3566" y="861"/>
                          </a:lnTo>
                          <a:close/>
                          <a:moveTo>
                            <a:pt x="3626" y="1513"/>
                          </a:moveTo>
                          <a:lnTo>
                            <a:pt x="3626" y="1513"/>
                          </a:lnTo>
                          <a:lnTo>
                            <a:pt x="4084" y="1513"/>
                          </a:lnTo>
                          <a:cubicBezTo>
                            <a:pt x="4191" y="1513"/>
                            <a:pt x="4277" y="1426"/>
                            <a:pt x="4277" y="1320"/>
                          </a:cubicBezTo>
                          <a:lnTo>
                            <a:pt x="4277" y="861"/>
                          </a:lnTo>
                          <a:cubicBezTo>
                            <a:pt x="4277" y="754"/>
                            <a:pt x="4191" y="668"/>
                            <a:pt x="4084" y="668"/>
                          </a:cubicBezTo>
                          <a:lnTo>
                            <a:pt x="3626" y="668"/>
                          </a:lnTo>
                          <a:cubicBezTo>
                            <a:pt x="3519" y="668"/>
                            <a:pt x="3433" y="754"/>
                            <a:pt x="3433" y="861"/>
                          </a:cubicBezTo>
                          <a:lnTo>
                            <a:pt x="3433" y="1320"/>
                          </a:lnTo>
                          <a:cubicBezTo>
                            <a:pt x="3433" y="1426"/>
                            <a:pt x="3519" y="1513"/>
                            <a:pt x="3626" y="1513"/>
                          </a:cubicBezTo>
                          <a:lnTo>
                            <a:pt x="3626" y="1513"/>
                          </a:lnTo>
                          <a:close/>
                          <a:moveTo>
                            <a:pt x="2490" y="861"/>
                          </a:moveTo>
                          <a:lnTo>
                            <a:pt x="2490" y="861"/>
                          </a:lnTo>
                          <a:cubicBezTo>
                            <a:pt x="2490" y="828"/>
                            <a:pt x="2517" y="802"/>
                            <a:pt x="2550" y="802"/>
                          </a:cubicBezTo>
                          <a:lnTo>
                            <a:pt x="3008" y="802"/>
                          </a:lnTo>
                          <a:cubicBezTo>
                            <a:pt x="3041" y="802"/>
                            <a:pt x="3068" y="828"/>
                            <a:pt x="3068" y="861"/>
                          </a:cubicBezTo>
                          <a:lnTo>
                            <a:pt x="3068" y="1320"/>
                          </a:lnTo>
                          <a:cubicBezTo>
                            <a:pt x="3068" y="1352"/>
                            <a:pt x="3041" y="1379"/>
                            <a:pt x="3008" y="1379"/>
                          </a:cubicBezTo>
                          <a:lnTo>
                            <a:pt x="2550" y="1379"/>
                          </a:lnTo>
                          <a:cubicBezTo>
                            <a:pt x="2517" y="1379"/>
                            <a:pt x="2490" y="1352"/>
                            <a:pt x="2490" y="1320"/>
                          </a:cubicBezTo>
                          <a:lnTo>
                            <a:pt x="2490" y="861"/>
                          </a:lnTo>
                          <a:lnTo>
                            <a:pt x="2490" y="861"/>
                          </a:lnTo>
                          <a:close/>
                          <a:moveTo>
                            <a:pt x="2550" y="1513"/>
                          </a:moveTo>
                          <a:lnTo>
                            <a:pt x="2550" y="1513"/>
                          </a:lnTo>
                          <a:lnTo>
                            <a:pt x="3008" y="1513"/>
                          </a:lnTo>
                          <a:cubicBezTo>
                            <a:pt x="3115" y="1513"/>
                            <a:pt x="3201" y="1426"/>
                            <a:pt x="3201" y="1320"/>
                          </a:cubicBezTo>
                          <a:lnTo>
                            <a:pt x="3201" y="861"/>
                          </a:lnTo>
                          <a:cubicBezTo>
                            <a:pt x="3201" y="754"/>
                            <a:pt x="3115" y="668"/>
                            <a:pt x="3008" y="668"/>
                          </a:cubicBezTo>
                          <a:lnTo>
                            <a:pt x="2550" y="668"/>
                          </a:lnTo>
                          <a:cubicBezTo>
                            <a:pt x="2443" y="668"/>
                            <a:pt x="2357" y="754"/>
                            <a:pt x="2357" y="861"/>
                          </a:cubicBezTo>
                          <a:lnTo>
                            <a:pt x="2357" y="1320"/>
                          </a:lnTo>
                          <a:cubicBezTo>
                            <a:pt x="2357" y="1426"/>
                            <a:pt x="2443" y="1513"/>
                            <a:pt x="2550" y="1513"/>
                          </a:cubicBezTo>
                          <a:lnTo>
                            <a:pt x="2550" y="1513"/>
                          </a:lnTo>
                          <a:close/>
                          <a:moveTo>
                            <a:pt x="1414" y="861"/>
                          </a:moveTo>
                          <a:lnTo>
                            <a:pt x="1414" y="861"/>
                          </a:lnTo>
                          <a:cubicBezTo>
                            <a:pt x="1414" y="828"/>
                            <a:pt x="1441" y="802"/>
                            <a:pt x="1474" y="802"/>
                          </a:cubicBezTo>
                          <a:lnTo>
                            <a:pt x="1932" y="802"/>
                          </a:lnTo>
                          <a:cubicBezTo>
                            <a:pt x="1965" y="802"/>
                            <a:pt x="1992" y="828"/>
                            <a:pt x="1992" y="861"/>
                          </a:cubicBezTo>
                          <a:lnTo>
                            <a:pt x="1992" y="1320"/>
                          </a:lnTo>
                          <a:cubicBezTo>
                            <a:pt x="1992" y="1352"/>
                            <a:pt x="1965" y="1379"/>
                            <a:pt x="1932" y="1379"/>
                          </a:cubicBezTo>
                          <a:lnTo>
                            <a:pt x="1474" y="1379"/>
                          </a:lnTo>
                          <a:cubicBezTo>
                            <a:pt x="1441" y="1379"/>
                            <a:pt x="1414" y="1352"/>
                            <a:pt x="1414" y="1320"/>
                          </a:cubicBezTo>
                          <a:lnTo>
                            <a:pt x="1414" y="861"/>
                          </a:lnTo>
                          <a:lnTo>
                            <a:pt x="1414" y="861"/>
                          </a:lnTo>
                          <a:close/>
                          <a:moveTo>
                            <a:pt x="1474" y="1513"/>
                          </a:moveTo>
                          <a:lnTo>
                            <a:pt x="1474" y="1513"/>
                          </a:lnTo>
                          <a:lnTo>
                            <a:pt x="1932" y="1513"/>
                          </a:lnTo>
                          <a:cubicBezTo>
                            <a:pt x="2039" y="1513"/>
                            <a:pt x="2125" y="1426"/>
                            <a:pt x="2125" y="1320"/>
                          </a:cubicBezTo>
                          <a:lnTo>
                            <a:pt x="2125" y="861"/>
                          </a:lnTo>
                          <a:cubicBezTo>
                            <a:pt x="2125" y="754"/>
                            <a:pt x="2039" y="668"/>
                            <a:pt x="1932" y="668"/>
                          </a:cubicBezTo>
                          <a:lnTo>
                            <a:pt x="1474" y="668"/>
                          </a:lnTo>
                          <a:cubicBezTo>
                            <a:pt x="1367" y="668"/>
                            <a:pt x="1281" y="754"/>
                            <a:pt x="1281" y="861"/>
                          </a:cubicBezTo>
                          <a:lnTo>
                            <a:pt x="1281" y="1320"/>
                          </a:lnTo>
                          <a:cubicBezTo>
                            <a:pt x="1281" y="1426"/>
                            <a:pt x="1367" y="1513"/>
                            <a:pt x="1474" y="1513"/>
                          </a:cubicBezTo>
                          <a:lnTo>
                            <a:pt x="1474" y="1513"/>
                          </a:lnTo>
                          <a:close/>
                          <a:moveTo>
                            <a:pt x="135" y="4480"/>
                          </a:moveTo>
                          <a:lnTo>
                            <a:pt x="135" y="4480"/>
                          </a:lnTo>
                          <a:lnTo>
                            <a:pt x="135" y="329"/>
                          </a:lnTo>
                          <a:cubicBezTo>
                            <a:pt x="141" y="233"/>
                            <a:pt x="221" y="156"/>
                            <a:pt x="318" y="156"/>
                          </a:cubicBezTo>
                          <a:lnTo>
                            <a:pt x="4456" y="156"/>
                          </a:lnTo>
                          <a:cubicBezTo>
                            <a:pt x="4558" y="156"/>
                            <a:pt x="4641" y="239"/>
                            <a:pt x="4641" y="341"/>
                          </a:cubicBezTo>
                          <a:lnTo>
                            <a:pt x="4641" y="4479"/>
                          </a:lnTo>
                          <a:cubicBezTo>
                            <a:pt x="4641" y="4581"/>
                            <a:pt x="4558" y="4664"/>
                            <a:pt x="4456" y="4664"/>
                          </a:cubicBezTo>
                          <a:lnTo>
                            <a:pt x="318" y="4664"/>
                          </a:lnTo>
                          <a:cubicBezTo>
                            <a:pt x="293" y="4664"/>
                            <a:pt x="269" y="4659"/>
                            <a:pt x="247" y="4650"/>
                          </a:cubicBezTo>
                          <a:cubicBezTo>
                            <a:pt x="181" y="4621"/>
                            <a:pt x="135" y="4556"/>
                            <a:pt x="135" y="4480"/>
                          </a:cubicBezTo>
                          <a:lnTo>
                            <a:pt x="135" y="4480"/>
                          </a:lnTo>
                          <a:close/>
                          <a:moveTo>
                            <a:pt x="4469" y="0"/>
                          </a:moveTo>
                          <a:lnTo>
                            <a:pt x="4469" y="0"/>
                          </a:lnTo>
                          <a:lnTo>
                            <a:pt x="320" y="0"/>
                          </a:lnTo>
                          <a:cubicBezTo>
                            <a:pt x="144" y="0"/>
                            <a:pt x="1" y="142"/>
                            <a:pt x="1" y="317"/>
                          </a:cubicBezTo>
                          <a:lnTo>
                            <a:pt x="1" y="329"/>
                          </a:lnTo>
                          <a:cubicBezTo>
                            <a:pt x="1" y="333"/>
                            <a:pt x="0" y="337"/>
                            <a:pt x="0" y="341"/>
                          </a:cubicBezTo>
                          <a:lnTo>
                            <a:pt x="0" y="4479"/>
                          </a:lnTo>
                          <a:cubicBezTo>
                            <a:pt x="0" y="4611"/>
                            <a:pt x="80" y="4725"/>
                            <a:pt x="195" y="4773"/>
                          </a:cubicBezTo>
                          <a:cubicBezTo>
                            <a:pt x="233" y="4789"/>
                            <a:pt x="275" y="4799"/>
                            <a:pt x="320" y="4799"/>
                          </a:cubicBezTo>
                          <a:lnTo>
                            <a:pt x="4469" y="4799"/>
                          </a:lnTo>
                          <a:cubicBezTo>
                            <a:pt x="4645" y="4799"/>
                            <a:pt x="4788" y="4655"/>
                            <a:pt x="4788" y="4480"/>
                          </a:cubicBezTo>
                          <a:lnTo>
                            <a:pt x="4788" y="317"/>
                          </a:lnTo>
                          <a:cubicBezTo>
                            <a:pt x="4788" y="142"/>
                            <a:pt x="4645" y="0"/>
                            <a:pt x="4469" y="0"/>
                          </a:cubicBezTo>
                          <a:close/>
                        </a:path>
                      </a:pathLst>
                    </a:custGeom>
                    <a:solidFill>
                      <a:schemeClr val="accent5"/>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nvGrpSpPr>
                    <p:cNvPr id="106" name="Group 105">
                      <a:extLst>
                        <a:ext uri="{FF2B5EF4-FFF2-40B4-BE49-F238E27FC236}">
                          <a16:creationId xmlns:a16="http://schemas.microsoft.com/office/drawing/2014/main" id="{D44284EF-C2CE-36F8-2598-A784DA8909C7}"/>
                        </a:ext>
                      </a:extLst>
                    </p:cNvPr>
                    <p:cNvGrpSpPr>
                      <a:grpSpLocks noChangeAspect="1"/>
                    </p:cNvGrpSpPr>
                    <p:nvPr/>
                  </p:nvGrpSpPr>
                  <p:grpSpPr>
                    <a:xfrm>
                      <a:off x="5182817" y="8809152"/>
                      <a:ext cx="718412" cy="709066"/>
                      <a:chOff x="5684840" y="2647950"/>
                      <a:chExt cx="1709738" cy="1687513"/>
                    </a:xfrm>
                    <a:solidFill>
                      <a:schemeClr val="accent5"/>
                    </a:solidFill>
                  </p:grpSpPr>
                  <p:sp>
                    <p:nvSpPr>
                      <p:cNvPr id="107" name="Freeform 16">
                        <a:extLst>
                          <a:ext uri="{FF2B5EF4-FFF2-40B4-BE49-F238E27FC236}">
                            <a16:creationId xmlns:a16="http://schemas.microsoft.com/office/drawing/2014/main" id="{F6ED07BF-199A-8349-D138-9C66BA5133A0}"/>
                          </a:ext>
                        </a:extLst>
                      </p:cNvPr>
                      <p:cNvSpPr>
                        <a:spLocks/>
                      </p:cNvSpPr>
                      <p:nvPr/>
                    </p:nvSpPr>
                    <p:spPr bwMode="auto">
                      <a:xfrm>
                        <a:off x="6586540" y="3268663"/>
                        <a:ext cx="31750" cy="30163"/>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19"/>
                              <a:pt x="0" y="43"/>
                            </a:cubicBezTo>
                            <a:cubicBezTo>
                              <a:pt x="0" y="67"/>
                              <a:pt x="19" y="86"/>
                              <a:pt x="43" y="86"/>
                            </a:cubicBezTo>
                            <a:cubicBezTo>
                              <a:pt x="67" y="86"/>
                              <a:pt x="86" y="67"/>
                              <a:pt x="86" y="43"/>
                            </a:cubicBezTo>
                            <a:cubicBezTo>
                              <a:pt x="86" y="19"/>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08" name="Freeform 17">
                        <a:extLst>
                          <a:ext uri="{FF2B5EF4-FFF2-40B4-BE49-F238E27FC236}">
                            <a16:creationId xmlns:a16="http://schemas.microsoft.com/office/drawing/2014/main" id="{2A978342-1BC1-0E6F-C138-17AEE197FC97}"/>
                          </a:ext>
                        </a:extLst>
                      </p:cNvPr>
                      <p:cNvSpPr>
                        <a:spLocks noEditPoints="1"/>
                      </p:cNvSpPr>
                      <p:nvPr/>
                    </p:nvSpPr>
                    <p:spPr bwMode="auto">
                      <a:xfrm>
                        <a:off x="6230940" y="3025775"/>
                        <a:ext cx="611188" cy="814388"/>
                      </a:xfrm>
                      <a:custGeom>
                        <a:avLst/>
                        <a:gdLst>
                          <a:gd name="T0" fmla="*/ 469 w 1685"/>
                          <a:gd name="T1" fmla="*/ 1458 h 2251"/>
                          <a:gd name="T2" fmla="*/ 552 w 1685"/>
                          <a:gd name="T3" fmla="*/ 1446 h 2251"/>
                          <a:gd name="T4" fmla="*/ 781 w 1685"/>
                          <a:gd name="T5" fmla="*/ 2171 h 2251"/>
                          <a:gd name="T6" fmla="*/ 97 w 1685"/>
                          <a:gd name="T7" fmla="*/ 1977 h 2251"/>
                          <a:gd name="T8" fmla="*/ 469 w 1685"/>
                          <a:gd name="T9" fmla="*/ 1458 h 2251"/>
                          <a:gd name="T10" fmla="*/ 347 w 1685"/>
                          <a:gd name="T11" fmla="*/ 417 h 2251"/>
                          <a:gd name="T12" fmla="*/ 1002 w 1685"/>
                          <a:gd name="T13" fmla="*/ 164 h 2251"/>
                          <a:gd name="T14" fmla="*/ 1216 w 1685"/>
                          <a:gd name="T15" fmla="*/ 187 h 2251"/>
                          <a:gd name="T16" fmla="*/ 1218 w 1685"/>
                          <a:gd name="T17" fmla="*/ 1186 h 2251"/>
                          <a:gd name="T18" fmla="*/ 1287 w 1685"/>
                          <a:gd name="T19" fmla="*/ 735 h 2251"/>
                          <a:gd name="T20" fmla="*/ 986 w 1685"/>
                          <a:gd name="T21" fmla="*/ 377 h 2251"/>
                          <a:gd name="T22" fmla="*/ 275 w 1685"/>
                          <a:gd name="T23" fmla="*/ 895 h 2251"/>
                          <a:gd name="T24" fmla="*/ 416 w 1685"/>
                          <a:gd name="T25" fmla="*/ 952 h 2251"/>
                          <a:gd name="T26" fmla="*/ 400 w 1685"/>
                          <a:gd name="T27" fmla="*/ 1314 h 2251"/>
                          <a:gd name="T28" fmla="*/ 1605 w 1685"/>
                          <a:gd name="T29" fmla="*/ 1816 h 2251"/>
                          <a:gd name="T30" fmla="*/ 1605 w 1685"/>
                          <a:gd name="T31" fmla="*/ 1977 h 2251"/>
                          <a:gd name="T32" fmla="*/ 861 w 1685"/>
                          <a:gd name="T33" fmla="*/ 2171 h 2251"/>
                          <a:gd name="T34" fmla="*/ 1153 w 1685"/>
                          <a:gd name="T35" fmla="*/ 1446 h 2251"/>
                          <a:gd name="T36" fmla="*/ 1232 w 1685"/>
                          <a:gd name="T37" fmla="*/ 1458 h 2251"/>
                          <a:gd name="T38" fmla="*/ 646 w 1685"/>
                          <a:gd name="T39" fmla="*/ 1341 h 2251"/>
                          <a:gd name="T40" fmla="*/ 841 w 1685"/>
                          <a:gd name="T41" fmla="*/ 1425 h 2251"/>
                          <a:gd name="T42" fmla="*/ 1097 w 1685"/>
                          <a:gd name="T43" fmla="*/ 1362 h 2251"/>
                          <a:gd name="T44" fmla="*/ 1089 w 1685"/>
                          <a:gd name="T45" fmla="*/ 1391 h 2251"/>
                          <a:gd name="T46" fmla="*/ 617 w 1685"/>
                          <a:gd name="T47" fmla="*/ 1393 h 2251"/>
                          <a:gd name="T48" fmla="*/ 646 w 1685"/>
                          <a:gd name="T49" fmla="*/ 1341 h 2251"/>
                          <a:gd name="T50" fmla="*/ 1004 w 1685"/>
                          <a:gd name="T51" fmla="*/ 1278 h 2251"/>
                          <a:gd name="T52" fmla="*/ 902 w 1685"/>
                          <a:gd name="T53" fmla="*/ 1345 h 2251"/>
                          <a:gd name="T54" fmla="*/ 683 w 1685"/>
                          <a:gd name="T55" fmla="*/ 1269 h 2251"/>
                          <a:gd name="T56" fmla="*/ 670 w 1685"/>
                          <a:gd name="T57" fmla="*/ 1256 h 2251"/>
                          <a:gd name="T58" fmla="*/ 497 w 1685"/>
                          <a:gd name="T59" fmla="*/ 928 h 2251"/>
                          <a:gd name="T60" fmla="*/ 1208 w 1685"/>
                          <a:gd name="T61" fmla="*/ 749 h 2251"/>
                          <a:gd name="T62" fmla="*/ 17 w 1685"/>
                          <a:gd name="T63" fmla="*/ 1816 h 2251"/>
                          <a:gd name="T64" fmla="*/ 17 w 1685"/>
                          <a:gd name="T65" fmla="*/ 1977 h 2251"/>
                          <a:gd name="T66" fmla="*/ 818 w 1685"/>
                          <a:gd name="T67" fmla="*/ 2251 h 2251"/>
                          <a:gd name="T68" fmla="*/ 823 w 1685"/>
                          <a:gd name="T69" fmla="*/ 2251 h 2251"/>
                          <a:gd name="T70" fmla="*/ 1685 w 1685"/>
                          <a:gd name="T71" fmla="*/ 1977 h 2251"/>
                          <a:gd name="T72" fmla="*/ 1258 w 1685"/>
                          <a:gd name="T73" fmla="*/ 1382 h 2251"/>
                          <a:gd name="T74" fmla="*/ 1170 w 1685"/>
                          <a:gd name="T75" fmla="*/ 1338 h 2251"/>
                          <a:gd name="T76" fmla="*/ 1256 w 1685"/>
                          <a:gd name="T77" fmla="*/ 1256 h 2251"/>
                          <a:gd name="T78" fmla="*/ 1264 w 1685"/>
                          <a:gd name="T79" fmla="*/ 123 h 2251"/>
                          <a:gd name="T80" fmla="*/ 633 w 1685"/>
                          <a:gd name="T81" fmla="*/ 54 h 2251"/>
                          <a:gd name="T82" fmla="*/ 340 w 1685"/>
                          <a:gd name="T83" fmla="*/ 1367 h 2251"/>
                          <a:gd name="T84" fmla="*/ 395 w 1685"/>
                          <a:gd name="T85" fmla="*/ 1399 h 2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85" h="2251">
                            <a:moveTo>
                              <a:pt x="469" y="1458"/>
                            </a:moveTo>
                            <a:lnTo>
                              <a:pt x="469" y="1458"/>
                            </a:lnTo>
                            <a:cubicBezTo>
                              <a:pt x="485" y="1452"/>
                              <a:pt x="509" y="1448"/>
                              <a:pt x="538" y="1447"/>
                            </a:cubicBezTo>
                            <a:cubicBezTo>
                              <a:pt x="543" y="1447"/>
                              <a:pt x="547" y="1446"/>
                              <a:pt x="552" y="1446"/>
                            </a:cubicBezTo>
                            <a:cubicBezTo>
                              <a:pt x="594" y="1542"/>
                              <a:pt x="680" y="1611"/>
                              <a:pt x="781" y="1634"/>
                            </a:cubicBezTo>
                            <a:lnTo>
                              <a:pt x="781" y="2171"/>
                            </a:lnTo>
                            <a:lnTo>
                              <a:pt x="291" y="2171"/>
                            </a:lnTo>
                            <a:cubicBezTo>
                              <a:pt x="184" y="2171"/>
                              <a:pt x="97" y="2084"/>
                              <a:pt x="97" y="1977"/>
                            </a:cubicBezTo>
                            <a:lnTo>
                              <a:pt x="97" y="1816"/>
                            </a:lnTo>
                            <a:cubicBezTo>
                              <a:pt x="98" y="1653"/>
                              <a:pt x="206" y="1549"/>
                              <a:pt x="469" y="1458"/>
                            </a:cubicBezTo>
                            <a:close/>
                            <a:moveTo>
                              <a:pt x="347" y="417"/>
                            </a:moveTo>
                            <a:lnTo>
                              <a:pt x="347" y="417"/>
                            </a:lnTo>
                            <a:cubicBezTo>
                              <a:pt x="427" y="265"/>
                              <a:pt x="531" y="168"/>
                              <a:pt x="655" y="131"/>
                            </a:cubicBezTo>
                            <a:cubicBezTo>
                              <a:pt x="835" y="76"/>
                              <a:pt x="1000" y="163"/>
                              <a:pt x="1002" y="164"/>
                            </a:cubicBezTo>
                            <a:cubicBezTo>
                              <a:pt x="1013" y="170"/>
                              <a:pt x="1027" y="170"/>
                              <a:pt x="1039" y="164"/>
                            </a:cubicBezTo>
                            <a:cubicBezTo>
                              <a:pt x="1099" y="134"/>
                              <a:pt x="1157" y="142"/>
                              <a:pt x="1216" y="187"/>
                            </a:cubicBezTo>
                            <a:cubicBezTo>
                              <a:pt x="1372" y="305"/>
                              <a:pt x="1490" y="668"/>
                              <a:pt x="1446" y="893"/>
                            </a:cubicBezTo>
                            <a:cubicBezTo>
                              <a:pt x="1422" y="1012"/>
                              <a:pt x="1345" y="1111"/>
                              <a:pt x="1218" y="1186"/>
                            </a:cubicBezTo>
                            <a:cubicBezTo>
                              <a:pt x="1194" y="1200"/>
                              <a:pt x="1170" y="1211"/>
                              <a:pt x="1148" y="1221"/>
                            </a:cubicBezTo>
                            <a:cubicBezTo>
                              <a:pt x="1266" y="1052"/>
                              <a:pt x="1312" y="888"/>
                              <a:pt x="1287" y="735"/>
                            </a:cubicBezTo>
                            <a:cubicBezTo>
                              <a:pt x="1248" y="495"/>
                              <a:pt x="1047" y="372"/>
                              <a:pt x="1038" y="367"/>
                            </a:cubicBezTo>
                            <a:cubicBezTo>
                              <a:pt x="1021" y="356"/>
                              <a:pt x="998" y="361"/>
                              <a:pt x="986" y="377"/>
                            </a:cubicBezTo>
                            <a:cubicBezTo>
                              <a:pt x="563" y="943"/>
                              <a:pt x="332" y="875"/>
                              <a:pt x="326" y="873"/>
                            </a:cubicBezTo>
                            <a:cubicBezTo>
                              <a:pt x="306" y="865"/>
                              <a:pt x="283" y="875"/>
                              <a:pt x="275" y="895"/>
                            </a:cubicBezTo>
                            <a:cubicBezTo>
                              <a:pt x="267" y="915"/>
                              <a:pt x="276" y="938"/>
                              <a:pt x="297" y="947"/>
                            </a:cubicBezTo>
                            <a:cubicBezTo>
                              <a:pt x="307" y="951"/>
                              <a:pt x="347" y="965"/>
                              <a:pt x="416" y="952"/>
                            </a:cubicBezTo>
                            <a:cubicBezTo>
                              <a:pt x="415" y="1105"/>
                              <a:pt x="528" y="1233"/>
                              <a:pt x="585" y="1288"/>
                            </a:cubicBezTo>
                            <a:cubicBezTo>
                              <a:pt x="498" y="1366"/>
                              <a:pt x="421" y="1327"/>
                              <a:pt x="400" y="1314"/>
                            </a:cubicBezTo>
                            <a:cubicBezTo>
                              <a:pt x="366" y="1265"/>
                              <a:pt x="109" y="869"/>
                              <a:pt x="347" y="417"/>
                            </a:cubicBezTo>
                            <a:close/>
                            <a:moveTo>
                              <a:pt x="1605" y="1816"/>
                            </a:moveTo>
                            <a:lnTo>
                              <a:pt x="1605" y="1816"/>
                            </a:lnTo>
                            <a:lnTo>
                              <a:pt x="1605" y="1977"/>
                            </a:lnTo>
                            <a:cubicBezTo>
                              <a:pt x="1605" y="2084"/>
                              <a:pt x="1517" y="2171"/>
                              <a:pt x="1410" y="2171"/>
                            </a:cubicBezTo>
                            <a:lnTo>
                              <a:pt x="861" y="2171"/>
                            </a:lnTo>
                            <a:lnTo>
                              <a:pt x="861" y="1641"/>
                            </a:lnTo>
                            <a:cubicBezTo>
                              <a:pt x="986" y="1637"/>
                              <a:pt x="1102" y="1559"/>
                              <a:pt x="1153" y="1446"/>
                            </a:cubicBezTo>
                            <a:cubicBezTo>
                              <a:pt x="1156" y="1446"/>
                              <a:pt x="1160" y="1447"/>
                              <a:pt x="1165" y="1447"/>
                            </a:cubicBezTo>
                            <a:cubicBezTo>
                              <a:pt x="1193" y="1448"/>
                              <a:pt x="1216" y="1452"/>
                              <a:pt x="1232" y="1458"/>
                            </a:cubicBezTo>
                            <a:cubicBezTo>
                              <a:pt x="1495" y="1549"/>
                              <a:pt x="1603" y="1653"/>
                              <a:pt x="1605" y="1816"/>
                            </a:cubicBezTo>
                            <a:close/>
                            <a:moveTo>
                              <a:pt x="646" y="1341"/>
                            </a:moveTo>
                            <a:lnTo>
                              <a:pt x="646" y="1341"/>
                            </a:lnTo>
                            <a:cubicBezTo>
                              <a:pt x="699" y="1383"/>
                              <a:pt x="767" y="1425"/>
                              <a:pt x="841" y="1425"/>
                            </a:cubicBezTo>
                            <a:lnTo>
                              <a:pt x="902" y="1425"/>
                            </a:lnTo>
                            <a:cubicBezTo>
                              <a:pt x="968" y="1425"/>
                              <a:pt x="1033" y="1404"/>
                              <a:pt x="1097" y="1362"/>
                            </a:cubicBezTo>
                            <a:cubicBezTo>
                              <a:pt x="1097" y="1363"/>
                              <a:pt x="1097" y="1363"/>
                              <a:pt x="1098" y="1364"/>
                            </a:cubicBezTo>
                            <a:lnTo>
                              <a:pt x="1089" y="1391"/>
                            </a:lnTo>
                            <a:cubicBezTo>
                              <a:pt x="1055" y="1491"/>
                              <a:pt x="957" y="1561"/>
                              <a:pt x="851" y="1562"/>
                            </a:cubicBezTo>
                            <a:cubicBezTo>
                              <a:pt x="745" y="1561"/>
                              <a:pt x="651" y="1493"/>
                              <a:pt x="617" y="1393"/>
                            </a:cubicBezTo>
                            <a:lnTo>
                              <a:pt x="610" y="1371"/>
                            </a:lnTo>
                            <a:cubicBezTo>
                              <a:pt x="622" y="1363"/>
                              <a:pt x="634" y="1353"/>
                              <a:pt x="646" y="1341"/>
                            </a:cubicBezTo>
                            <a:close/>
                            <a:moveTo>
                              <a:pt x="1004" y="1278"/>
                            </a:moveTo>
                            <a:lnTo>
                              <a:pt x="1004" y="1278"/>
                            </a:lnTo>
                            <a:cubicBezTo>
                              <a:pt x="993" y="1291"/>
                              <a:pt x="991" y="1309"/>
                              <a:pt x="1000" y="1324"/>
                            </a:cubicBezTo>
                            <a:cubicBezTo>
                              <a:pt x="967" y="1338"/>
                              <a:pt x="935" y="1345"/>
                              <a:pt x="902" y="1345"/>
                            </a:cubicBezTo>
                            <a:lnTo>
                              <a:pt x="841" y="1345"/>
                            </a:lnTo>
                            <a:cubicBezTo>
                              <a:pt x="786" y="1345"/>
                              <a:pt x="728" y="1305"/>
                              <a:pt x="683" y="1269"/>
                            </a:cubicBezTo>
                            <a:lnTo>
                              <a:pt x="671" y="1257"/>
                            </a:lnTo>
                            <a:cubicBezTo>
                              <a:pt x="671" y="1257"/>
                              <a:pt x="670" y="1257"/>
                              <a:pt x="670" y="1256"/>
                            </a:cubicBezTo>
                            <a:cubicBezTo>
                              <a:pt x="669" y="1256"/>
                              <a:pt x="669" y="1255"/>
                              <a:pt x="668" y="1255"/>
                            </a:cubicBezTo>
                            <a:cubicBezTo>
                              <a:pt x="666" y="1253"/>
                              <a:pt x="477" y="1100"/>
                              <a:pt x="497" y="928"/>
                            </a:cubicBezTo>
                            <a:cubicBezTo>
                              <a:pt x="621" y="879"/>
                              <a:pt x="798" y="754"/>
                              <a:pt x="1026" y="456"/>
                            </a:cubicBezTo>
                            <a:cubicBezTo>
                              <a:pt x="1078" y="497"/>
                              <a:pt x="1184" y="597"/>
                              <a:pt x="1208" y="749"/>
                            </a:cubicBezTo>
                            <a:cubicBezTo>
                              <a:pt x="1234" y="910"/>
                              <a:pt x="1166" y="1088"/>
                              <a:pt x="1004" y="1278"/>
                            </a:cubicBezTo>
                            <a:close/>
                            <a:moveTo>
                              <a:pt x="17" y="1816"/>
                            </a:moveTo>
                            <a:lnTo>
                              <a:pt x="17" y="1816"/>
                            </a:lnTo>
                            <a:lnTo>
                              <a:pt x="17" y="1977"/>
                            </a:lnTo>
                            <a:cubicBezTo>
                              <a:pt x="17" y="2128"/>
                              <a:pt x="140" y="2251"/>
                              <a:pt x="291" y="2251"/>
                            </a:cubicBezTo>
                            <a:lnTo>
                              <a:pt x="818" y="2251"/>
                            </a:lnTo>
                            <a:cubicBezTo>
                              <a:pt x="819" y="2251"/>
                              <a:pt x="820" y="2251"/>
                              <a:pt x="821" y="2251"/>
                            </a:cubicBezTo>
                            <a:cubicBezTo>
                              <a:pt x="822" y="2251"/>
                              <a:pt x="823" y="2251"/>
                              <a:pt x="823" y="2251"/>
                            </a:cubicBezTo>
                            <a:lnTo>
                              <a:pt x="1410" y="2251"/>
                            </a:lnTo>
                            <a:cubicBezTo>
                              <a:pt x="1561" y="2251"/>
                              <a:pt x="1685" y="2128"/>
                              <a:pt x="1685" y="1977"/>
                            </a:cubicBezTo>
                            <a:lnTo>
                              <a:pt x="1685" y="1815"/>
                            </a:lnTo>
                            <a:cubicBezTo>
                              <a:pt x="1682" y="1563"/>
                              <a:pt x="1468" y="1455"/>
                              <a:pt x="1258" y="1382"/>
                            </a:cubicBezTo>
                            <a:cubicBezTo>
                              <a:pt x="1246" y="1378"/>
                              <a:pt x="1231" y="1374"/>
                              <a:pt x="1215" y="1372"/>
                            </a:cubicBezTo>
                            <a:cubicBezTo>
                              <a:pt x="1196" y="1365"/>
                              <a:pt x="1175" y="1354"/>
                              <a:pt x="1170" y="1338"/>
                            </a:cubicBezTo>
                            <a:cubicBezTo>
                              <a:pt x="1166" y="1324"/>
                              <a:pt x="1172" y="1307"/>
                              <a:pt x="1178" y="1296"/>
                            </a:cubicBezTo>
                            <a:cubicBezTo>
                              <a:pt x="1203" y="1285"/>
                              <a:pt x="1229" y="1271"/>
                              <a:pt x="1256" y="1256"/>
                            </a:cubicBezTo>
                            <a:cubicBezTo>
                              <a:pt x="1403" y="1170"/>
                              <a:pt x="1496" y="1050"/>
                              <a:pt x="1524" y="908"/>
                            </a:cubicBezTo>
                            <a:cubicBezTo>
                              <a:pt x="1570" y="677"/>
                              <a:pt x="1464" y="275"/>
                              <a:pt x="1264" y="123"/>
                            </a:cubicBezTo>
                            <a:cubicBezTo>
                              <a:pt x="1186" y="64"/>
                              <a:pt x="1103" y="51"/>
                              <a:pt x="1021" y="84"/>
                            </a:cubicBezTo>
                            <a:cubicBezTo>
                              <a:pt x="968" y="60"/>
                              <a:pt x="809" y="0"/>
                              <a:pt x="633" y="54"/>
                            </a:cubicBezTo>
                            <a:cubicBezTo>
                              <a:pt x="487" y="98"/>
                              <a:pt x="367" y="207"/>
                              <a:pt x="277" y="380"/>
                            </a:cubicBezTo>
                            <a:cubicBezTo>
                              <a:pt x="0" y="905"/>
                              <a:pt x="336" y="1363"/>
                              <a:pt x="340" y="1367"/>
                            </a:cubicBezTo>
                            <a:cubicBezTo>
                              <a:pt x="342" y="1370"/>
                              <a:pt x="345" y="1373"/>
                              <a:pt x="348" y="1375"/>
                            </a:cubicBezTo>
                            <a:cubicBezTo>
                              <a:pt x="348" y="1376"/>
                              <a:pt x="366" y="1388"/>
                              <a:pt x="395" y="1399"/>
                            </a:cubicBezTo>
                            <a:cubicBezTo>
                              <a:pt x="202" y="1472"/>
                              <a:pt x="19" y="1582"/>
                              <a:pt x="17" y="1816"/>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09" name="Freeform 18">
                        <a:extLst>
                          <a:ext uri="{FF2B5EF4-FFF2-40B4-BE49-F238E27FC236}">
                            <a16:creationId xmlns:a16="http://schemas.microsoft.com/office/drawing/2014/main" id="{41ED12B4-EACD-F1AB-8358-DCEF04558F38}"/>
                          </a:ext>
                        </a:extLst>
                      </p:cNvPr>
                      <p:cNvSpPr>
                        <a:spLocks/>
                      </p:cNvSpPr>
                      <p:nvPr/>
                    </p:nvSpPr>
                    <p:spPr bwMode="auto">
                      <a:xfrm>
                        <a:off x="6557965" y="3635375"/>
                        <a:ext cx="30163" cy="31750"/>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20"/>
                              <a:pt x="0" y="43"/>
                            </a:cubicBezTo>
                            <a:cubicBezTo>
                              <a:pt x="0" y="67"/>
                              <a:pt x="19" y="86"/>
                              <a:pt x="43" y="86"/>
                            </a:cubicBezTo>
                            <a:cubicBezTo>
                              <a:pt x="67" y="86"/>
                              <a:pt x="86" y="67"/>
                              <a:pt x="86" y="43"/>
                            </a:cubicBezTo>
                            <a:cubicBezTo>
                              <a:pt x="86" y="20"/>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10" name="Freeform 19">
                        <a:extLst>
                          <a:ext uri="{FF2B5EF4-FFF2-40B4-BE49-F238E27FC236}">
                            <a16:creationId xmlns:a16="http://schemas.microsoft.com/office/drawing/2014/main" id="{D16AB2A0-951D-20A8-C88B-7897B8A2B546}"/>
                          </a:ext>
                        </a:extLst>
                      </p:cNvPr>
                      <p:cNvSpPr>
                        <a:spLocks/>
                      </p:cNvSpPr>
                      <p:nvPr/>
                    </p:nvSpPr>
                    <p:spPr bwMode="auto">
                      <a:xfrm>
                        <a:off x="6557965" y="3698875"/>
                        <a:ext cx="30163" cy="31750"/>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19"/>
                              <a:pt x="0" y="43"/>
                            </a:cubicBezTo>
                            <a:cubicBezTo>
                              <a:pt x="0" y="67"/>
                              <a:pt x="19" y="86"/>
                              <a:pt x="43" y="86"/>
                            </a:cubicBezTo>
                            <a:cubicBezTo>
                              <a:pt x="67" y="86"/>
                              <a:pt x="86" y="67"/>
                              <a:pt x="86" y="43"/>
                            </a:cubicBezTo>
                            <a:cubicBezTo>
                              <a:pt x="86" y="19"/>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11" name="Freeform 20">
                        <a:extLst>
                          <a:ext uri="{FF2B5EF4-FFF2-40B4-BE49-F238E27FC236}">
                            <a16:creationId xmlns:a16="http://schemas.microsoft.com/office/drawing/2014/main" id="{30AFC358-D1DB-D7AA-73FD-31D2116A388C}"/>
                          </a:ext>
                        </a:extLst>
                      </p:cNvPr>
                      <p:cNvSpPr>
                        <a:spLocks/>
                      </p:cNvSpPr>
                      <p:nvPr/>
                    </p:nvSpPr>
                    <p:spPr bwMode="auto">
                      <a:xfrm>
                        <a:off x="6557965" y="3762375"/>
                        <a:ext cx="30163" cy="31750"/>
                      </a:xfrm>
                      <a:custGeom>
                        <a:avLst/>
                        <a:gdLst>
                          <a:gd name="T0" fmla="*/ 43 w 86"/>
                          <a:gd name="T1" fmla="*/ 0 h 86"/>
                          <a:gd name="T2" fmla="*/ 43 w 86"/>
                          <a:gd name="T3" fmla="*/ 0 h 86"/>
                          <a:gd name="T4" fmla="*/ 0 w 86"/>
                          <a:gd name="T5" fmla="*/ 43 h 86"/>
                          <a:gd name="T6" fmla="*/ 43 w 86"/>
                          <a:gd name="T7" fmla="*/ 86 h 86"/>
                          <a:gd name="T8" fmla="*/ 86 w 86"/>
                          <a:gd name="T9" fmla="*/ 43 h 86"/>
                          <a:gd name="T10" fmla="*/ 43 w 86"/>
                          <a:gd name="T11" fmla="*/ 0 h 86"/>
                        </a:gdLst>
                        <a:ahLst/>
                        <a:cxnLst>
                          <a:cxn ang="0">
                            <a:pos x="T0" y="T1"/>
                          </a:cxn>
                          <a:cxn ang="0">
                            <a:pos x="T2" y="T3"/>
                          </a:cxn>
                          <a:cxn ang="0">
                            <a:pos x="T4" y="T5"/>
                          </a:cxn>
                          <a:cxn ang="0">
                            <a:pos x="T6" y="T7"/>
                          </a:cxn>
                          <a:cxn ang="0">
                            <a:pos x="T8" y="T9"/>
                          </a:cxn>
                          <a:cxn ang="0">
                            <a:pos x="T10" y="T11"/>
                          </a:cxn>
                        </a:cxnLst>
                        <a:rect l="0" t="0" r="r" b="b"/>
                        <a:pathLst>
                          <a:path w="86" h="86">
                            <a:moveTo>
                              <a:pt x="43" y="0"/>
                            </a:moveTo>
                            <a:lnTo>
                              <a:pt x="43" y="0"/>
                            </a:lnTo>
                            <a:cubicBezTo>
                              <a:pt x="19" y="0"/>
                              <a:pt x="0" y="19"/>
                              <a:pt x="0" y="43"/>
                            </a:cubicBezTo>
                            <a:cubicBezTo>
                              <a:pt x="0" y="66"/>
                              <a:pt x="19" y="86"/>
                              <a:pt x="43" y="86"/>
                            </a:cubicBezTo>
                            <a:cubicBezTo>
                              <a:pt x="67" y="86"/>
                              <a:pt x="86" y="66"/>
                              <a:pt x="86" y="43"/>
                            </a:cubicBezTo>
                            <a:cubicBezTo>
                              <a:pt x="86" y="19"/>
                              <a:pt x="67" y="0"/>
                              <a:pt x="43"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sp>
                    <p:nvSpPr>
                      <p:cNvPr id="112" name="Freeform 21">
                        <a:extLst>
                          <a:ext uri="{FF2B5EF4-FFF2-40B4-BE49-F238E27FC236}">
                            <a16:creationId xmlns:a16="http://schemas.microsoft.com/office/drawing/2014/main" id="{E5BC2428-8BF7-8FE4-3B42-E8E2C8EE19E8}"/>
                          </a:ext>
                        </a:extLst>
                      </p:cNvPr>
                      <p:cNvSpPr>
                        <a:spLocks/>
                      </p:cNvSpPr>
                      <p:nvPr/>
                    </p:nvSpPr>
                    <p:spPr bwMode="auto">
                      <a:xfrm>
                        <a:off x="5684840" y="2647950"/>
                        <a:ext cx="1709738" cy="1687513"/>
                      </a:xfrm>
                      <a:custGeom>
                        <a:avLst/>
                        <a:gdLst>
                          <a:gd name="T0" fmla="*/ 3813 w 4716"/>
                          <a:gd name="T1" fmla="*/ 1673 h 4664"/>
                          <a:gd name="T2" fmla="*/ 3813 w 4716"/>
                          <a:gd name="T3" fmla="*/ 1673 h 4664"/>
                          <a:gd name="T4" fmla="*/ 3761 w 4716"/>
                          <a:gd name="T5" fmla="*/ 1697 h 4664"/>
                          <a:gd name="T6" fmla="*/ 3785 w 4716"/>
                          <a:gd name="T7" fmla="*/ 1748 h 4664"/>
                          <a:gd name="T8" fmla="*/ 4636 w 4716"/>
                          <a:gd name="T9" fmla="*/ 2537 h 4664"/>
                          <a:gd name="T10" fmla="*/ 3980 w 4716"/>
                          <a:gd name="T11" fmla="*/ 3248 h 4664"/>
                          <a:gd name="T12" fmla="*/ 2358 w 4716"/>
                          <a:gd name="T13" fmla="*/ 3553 h 4664"/>
                          <a:gd name="T14" fmla="*/ 1460 w 4716"/>
                          <a:gd name="T15" fmla="*/ 3471 h 4664"/>
                          <a:gd name="T16" fmla="*/ 1316 w 4716"/>
                          <a:gd name="T17" fmla="*/ 2331 h 4664"/>
                          <a:gd name="T18" fmla="*/ 1629 w 4716"/>
                          <a:gd name="T19" fmla="*/ 727 h 4664"/>
                          <a:gd name="T20" fmla="*/ 2358 w 4716"/>
                          <a:gd name="T21" fmla="*/ 79 h 4664"/>
                          <a:gd name="T22" fmla="*/ 3086 w 4716"/>
                          <a:gd name="T23" fmla="*/ 727 h 4664"/>
                          <a:gd name="T24" fmla="*/ 3399 w 4716"/>
                          <a:gd name="T25" fmla="*/ 2331 h 4664"/>
                          <a:gd name="T26" fmla="*/ 3394 w 4716"/>
                          <a:gd name="T27" fmla="*/ 2553 h 4664"/>
                          <a:gd name="T28" fmla="*/ 3258 w 4716"/>
                          <a:gd name="T29" fmla="*/ 2396 h 4664"/>
                          <a:gd name="T30" fmla="*/ 3217 w 4716"/>
                          <a:gd name="T31" fmla="*/ 2432 h 4664"/>
                          <a:gd name="T32" fmla="*/ 3434 w 4716"/>
                          <a:gd name="T33" fmla="*/ 2682 h 4664"/>
                          <a:gd name="T34" fmla="*/ 3666 w 4716"/>
                          <a:gd name="T35" fmla="*/ 2447 h 4664"/>
                          <a:gd name="T36" fmla="*/ 3627 w 4716"/>
                          <a:gd name="T37" fmla="*/ 2408 h 4664"/>
                          <a:gd name="T38" fmla="*/ 3474 w 4716"/>
                          <a:gd name="T39" fmla="*/ 2563 h 4664"/>
                          <a:gd name="T40" fmla="*/ 3479 w 4716"/>
                          <a:gd name="T41" fmla="*/ 2331 h 4664"/>
                          <a:gd name="T42" fmla="*/ 3159 w 4716"/>
                          <a:gd name="T43" fmla="*/ 693 h 4664"/>
                          <a:gd name="T44" fmla="*/ 2358 w 4716"/>
                          <a:gd name="T45" fmla="*/ 0 h 4664"/>
                          <a:gd name="T46" fmla="*/ 1557 w 4716"/>
                          <a:gd name="T47" fmla="*/ 693 h 4664"/>
                          <a:gd name="T48" fmla="*/ 1236 w 4716"/>
                          <a:gd name="T49" fmla="*/ 2331 h 4664"/>
                          <a:gd name="T50" fmla="*/ 1372 w 4716"/>
                          <a:gd name="T51" fmla="*/ 3453 h 4664"/>
                          <a:gd name="T52" fmla="*/ 735 w 4716"/>
                          <a:gd name="T53" fmla="*/ 3248 h 4664"/>
                          <a:gd name="T54" fmla="*/ 79 w 4716"/>
                          <a:gd name="T55" fmla="*/ 2537 h 4664"/>
                          <a:gd name="T56" fmla="*/ 895 w 4716"/>
                          <a:gd name="T57" fmla="*/ 1761 h 4664"/>
                          <a:gd name="T58" fmla="*/ 799 w 4716"/>
                          <a:gd name="T59" fmla="*/ 1960 h 4664"/>
                          <a:gd name="T60" fmla="*/ 849 w 4716"/>
                          <a:gd name="T61" fmla="*/ 1983 h 4664"/>
                          <a:gd name="T62" fmla="*/ 992 w 4716"/>
                          <a:gd name="T63" fmla="*/ 1685 h 4664"/>
                          <a:gd name="T64" fmla="*/ 684 w 4716"/>
                          <a:gd name="T65" fmla="*/ 1565 h 4664"/>
                          <a:gd name="T66" fmla="*/ 664 w 4716"/>
                          <a:gd name="T67" fmla="*/ 1616 h 4664"/>
                          <a:gd name="T68" fmla="*/ 854 w 4716"/>
                          <a:gd name="T69" fmla="*/ 1691 h 4664"/>
                          <a:gd name="T70" fmla="*/ 0 w 4716"/>
                          <a:gd name="T71" fmla="*/ 2537 h 4664"/>
                          <a:gd name="T72" fmla="*/ 702 w 4716"/>
                          <a:gd name="T73" fmla="*/ 3320 h 4664"/>
                          <a:gd name="T74" fmla="*/ 1396 w 4716"/>
                          <a:gd name="T75" fmla="*/ 3540 h 4664"/>
                          <a:gd name="T76" fmla="*/ 1557 w 4716"/>
                          <a:gd name="T77" fmla="*/ 3969 h 4664"/>
                          <a:gd name="T78" fmla="*/ 2358 w 4716"/>
                          <a:gd name="T79" fmla="*/ 4664 h 4664"/>
                          <a:gd name="T80" fmla="*/ 3230 w 4716"/>
                          <a:gd name="T81" fmla="*/ 3802 h 4664"/>
                          <a:gd name="T82" fmla="*/ 3208 w 4716"/>
                          <a:gd name="T83" fmla="*/ 3750 h 4664"/>
                          <a:gd name="T84" fmla="*/ 3156 w 4716"/>
                          <a:gd name="T85" fmla="*/ 3773 h 4664"/>
                          <a:gd name="T86" fmla="*/ 2358 w 4716"/>
                          <a:gd name="T87" fmla="*/ 4584 h 4664"/>
                          <a:gd name="T88" fmla="*/ 1629 w 4716"/>
                          <a:gd name="T89" fmla="*/ 3935 h 4664"/>
                          <a:gd name="T90" fmla="*/ 1485 w 4716"/>
                          <a:gd name="T91" fmla="*/ 3557 h 4664"/>
                          <a:gd name="T92" fmla="*/ 2358 w 4716"/>
                          <a:gd name="T93" fmla="*/ 3633 h 4664"/>
                          <a:gd name="T94" fmla="*/ 4013 w 4716"/>
                          <a:gd name="T95" fmla="*/ 3320 h 4664"/>
                          <a:gd name="T96" fmla="*/ 4716 w 4716"/>
                          <a:gd name="T97" fmla="*/ 2537 h 4664"/>
                          <a:gd name="T98" fmla="*/ 3813 w 4716"/>
                          <a:gd name="T99" fmla="*/ 1673 h 4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716" h="4664">
                            <a:moveTo>
                              <a:pt x="3813" y="1673"/>
                            </a:moveTo>
                            <a:lnTo>
                              <a:pt x="3813" y="1673"/>
                            </a:lnTo>
                            <a:cubicBezTo>
                              <a:pt x="3792" y="1665"/>
                              <a:pt x="3769" y="1676"/>
                              <a:pt x="3761" y="1697"/>
                            </a:cubicBezTo>
                            <a:cubicBezTo>
                              <a:pt x="3754" y="1717"/>
                              <a:pt x="3765" y="1740"/>
                              <a:pt x="3785" y="1748"/>
                            </a:cubicBezTo>
                            <a:cubicBezTo>
                              <a:pt x="4326" y="1943"/>
                              <a:pt x="4636" y="2231"/>
                              <a:pt x="4636" y="2537"/>
                            </a:cubicBezTo>
                            <a:cubicBezTo>
                              <a:pt x="4636" y="2803"/>
                              <a:pt x="4403" y="3055"/>
                              <a:pt x="3980" y="3248"/>
                            </a:cubicBezTo>
                            <a:cubicBezTo>
                              <a:pt x="3547" y="3445"/>
                              <a:pt x="2971" y="3553"/>
                              <a:pt x="2358" y="3553"/>
                            </a:cubicBezTo>
                            <a:cubicBezTo>
                              <a:pt x="2044" y="3553"/>
                              <a:pt x="1740" y="3525"/>
                              <a:pt x="1460" y="3471"/>
                            </a:cubicBezTo>
                            <a:cubicBezTo>
                              <a:pt x="1366" y="3129"/>
                              <a:pt x="1316" y="2738"/>
                              <a:pt x="1316" y="2331"/>
                            </a:cubicBezTo>
                            <a:cubicBezTo>
                              <a:pt x="1316" y="1725"/>
                              <a:pt x="1427" y="1155"/>
                              <a:pt x="1629" y="727"/>
                            </a:cubicBezTo>
                            <a:cubicBezTo>
                              <a:pt x="1826" y="309"/>
                              <a:pt x="2085" y="79"/>
                              <a:pt x="2358" y="79"/>
                            </a:cubicBezTo>
                            <a:cubicBezTo>
                              <a:pt x="2630" y="79"/>
                              <a:pt x="2889" y="309"/>
                              <a:pt x="3086" y="727"/>
                            </a:cubicBezTo>
                            <a:cubicBezTo>
                              <a:pt x="3288" y="1155"/>
                              <a:pt x="3399" y="1725"/>
                              <a:pt x="3399" y="2331"/>
                            </a:cubicBezTo>
                            <a:cubicBezTo>
                              <a:pt x="3399" y="2405"/>
                              <a:pt x="3398" y="2479"/>
                              <a:pt x="3394" y="2553"/>
                            </a:cubicBezTo>
                            <a:lnTo>
                              <a:pt x="3258" y="2396"/>
                            </a:lnTo>
                            <a:lnTo>
                              <a:pt x="3217" y="2432"/>
                            </a:lnTo>
                            <a:lnTo>
                              <a:pt x="3434" y="2682"/>
                            </a:lnTo>
                            <a:lnTo>
                              <a:pt x="3666" y="2447"/>
                            </a:lnTo>
                            <a:lnTo>
                              <a:pt x="3627" y="2408"/>
                            </a:lnTo>
                            <a:lnTo>
                              <a:pt x="3474" y="2563"/>
                            </a:lnTo>
                            <a:cubicBezTo>
                              <a:pt x="3477" y="2486"/>
                              <a:pt x="3479" y="2408"/>
                              <a:pt x="3479" y="2331"/>
                            </a:cubicBezTo>
                            <a:cubicBezTo>
                              <a:pt x="3479" y="1713"/>
                              <a:pt x="3366" y="1131"/>
                              <a:pt x="3159" y="693"/>
                            </a:cubicBezTo>
                            <a:cubicBezTo>
                              <a:pt x="2947" y="245"/>
                              <a:pt x="2663" y="0"/>
                              <a:pt x="2358" y="0"/>
                            </a:cubicBezTo>
                            <a:cubicBezTo>
                              <a:pt x="2052" y="0"/>
                              <a:pt x="1768" y="245"/>
                              <a:pt x="1557" y="693"/>
                            </a:cubicBezTo>
                            <a:cubicBezTo>
                              <a:pt x="1350" y="1131"/>
                              <a:pt x="1236" y="1713"/>
                              <a:pt x="1236" y="2331"/>
                            </a:cubicBezTo>
                            <a:cubicBezTo>
                              <a:pt x="1236" y="2730"/>
                              <a:pt x="1283" y="3113"/>
                              <a:pt x="1372" y="3453"/>
                            </a:cubicBezTo>
                            <a:cubicBezTo>
                              <a:pt x="1139" y="3402"/>
                              <a:pt x="923" y="3333"/>
                              <a:pt x="735" y="3248"/>
                            </a:cubicBezTo>
                            <a:cubicBezTo>
                              <a:pt x="312" y="3055"/>
                              <a:pt x="79" y="2803"/>
                              <a:pt x="79" y="2537"/>
                            </a:cubicBezTo>
                            <a:cubicBezTo>
                              <a:pt x="79" y="2239"/>
                              <a:pt x="377" y="1956"/>
                              <a:pt x="895" y="1761"/>
                            </a:cubicBezTo>
                            <a:lnTo>
                              <a:pt x="799" y="1960"/>
                            </a:lnTo>
                            <a:lnTo>
                              <a:pt x="849" y="1983"/>
                            </a:lnTo>
                            <a:lnTo>
                              <a:pt x="992" y="1685"/>
                            </a:lnTo>
                            <a:lnTo>
                              <a:pt x="684" y="1565"/>
                            </a:lnTo>
                            <a:lnTo>
                              <a:pt x="664" y="1616"/>
                            </a:lnTo>
                            <a:lnTo>
                              <a:pt x="854" y="1691"/>
                            </a:lnTo>
                            <a:cubicBezTo>
                              <a:pt x="311" y="1898"/>
                              <a:pt x="0" y="2206"/>
                              <a:pt x="0" y="2537"/>
                            </a:cubicBezTo>
                            <a:cubicBezTo>
                              <a:pt x="0" y="2836"/>
                              <a:pt x="249" y="3114"/>
                              <a:pt x="702" y="3320"/>
                            </a:cubicBezTo>
                            <a:cubicBezTo>
                              <a:pt x="906" y="3413"/>
                              <a:pt x="1141" y="3487"/>
                              <a:pt x="1396" y="3540"/>
                            </a:cubicBezTo>
                            <a:cubicBezTo>
                              <a:pt x="1441" y="3694"/>
                              <a:pt x="1495" y="3838"/>
                              <a:pt x="1557" y="3969"/>
                            </a:cubicBezTo>
                            <a:cubicBezTo>
                              <a:pt x="1768" y="4417"/>
                              <a:pt x="2052" y="4664"/>
                              <a:pt x="2358" y="4664"/>
                            </a:cubicBezTo>
                            <a:cubicBezTo>
                              <a:pt x="2700" y="4664"/>
                              <a:pt x="3018" y="4349"/>
                              <a:pt x="3230" y="3802"/>
                            </a:cubicBezTo>
                            <a:cubicBezTo>
                              <a:pt x="3238" y="3781"/>
                              <a:pt x="3228" y="3758"/>
                              <a:pt x="3208" y="3750"/>
                            </a:cubicBezTo>
                            <a:cubicBezTo>
                              <a:pt x="3187" y="3742"/>
                              <a:pt x="3164" y="3752"/>
                              <a:pt x="3156" y="3773"/>
                            </a:cubicBezTo>
                            <a:cubicBezTo>
                              <a:pt x="2956" y="4288"/>
                              <a:pt x="2665" y="4584"/>
                              <a:pt x="2358" y="4584"/>
                            </a:cubicBezTo>
                            <a:cubicBezTo>
                              <a:pt x="2085" y="4584"/>
                              <a:pt x="1826" y="4353"/>
                              <a:pt x="1629" y="3935"/>
                            </a:cubicBezTo>
                            <a:cubicBezTo>
                              <a:pt x="1574" y="3819"/>
                              <a:pt x="1526" y="3692"/>
                              <a:pt x="1485" y="3557"/>
                            </a:cubicBezTo>
                            <a:cubicBezTo>
                              <a:pt x="1759" y="3607"/>
                              <a:pt x="2054" y="3633"/>
                              <a:pt x="2358" y="3633"/>
                            </a:cubicBezTo>
                            <a:cubicBezTo>
                              <a:pt x="2982" y="3633"/>
                              <a:pt x="3570" y="3522"/>
                              <a:pt x="4013" y="3320"/>
                            </a:cubicBezTo>
                            <a:cubicBezTo>
                              <a:pt x="4466" y="3114"/>
                              <a:pt x="4716" y="2836"/>
                              <a:pt x="4716" y="2537"/>
                            </a:cubicBezTo>
                            <a:cubicBezTo>
                              <a:pt x="4716" y="2196"/>
                              <a:pt x="4387" y="1880"/>
                              <a:pt x="3813" y="1673"/>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000000"/>
                          </a:solidFill>
                          <a:effectLst/>
                          <a:uLnTx/>
                          <a:uFillTx/>
                          <a:latin typeface="Anova Light"/>
                          <a:ea typeface="+mn-ea"/>
                          <a:cs typeface="+mn-cs"/>
                        </a:endParaRPr>
                      </a:p>
                    </p:txBody>
                  </p:sp>
                </p:grpSp>
              </p:grpSp>
            </p:grpSp>
          </p:grpSp>
          <p:grpSp>
            <p:nvGrpSpPr>
              <p:cNvPr id="72" name="Group 71">
                <a:extLst>
                  <a:ext uri="{FF2B5EF4-FFF2-40B4-BE49-F238E27FC236}">
                    <a16:creationId xmlns:a16="http://schemas.microsoft.com/office/drawing/2014/main" id="{CBC94A8D-31FA-B0CE-E39D-F989C460D545}"/>
                  </a:ext>
                </a:extLst>
              </p:cNvPr>
              <p:cNvGrpSpPr/>
              <p:nvPr/>
            </p:nvGrpSpPr>
            <p:grpSpPr>
              <a:xfrm>
                <a:off x="6791870" y="3647147"/>
                <a:ext cx="873466" cy="4276175"/>
                <a:chOff x="10059577" y="3283061"/>
                <a:chExt cx="873466" cy="4276175"/>
              </a:xfrm>
            </p:grpSpPr>
            <p:cxnSp>
              <p:nvCxnSpPr>
                <p:cNvPr id="91" name="Straight Arrow Connector 90">
                  <a:extLst>
                    <a:ext uri="{FF2B5EF4-FFF2-40B4-BE49-F238E27FC236}">
                      <a16:creationId xmlns:a16="http://schemas.microsoft.com/office/drawing/2014/main" id="{35589976-9A75-4807-075B-5BA0C8976B6A}"/>
                    </a:ext>
                  </a:extLst>
                </p:cNvPr>
                <p:cNvCxnSpPr>
                  <a:cxnSpLocks/>
                </p:cNvCxnSpPr>
                <p:nvPr/>
              </p:nvCxnSpPr>
              <p:spPr>
                <a:xfrm>
                  <a:off x="10137598" y="5441214"/>
                  <a:ext cx="795445"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89EA624-9CE1-18CB-B6AC-5BBB57E89682}"/>
                    </a:ext>
                  </a:extLst>
                </p:cNvPr>
                <p:cNvCxnSpPr>
                  <a:cxnSpLocks/>
                </p:cNvCxnSpPr>
                <p:nvPr/>
              </p:nvCxnSpPr>
              <p:spPr>
                <a:xfrm>
                  <a:off x="10059577" y="3283061"/>
                  <a:ext cx="0" cy="4276175"/>
                </a:xfrm>
                <a:prstGeom prst="line">
                  <a:avLst/>
                </a:prstGeom>
                <a:ln w="25400">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sp>
            <p:nvSpPr>
              <p:cNvPr id="73" name="Oval 72">
                <a:extLst>
                  <a:ext uri="{FF2B5EF4-FFF2-40B4-BE49-F238E27FC236}">
                    <a16:creationId xmlns:a16="http://schemas.microsoft.com/office/drawing/2014/main" id="{CE8A3104-B089-6158-2EBA-E7315C9D29E8}"/>
                  </a:ext>
                </a:extLst>
              </p:cNvPr>
              <p:cNvSpPr/>
              <p:nvPr/>
            </p:nvSpPr>
            <p:spPr>
              <a:xfrm>
                <a:off x="7791082" y="4796156"/>
                <a:ext cx="2056464" cy="2056464"/>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600" b="0" i="0" u="none" strike="noStrike" kern="1200" cap="none" spc="0" normalizeH="0" baseline="0" noProof="0">
                  <a:ln>
                    <a:noFill/>
                  </a:ln>
                  <a:solidFill>
                    <a:srgbClr val="FFFFFF"/>
                  </a:solidFill>
                  <a:effectLst/>
                  <a:uLnTx/>
                  <a:uFillTx/>
                  <a:latin typeface="Anova Light"/>
                  <a:ea typeface="+mn-ea"/>
                  <a:cs typeface="+mn-cs"/>
                </a:endParaRPr>
              </a:p>
            </p:txBody>
          </p:sp>
          <p:grpSp>
            <p:nvGrpSpPr>
              <p:cNvPr id="74" name="Group 73">
                <a:extLst>
                  <a:ext uri="{FF2B5EF4-FFF2-40B4-BE49-F238E27FC236}">
                    <a16:creationId xmlns:a16="http://schemas.microsoft.com/office/drawing/2014/main" id="{FB84847B-BC55-DD41-5676-129C7E5328EB}"/>
                  </a:ext>
                </a:extLst>
              </p:cNvPr>
              <p:cNvGrpSpPr/>
              <p:nvPr/>
            </p:nvGrpSpPr>
            <p:grpSpPr>
              <a:xfrm>
                <a:off x="9957963" y="3787315"/>
                <a:ext cx="1317934" cy="4151586"/>
                <a:chOff x="13225670" y="3423229"/>
                <a:chExt cx="1317934" cy="4151586"/>
              </a:xfrm>
            </p:grpSpPr>
            <p:cxnSp>
              <p:nvCxnSpPr>
                <p:cNvPr id="85" name="Straight Arrow Connector 84">
                  <a:extLst>
                    <a:ext uri="{FF2B5EF4-FFF2-40B4-BE49-F238E27FC236}">
                      <a16:creationId xmlns:a16="http://schemas.microsoft.com/office/drawing/2014/main" id="{4242847C-340F-0D8E-AA30-BAACFF0B7BD6}"/>
                    </a:ext>
                  </a:extLst>
                </p:cNvPr>
                <p:cNvCxnSpPr>
                  <a:cxnSpLocks/>
                </p:cNvCxnSpPr>
                <p:nvPr/>
              </p:nvCxnSpPr>
              <p:spPr>
                <a:xfrm>
                  <a:off x="13225670" y="5477080"/>
                  <a:ext cx="1317934"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a:extLst>
                    <a:ext uri="{FF2B5EF4-FFF2-40B4-BE49-F238E27FC236}">
                      <a16:creationId xmlns:a16="http://schemas.microsoft.com/office/drawing/2014/main" id="{297A5DDD-4CF3-ACB6-2EF7-66477D706FB5}"/>
                    </a:ext>
                  </a:extLst>
                </p:cNvPr>
                <p:cNvCxnSpPr>
                  <a:cxnSpLocks/>
                </p:cNvCxnSpPr>
                <p:nvPr/>
              </p:nvCxnSpPr>
              <p:spPr>
                <a:xfrm>
                  <a:off x="13720486" y="4444757"/>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a:extLst>
                    <a:ext uri="{FF2B5EF4-FFF2-40B4-BE49-F238E27FC236}">
                      <a16:creationId xmlns:a16="http://schemas.microsoft.com/office/drawing/2014/main" id="{C1E71B16-3B5C-C861-2589-14E77B1F7B3A}"/>
                    </a:ext>
                  </a:extLst>
                </p:cNvPr>
                <p:cNvCxnSpPr>
                  <a:cxnSpLocks/>
                </p:cNvCxnSpPr>
                <p:nvPr/>
              </p:nvCxnSpPr>
              <p:spPr>
                <a:xfrm>
                  <a:off x="13720486" y="3423229"/>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a:extLst>
                    <a:ext uri="{FF2B5EF4-FFF2-40B4-BE49-F238E27FC236}">
                      <a16:creationId xmlns:a16="http://schemas.microsoft.com/office/drawing/2014/main" id="{689DCB83-79CA-261C-A428-FDC302A2A5A7}"/>
                    </a:ext>
                  </a:extLst>
                </p:cNvPr>
                <p:cNvCxnSpPr>
                  <a:cxnSpLocks/>
                </p:cNvCxnSpPr>
                <p:nvPr/>
              </p:nvCxnSpPr>
              <p:spPr>
                <a:xfrm>
                  <a:off x="13730996" y="6502759"/>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E5435D04-D212-B9E1-4827-08FCB1424888}"/>
                    </a:ext>
                  </a:extLst>
                </p:cNvPr>
                <p:cNvCxnSpPr>
                  <a:cxnSpLocks/>
                </p:cNvCxnSpPr>
                <p:nvPr/>
              </p:nvCxnSpPr>
              <p:spPr>
                <a:xfrm>
                  <a:off x="13720485" y="7574815"/>
                  <a:ext cx="812608" cy="0"/>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F88D8B9-5465-A955-0969-D701AE3C4155}"/>
                    </a:ext>
                  </a:extLst>
                </p:cNvPr>
                <p:cNvCxnSpPr>
                  <a:cxnSpLocks/>
                </p:cNvCxnSpPr>
                <p:nvPr/>
              </p:nvCxnSpPr>
              <p:spPr>
                <a:xfrm>
                  <a:off x="13720485" y="3423229"/>
                  <a:ext cx="0" cy="4151586"/>
                </a:xfrm>
                <a:prstGeom prst="line">
                  <a:avLst/>
                </a:prstGeom>
                <a:ln w="25400" cap="rnd">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B4C0035D-F8CA-2C1A-9816-D52A5675E50A}"/>
                  </a:ext>
                </a:extLst>
              </p:cNvPr>
              <p:cNvGrpSpPr/>
              <p:nvPr/>
            </p:nvGrpSpPr>
            <p:grpSpPr>
              <a:xfrm>
                <a:off x="9957963" y="2529702"/>
                <a:ext cx="5509397" cy="5781418"/>
                <a:chOff x="13225670" y="2165616"/>
                <a:chExt cx="5509397" cy="5781418"/>
              </a:xfrm>
            </p:grpSpPr>
            <p:sp>
              <p:nvSpPr>
                <p:cNvPr id="79" name="Rounded Rectangle 37">
                  <a:extLst>
                    <a:ext uri="{FF2B5EF4-FFF2-40B4-BE49-F238E27FC236}">
                      <a16:creationId xmlns:a16="http://schemas.microsoft.com/office/drawing/2014/main" id="{4526AFE6-5684-E0E0-B035-F04730322BFF}"/>
                    </a:ext>
                  </a:extLst>
                </p:cNvPr>
                <p:cNvSpPr/>
                <p:nvPr/>
              </p:nvSpPr>
              <p:spPr>
                <a:xfrm>
                  <a:off x="13225670" y="2165616"/>
                  <a:ext cx="5509397" cy="556591"/>
                </a:xfrm>
                <a:prstGeom prst="roundRect">
                  <a:avLst/>
                </a:prstGeom>
                <a:no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srgbClr val="0766D1"/>
                      </a:solidFill>
                      <a:effectLst/>
                      <a:uLnTx/>
                      <a:uFillTx/>
                      <a:latin typeface="Anova Bold"/>
                      <a:ea typeface="+mn-ea"/>
                      <a:cs typeface="+mn-cs"/>
                    </a:rPr>
                    <a:t>GENERATES SOMETHING </a:t>
                  </a:r>
                  <a:r>
                    <a:rPr kumimoji="0" lang="en-US" sz="3600" b="1" i="1" u="none" strike="noStrike" kern="1200" cap="none" spc="0" normalizeH="0" baseline="0" noProof="0">
                      <a:ln>
                        <a:noFill/>
                      </a:ln>
                      <a:solidFill>
                        <a:srgbClr val="0766D1"/>
                      </a:solidFill>
                      <a:effectLst/>
                      <a:uLnTx/>
                      <a:uFillTx/>
                      <a:latin typeface="Anova Bold"/>
                      <a:ea typeface="+mn-ea"/>
                      <a:cs typeface="+mn-cs"/>
                    </a:rPr>
                    <a:t>NEW</a:t>
                  </a:r>
                </a:p>
              </p:txBody>
            </p:sp>
            <p:sp>
              <p:nvSpPr>
                <p:cNvPr id="80" name="Round Same Side Corner Rectangle 38">
                  <a:extLst>
                    <a:ext uri="{FF2B5EF4-FFF2-40B4-BE49-F238E27FC236}">
                      <a16:creationId xmlns:a16="http://schemas.microsoft.com/office/drawing/2014/main" id="{790C9F40-7A38-FC97-3EB4-5A80977ADD2F}"/>
                    </a:ext>
                  </a:extLst>
                </p:cNvPr>
                <p:cNvSpPr/>
                <p:nvPr/>
              </p:nvSpPr>
              <p:spPr>
                <a:xfrm>
                  <a:off x="14638197" y="3044114"/>
                  <a:ext cx="2919960" cy="775596"/>
                </a:xfrm>
                <a:prstGeom prst="round2Same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nova Light"/>
                      <a:ea typeface="+mn-ea"/>
                      <a:cs typeface="+mn-cs"/>
                    </a:rPr>
                    <a:t>Text</a:t>
                  </a:r>
                </a:p>
              </p:txBody>
            </p:sp>
            <p:sp>
              <p:nvSpPr>
                <p:cNvPr id="81" name="Rounded Rectangle 39">
                  <a:extLst>
                    <a:ext uri="{FF2B5EF4-FFF2-40B4-BE49-F238E27FC236}">
                      <a16:creationId xmlns:a16="http://schemas.microsoft.com/office/drawing/2014/main" id="{BDF8BC54-009B-7F76-EF74-30647C19831F}"/>
                    </a:ext>
                  </a:extLst>
                </p:cNvPr>
                <p:cNvSpPr/>
                <p:nvPr/>
              </p:nvSpPr>
              <p:spPr>
                <a:xfrm>
                  <a:off x="14638197" y="4075945"/>
                  <a:ext cx="2919960" cy="775596"/>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nova Light"/>
                      <a:ea typeface="+mn-ea"/>
                      <a:cs typeface="+mn-cs"/>
                    </a:rPr>
                    <a:t>Conversations</a:t>
                  </a:r>
                </a:p>
              </p:txBody>
            </p:sp>
            <p:sp>
              <p:nvSpPr>
                <p:cNvPr id="82" name="Rounded Rectangle 40">
                  <a:extLst>
                    <a:ext uri="{FF2B5EF4-FFF2-40B4-BE49-F238E27FC236}">
                      <a16:creationId xmlns:a16="http://schemas.microsoft.com/office/drawing/2014/main" id="{D4AF1588-7C66-EF9B-C096-99D77F118B98}"/>
                    </a:ext>
                  </a:extLst>
                </p:cNvPr>
                <p:cNvSpPr/>
                <p:nvPr/>
              </p:nvSpPr>
              <p:spPr>
                <a:xfrm>
                  <a:off x="14638197" y="5107776"/>
                  <a:ext cx="2919960" cy="775596"/>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nova Light"/>
                      <a:ea typeface="+mn-ea"/>
                      <a:cs typeface="+mn-cs"/>
                    </a:rPr>
                    <a:t>Videos &amp; Images</a:t>
                  </a:r>
                </a:p>
              </p:txBody>
            </p:sp>
            <p:sp>
              <p:nvSpPr>
                <p:cNvPr id="83" name="Rounded Rectangle 41">
                  <a:extLst>
                    <a:ext uri="{FF2B5EF4-FFF2-40B4-BE49-F238E27FC236}">
                      <a16:creationId xmlns:a16="http://schemas.microsoft.com/office/drawing/2014/main" id="{9300673F-B3D0-E194-0DCE-A3C2358C7EDD}"/>
                    </a:ext>
                  </a:extLst>
                </p:cNvPr>
                <p:cNvSpPr/>
                <p:nvPr/>
              </p:nvSpPr>
              <p:spPr>
                <a:xfrm>
                  <a:off x="14638197" y="6139607"/>
                  <a:ext cx="2919960" cy="775596"/>
                </a:xfrm>
                <a:prstGeom prst="roundRect">
                  <a:avLst>
                    <a:gd name="adj" fmla="val 0"/>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nova Light"/>
                      <a:ea typeface="+mn-ea"/>
                      <a:cs typeface="+mn-cs"/>
                    </a:rPr>
                    <a:t>3D Systems</a:t>
                  </a:r>
                </a:p>
              </p:txBody>
            </p:sp>
            <p:sp>
              <p:nvSpPr>
                <p:cNvPr id="84" name="Round Same Side Corner Rectangle 42">
                  <a:extLst>
                    <a:ext uri="{FF2B5EF4-FFF2-40B4-BE49-F238E27FC236}">
                      <a16:creationId xmlns:a16="http://schemas.microsoft.com/office/drawing/2014/main" id="{4950F0EE-B28D-8629-2303-A25A7DCE57FD}"/>
                    </a:ext>
                  </a:extLst>
                </p:cNvPr>
                <p:cNvSpPr/>
                <p:nvPr/>
              </p:nvSpPr>
              <p:spPr>
                <a:xfrm>
                  <a:off x="14638197" y="7171438"/>
                  <a:ext cx="2919960" cy="775596"/>
                </a:xfrm>
                <a:prstGeom prst="round2SameRect">
                  <a:avLst>
                    <a:gd name="adj1" fmla="val 0"/>
                    <a:gd name="adj2" fmla="val 21632"/>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Anova Light"/>
                      <a:ea typeface="+mn-ea"/>
                      <a:cs typeface="+mn-cs"/>
                    </a:rPr>
                    <a:t>Graphs</a:t>
                  </a:r>
                </a:p>
              </p:txBody>
            </p:sp>
          </p:grpSp>
          <p:grpSp>
            <p:nvGrpSpPr>
              <p:cNvPr id="76" name="Group 75">
                <a:extLst>
                  <a:ext uri="{FF2B5EF4-FFF2-40B4-BE49-F238E27FC236}">
                    <a16:creationId xmlns:a16="http://schemas.microsoft.com/office/drawing/2014/main" id="{4B0D8C01-F257-4D53-156A-58CB9B3378D0}"/>
                  </a:ext>
                </a:extLst>
              </p:cNvPr>
              <p:cNvGrpSpPr/>
              <p:nvPr/>
            </p:nvGrpSpPr>
            <p:grpSpPr>
              <a:xfrm rot="16200000">
                <a:off x="8182544" y="6051621"/>
                <a:ext cx="1338851" cy="4276175"/>
                <a:chOff x="10059577" y="3283061"/>
                <a:chExt cx="1338851" cy="4276175"/>
              </a:xfrm>
            </p:grpSpPr>
            <p:cxnSp>
              <p:nvCxnSpPr>
                <p:cNvPr id="77" name="Straight Arrow Connector 76">
                  <a:extLst>
                    <a:ext uri="{FF2B5EF4-FFF2-40B4-BE49-F238E27FC236}">
                      <a16:creationId xmlns:a16="http://schemas.microsoft.com/office/drawing/2014/main" id="{952BEFEB-3248-0EE0-E91F-CBD424E2A69A}"/>
                    </a:ext>
                  </a:extLst>
                </p:cNvPr>
                <p:cNvCxnSpPr>
                  <a:cxnSpLocks/>
                </p:cNvCxnSpPr>
                <p:nvPr/>
              </p:nvCxnSpPr>
              <p:spPr>
                <a:xfrm rot="5400000" flipH="1" flipV="1">
                  <a:off x="10757981" y="4800767"/>
                  <a:ext cx="20064" cy="1260831"/>
                </a:xfrm>
                <a:prstGeom prst="straightConnector1">
                  <a:avLst/>
                </a:prstGeom>
                <a:ln w="25400" cap="rnd">
                  <a:solidFill>
                    <a:schemeClr val="accent5"/>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0B741CA4-6D24-7A0D-0A65-B909688D4B43}"/>
                    </a:ext>
                  </a:extLst>
                </p:cNvPr>
                <p:cNvCxnSpPr>
                  <a:cxnSpLocks/>
                </p:cNvCxnSpPr>
                <p:nvPr/>
              </p:nvCxnSpPr>
              <p:spPr>
                <a:xfrm>
                  <a:off x="10059577" y="3283061"/>
                  <a:ext cx="0" cy="4276175"/>
                </a:xfrm>
                <a:prstGeom prst="line">
                  <a:avLst/>
                </a:prstGeom>
                <a:ln w="25400">
                  <a:solidFill>
                    <a:schemeClr val="accent5"/>
                  </a:solidFill>
                  <a:tailEnd type="none"/>
                </a:ln>
              </p:spPr>
              <p:style>
                <a:lnRef idx="1">
                  <a:schemeClr val="accent1"/>
                </a:lnRef>
                <a:fillRef idx="0">
                  <a:schemeClr val="accent1"/>
                </a:fillRef>
                <a:effectRef idx="0">
                  <a:schemeClr val="accent1"/>
                </a:effectRef>
                <a:fontRef idx="minor">
                  <a:schemeClr val="tx1"/>
                </a:fontRef>
              </p:style>
            </p:cxnSp>
          </p:grpSp>
        </p:grpSp>
        <p:sp>
          <p:nvSpPr>
            <p:cNvPr id="68" name="Rounded Rectangle 67">
              <a:extLst>
                <a:ext uri="{FF2B5EF4-FFF2-40B4-BE49-F238E27FC236}">
                  <a16:creationId xmlns:a16="http://schemas.microsoft.com/office/drawing/2014/main" id="{36AC71D8-5C96-C2E4-0F1E-216EE3ADC853}"/>
                </a:ext>
              </a:extLst>
            </p:cNvPr>
            <p:cNvSpPr/>
            <p:nvPr/>
          </p:nvSpPr>
          <p:spPr>
            <a:xfrm>
              <a:off x="6713882" y="9181855"/>
              <a:ext cx="4276176" cy="578833"/>
            </a:xfrm>
            <a:prstGeom prst="round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srgbClr val="FFFFFF"/>
                  </a:solidFill>
                  <a:effectLst/>
                  <a:uLnTx/>
                  <a:uFillTx/>
                  <a:latin typeface="Anova Light"/>
                  <a:ea typeface="+mn-ea"/>
                  <a:cs typeface="+mn-cs"/>
                </a:rPr>
                <a:t>Prompt</a:t>
              </a:r>
            </a:p>
          </p:txBody>
        </p:sp>
      </p:grpSp>
    </p:spTree>
    <p:extLst>
      <p:ext uri="{BB962C8B-B14F-4D97-AF65-F5344CB8AC3E}">
        <p14:creationId xmlns:p14="http://schemas.microsoft.com/office/powerpoint/2010/main" val="11607290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5E03DC-E674-3806-A4BF-320CB8F5B6F7}"/>
              </a:ext>
            </a:extLst>
          </p:cNvPr>
          <p:cNvSpPr>
            <a:spLocks noGrp="1"/>
          </p:cNvSpPr>
          <p:nvPr/>
        </p:nvSpPr>
        <p:spPr>
          <a:xfrm>
            <a:off x="1130964" y="783700"/>
            <a:ext cx="15773400" cy="775597"/>
          </a:xfrm>
          <a:prstGeom prst="rect">
            <a:avLst/>
          </a:prstGeom>
        </p:spPr>
        <p:txBody>
          <a:bodyPr vert="horz"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r>
              <a:rPr lang="en-US"/>
              <a:t>The Economic Impact of Generative AI</a:t>
            </a:r>
          </a:p>
        </p:txBody>
      </p:sp>
      <p:sp>
        <p:nvSpPr>
          <p:cNvPr id="3" name="TextBox 2">
            <a:extLst>
              <a:ext uri="{FF2B5EF4-FFF2-40B4-BE49-F238E27FC236}">
                <a16:creationId xmlns:a16="http://schemas.microsoft.com/office/drawing/2014/main" id="{ACC96E5E-0F43-3D12-DC1A-BC48090F4AA6}"/>
              </a:ext>
            </a:extLst>
          </p:cNvPr>
          <p:cNvSpPr txBox="1"/>
          <p:nvPr/>
        </p:nvSpPr>
        <p:spPr>
          <a:xfrm>
            <a:off x="8394210" y="7488126"/>
            <a:ext cx="7232071" cy="1138773"/>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5400" b="0" i="0" u="none" strike="noStrike" kern="1200" cap="none" spc="0" normalizeH="0" baseline="0" noProof="0">
                <a:ln>
                  <a:noFill/>
                </a:ln>
                <a:solidFill>
                  <a:srgbClr val="0766D1"/>
                </a:solidFill>
                <a:effectLst/>
                <a:uLnTx/>
                <a:uFillTx/>
                <a:latin typeface="Anova Light"/>
                <a:ea typeface="+mn-ea"/>
                <a:cs typeface="+mn-cs"/>
              </a:rPr>
              <a:t>+ up to $4.4 Trill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nova Light"/>
                <a:ea typeface="+mn-ea"/>
                <a:cs typeface="+mn-cs"/>
              </a:rPr>
              <a:t>  </a:t>
            </a:r>
            <a:r>
              <a:rPr kumimoji="0" lang="en-US" sz="1600" b="0" i="0" u="none" strike="noStrike" kern="1200" cap="none" spc="0" normalizeH="0" baseline="0" noProof="0">
                <a:ln>
                  <a:noFill/>
                </a:ln>
                <a:solidFill>
                  <a:srgbClr val="000000"/>
                </a:solidFill>
                <a:effectLst/>
                <a:uLnTx/>
                <a:uFillTx/>
                <a:latin typeface="Anova Light"/>
                <a:ea typeface="+mn-ea"/>
                <a:cs typeface="+mn-cs"/>
              </a:rPr>
              <a:t>Global Economic potential</a:t>
            </a:r>
            <a:endParaRPr kumimoji="0" lang="en-US" sz="2000" b="0" i="0" u="none" strike="noStrike" kern="1200" cap="none" spc="0" normalizeH="0" baseline="0" noProof="0">
              <a:ln>
                <a:noFill/>
              </a:ln>
              <a:solidFill>
                <a:srgbClr val="000000"/>
              </a:solidFill>
              <a:effectLst/>
              <a:uLnTx/>
              <a:uFillTx/>
              <a:latin typeface="Anova Light"/>
              <a:ea typeface="+mn-ea"/>
              <a:cs typeface="+mn-cs"/>
            </a:endParaRPr>
          </a:p>
        </p:txBody>
      </p:sp>
      <p:sp>
        <p:nvSpPr>
          <p:cNvPr id="5" name="Oval 4">
            <a:extLst>
              <a:ext uri="{FF2B5EF4-FFF2-40B4-BE49-F238E27FC236}">
                <a16:creationId xmlns:a16="http://schemas.microsoft.com/office/drawing/2014/main" id="{914641F5-3D4C-347C-0BBC-FE54D4E6F7E4}"/>
              </a:ext>
            </a:extLst>
          </p:cNvPr>
          <p:cNvSpPr/>
          <p:nvPr/>
        </p:nvSpPr>
        <p:spPr>
          <a:xfrm>
            <a:off x="435138" y="3417907"/>
            <a:ext cx="7959073" cy="3597979"/>
          </a:xfrm>
          <a:prstGeom prst="ellipse">
            <a:avLst/>
          </a:prstGeom>
          <a:solidFill>
            <a:schemeClr val="accent6">
              <a:lumMod val="20000"/>
              <a:lumOff val="8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nova Light"/>
              <a:ea typeface="+mn-ea"/>
              <a:cs typeface="+mn-cs"/>
            </a:endParaRPr>
          </a:p>
        </p:txBody>
      </p:sp>
      <p:sp>
        <p:nvSpPr>
          <p:cNvPr id="6" name="TextBox 14">
            <a:extLst>
              <a:ext uri="{FF2B5EF4-FFF2-40B4-BE49-F238E27FC236}">
                <a16:creationId xmlns:a16="http://schemas.microsoft.com/office/drawing/2014/main" id="{3E8B88AC-D590-76B4-3F26-D792AE1CA42B}"/>
              </a:ext>
            </a:extLst>
          </p:cNvPr>
          <p:cNvSpPr txBox="1"/>
          <p:nvPr/>
        </p:nvSpPr>
        <p:spPr>
          <a:xfrm>
            <a:off x="831585" y="4846917"/>
            <a:ext cx="2589698" cy="738664"/>
          </a:xfrm>
          <a:prstGeom prst="rect">
            <a:avLst/>
          </a:prstGeom>
          <a:noFill/>
          <a:ln>
            <a:noFill/>
          </a:ln>
        </p:spPr>
        <p:txBody>
          <a:bodyPr wrap="square" lIns="0" tIns="0" rIns="0" bIns="0" rtlCol="0" anchor="ctr">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a:ln>
                  <a:noFill/>
                </a:ln>
                <a:solidFill>
                  <a:srgbClr val="7E889A">
                    <a:lumMod val="75000"/>
                  </a:srgbClr>
                </a:solidFill>
                <a:effectLst/>
                <a:uLnTx/>
                <a:uFillTx/>
                <a:latin typeface="Anova Light"/>
                <a:ea typeface="+mn-ea"/>
                <a:cs typeface="+mn-cs"/>
              </a:rPr>
              <a:t>Artificial Intelligence </a:t>
            </a:r>
          </a:p>
        </p:txBody>
      </p:sp>
      <p:sp>
        <p:nvSpPr>
          <p:cNvPr id="7" name="Oval 6">
            <a:extLst>
              <a:ext uri="{FF2B5EF4-FFF2-40B4-BE49-F238E27FC236}">
                <a16:creationId xmlns:a16="http://schemas.microsoft.com/office/drawing/2014/main" id="{16360B2E-3435-6EF6-4F55-B1DE23D4A499}"/>
              </a:ext>
            </a:extLst>
          </p:cNvPr>
          <p:cNvSpPr/>
          <p:nvPr/>
        </p:nvSpPr>
        <p:spPr>
          <a:xfrm>
            <a:off x="8394211" y="4095294"/>
            <a:ext cx="3429048" cy="2245895"/>
          </a:xfrm>
          <a:prstGeom prst="ellipse">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09728" tIns="109728" rIns="109728" bIns="109728" rtlCol="0" anchor="ctr"/>
          <a:lstStyle>
            <a:defPPr>
              <a:defRPr lang="en-US"/>
            </a:defPPr>
            <a:lvl1pPr marL="0" algn="l" defTabSz="914400" rtl="0" eaLnBrk="1" latinLnBrk="0" hangingPunct="1">
              <a:defRPr sz="3600" kern="1200">
                <a:solidFill>
                  <a:schemeClr val="lt1"/>
                </a:solidFill>
                <a:latin typeface="+mn-lt"/>
                <a:ea typeface="+mn-ea"/>
                <a:cs typeface="+mn-cs"/>
              </a:defRPr>
            </a:lvl1pPr>
            <a:lvl2pPr marL="914400" algn="l" defTabSz="914400" rtl="0" eaLnBrk="1" latinLnBrk="0" hangingPunct="1">
              <a:defRPr sz="3600" kern="1200">
                <a:solidFill>
                  <a:schemeClr val="lt1"/>
                </a:solidFill>
                <a:latin typeface="+mn-lt"/>
                <a:ea typeface="+mn-ea"/>
                <a:cs typeface="+mn-cs"/>
              </a:defRPr>
            </a:lvl2pPr>
            <a:lvl3pPr marL="1828800" algn="l" defTabSz="914400" rtl="0" eaLnBrk="1" latinLnBrk="0" hangingPunct="1">
              <a:defRPr sz="3600" kern="1200">
                <a:solidFill>
                  <a:schemeClr val="lt1"/>
                </a:solidFill>
                <a:latin typeface="+mn-lt"/>
                <a:ea typeface="+mn-ea"/>
                <a:cs typeface="+mn-cs"/>
              </a:defRPr>
            </a:lvl3pPr>
            <a:lvl4pPr marL="2743200" algn="l" defTabSz="914400" rtl="0" eaLnBrk="1" latinLnBrk="0" hangingPunct="1">
              <a:defRPr sz="3600" kern="1200">
                <a:solidFill>
                  <a:schemeClr val="lt1"/>
                </a:solidFill>
                <a:latin typeface="+mn-lt"/>
                <a:ea typeface="+mn-ea"/>
                <a:cs typeface="+mn-cs"/>
              </a:defRPr>
            </a:lvl4pPr>
            <a:lvl5pPr marL="3657600" algn="l" defTabSz="914400" rtl="0" eaLnBrk="1" latinLnBrk="0" hangingPunct="1">
              <a:defRPr sz="3600" kern="1200">
                <a:solidFill>
                  <a:schemeClr val="lt1"/>
                </a:solidFill>
                <a:latin typeface="+mn-lt"/>
                <a:ea typeface="+mn-ea"/>
                <a:cs typeface="+mn-cs"/>
              </a:defRPr>
            </a:lvl5pPr>
            <a:lvl6pPr marL="4572000" algn="l" defTabSz="914400" rtl="0" eaLnBrk="1" latinLnBrk="0" hangingPunct="1">
              <a:defRPr sz="3600" kern="1200">
                <a:solidFill>
                  <a:schemeClr val="lt1"/>
                </a:solidFill>
                <a:latin typeface="+mn-lt"/>
                <a:ea typeface="+mn-ea"/>
                <a:cs typeface="+mn-cs"/>
              </a:defRPr>
            </a:lvl6pPr>
            <a:lvl7pPr marL="5486400" algn="l" defTabSz="914400" rtl="0" eaLnBrk="1" latinLnBrk="0" hangingPunct="1">
              <a:defRPr sz="3600" kern="1200">
                <a:solidFill>
                  <a:schemeClr val="lt1"/>
                </a:solidFill>
                <a:latin typeface="+mn-lt"/>
                <a:ea typeface="+mn-ea"/>
                <a:cs typeface="+mn-cs"/>
              </a:defRPr>
            </a:lvl7pPr>
            <a:lvl8pPr marL="6400800" algn="l" defTabSz="914400" rtl="0" eaLnBrk="1" latinLnBrk="0" hangingPunct="1">
              <a:defRPr sz="3600" kern="1200">
                <a:solidFill>
                  <a:schemeClr val="lt1"/>
                </a:solidFill>
                <a:latin typeface="+mn-lt"/>
                <a:ea typeface="+mn-ea"/>
                <a:cs typeface="+mn-cs"/>
              </a:defRPr>
            </a:lvl8pPr>
            <a:lvl9pPr marL="7315200" algn="l" defTabSz="914400" rtl="0" eaLnBrk="1" latinLnBrk="0" hangingPunct="1">
              <a:defRPr sz="36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nova Light"/>
              <a:ea typeface="+mn-ea"/>
              <a:cs typeface="+mn-cs"/>
            </a:endParaRPr>
          </a:p>
        </p:txBody>
      </p:sp>
      <p:sp>
        <p:nvSpPr>
          <p:cNvPr id="8" name="TextBox 9">
            <a:extLst>
              <a:ext uri="{FF2B5EF4-FFF2-40B4-BE49-F238E27FC236}">
                <a16:creationId xmlns:a16="http://schemas.microsoft.com/office/drawing/2014/main" id="{B92683C3-7D07-0E69-F693-046991E1BFB5}"/>
              </a:ext>
            </a:extLst>
          </p:cNvPr>
          <p:cNvSpPr txBox="1"/>
          <p:nvPr/>
        </p:nvSpPr>
        <p:spPr>
          <a:xfrm>
            <a:off x="8555330" y="4960569"/>
            <a:ext cx="2075412" cy="369332"/>
          </a:xfrm>
          <a:prstGeom prst="rect">
            <a:avLst/>
          </a:prstGeom>
          <a:noFill/>
          <a:ln>
            <a:noFill/>
          </a:ln>
        </p:spPr>
        <p:txBody>
          <a:bodyPr wrap="square" lIns="0" tIns="0" rIns="0" bIns="0" rtlCol="0" anchor="ctr">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0" cap="none" spc="0" normalizeH="0" baseline="0" noProof="0">
                <a:ln>
                  <a:noFill/>
                </a:ln>
                <a:solidFill>
                  <a:srgbClr val="FFFFFF"/>
                </a:solidFill>
                <a:effectLst/>
                <a:uLnTx/>
                <a:uFillTx/>
                <a:latin typeface="Anova Light"/>
                <a:ea typeface="+mn-ea"/>
                <a:cs typeface="+mn-cs"/>
              </a:rPr>
              <a:t>Generative AI</a:t>
            </a:r>
          </a:p>
        </p:txBody>
      </p:sp>
      <p:cxnSp>
        <p:nvCxnSpPr>
          <p:cNvPr id="9" name="Elbow Connector 8">
            <a:extLst>
              <a:ext uri="{FF2B5EF4-FFF2-40B4-BE49-F238E27FC236}">
                <a16:creationId xmlns:a16="http://schemas.microsoft.com/office/drawing/2014/main" id="{8E2E3297-3AC4-2956-49F1-5F2A8A1A8CCD}"/>
              </a:ext>
            </a:extLst>
          </p:cNvPr>
          <p:cNvCxnSpPr>
            <a:cxnSpLocks/>
            <a:stCxn id="8" idx="1"/>
            <a:endCxn id="3" idx="1"/>
          </p:cNvCxnSpPr>
          <p:nvPr/>
        </p:nvCxnSpPr>
        <p:spPr>
          <a:xfrm rot="10800000" flipV="1">
            <a:off x="8394210" y="5145235"/>
            <a:ext cx="161120" cy="2912278"/>
          </a:xfrm>
          <a:prstGeom prst="bentConnector3">
            <a:avLst>
              <a:gd name="adj1" fmla="val 241882"/>
            </a:avLst>
          </a:prstGeom>
          <a:ln w="1905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10" name="Elbow Connector 9">
            <a:extLst>
              <a:ext uri="{FF2B5EF4-FFF2-40B4-BE49-F238E27FC236}">
                <a16:creationId xmlns:a16="http://schemas.microsoft.com/office/drawing/2014/main" id="{FCCD59E2-F960-8FB5-98A6-B9868597749B}"/>
              </a:ext>
            </a:extLst>
          </p:cNvPr>
          <p:cNvCxnSpPr>
            <a:cxnSpLocks/>
            <a:stCxn id="6" idx="1"/>
            <a:endCxn id="11" idx="1"/>
          </p:cNvCxnSpPr>
          <p:nvPr/>
        </p:nvCxnSpPr>
        <p:spPr>
          <a:xfrm rot="10800000" flipH="1" flipV="1">
            <a:off x="831585" y="5216249"/>
            <a:ext cx="5516" cy="2887430"/>
          </a:xfrm>
          <a:prstGeom prst="bentConnector3">
            <a:avLst>
              <a:gd name="adj1" fmla="val -4144307"/>
            </a:avLst>
          </a:prstGeom>
          <a:ln w="19050">
            <a:solidFill>
              <a:schemeClr val="bg1">
                <a:lumMod val="65000"/>
              </a:schemeClr>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 name="TextBox 30">
            <a:extLst>
              <a:ext uri="{FF2B5EF4-FFF2-40B4-BE49-F238E27FC236}">
                <a16:creationId xmlns:a16="http://schemas.microsoft.com/office/drawing/2014/main" id="{C0740310-2702-BC16-FF48-8D0D31F00D3C}"/>
              </a:ext>
            </a:extLst>
          </p:cNvPr>
          <p:cNvSpPr txBox="1"/>
          <p:nvPr/>
        </p:nvSpPr>
        <p:spPr>
          <a:xfrm>
            <a:off x="837101" y="7488126"/>
            <a:ext cx="4473063" cy="1231106"/>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000" b="0" i="0" u="none" strike="noStrike" kern="1200" cap="none" spc="0" normalizeH="0" baseline="0" noProof="0">
                <a:ln>
                  <a:noFill/>
                </a:ln>
                <a:solidFill>
                  <a:srgbClr val="0766D1"/>
                </a:solidFill>
                <a:effectLst/>
                <a:uLnTx/>
                <a:uFillTx/>
                <a:latin typeface="Anova Light"/>
                <a:ea typeface="+mn-ea"/>
                <a:cs typeface="+mn-cs"/>
              </a:rPr>
              <a:t>$13 Trillion</a:t>
            </a:r>
            <a:endParaRPr kumimoji="0" lang="en-US" sz="1400" b="0" i="0" u="none" strike="noStrike" kern="1200" cap="none" spc="0" normalizeH="0" baseline="0" noProof="0">
              <a:ln>
                <a:noFill/>
              </a:ln>
              <a:solidFill>
                <a:srgbClr val="0766D1"/>
              </a:solidFill>
              <a:effectLst/>
              <a:uLnTx/>
              <a:uFillTx/>
              <a:latin typeface="Anova Ligh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nova Light"/>
                <a:ea typeface="+mn-ea"/>
                <a:cs typeface="+mn-cs"/>
              </a:rPr>
              <a:t> </a:t>
            </a:r>
            <a:r>
              <a:rPr kumimoji="0" lang="en-US" sz="1600" b="0" i="0" u="none" strike="noStrike" kern="1200" cap="none" spc="0" normalizeH="0" baseline="0" noProof="0">
                <a:ln>
                  <a:noFill/>
                </a:ln>
                <a:solidFill>
                  <a:srgbClr val="000000"/>
                </a:solidFill>
                <a:effectLst/>
                <a:uLnTx/>
                <a:uFillTx/>
                <a:latin typeface="Anova Light"/>
                <a:ea typeface="+mn-ea"/>
                <a:cs typeface="+mn-cs"/>
              </a:rPr>
              <a:t>Global Economic Potential</a:t>
            </a:r>
            <a:endParaRPr kumimoji="0" lang="en-US" sz="2000" b="0" i="0" u="none" strike="noStrike" kern="1200" cap="none" spc="0" normalizeH="0" baseline="0" noProof="0">
              <a:ln>
                <a:noFill/>
              </a:ln>
              <a:solidFill>
                <a:srgbClr val="000000"/>
              </a:solidFill>
              <a:effectLst/>
              <a:uLnTx/>
              <a:uFillTx/>
              <a:latin typeface="Anova Light"/>
              <a:ea typeface="+mn-ea"/>
              <a:cs typeface="+mn-cs"/>
            </a:endParaRPr>
          </a:p>
        </p:txBody>
      </p:sp>
      <p:sp>
        <p:nvSpPr>
          <p:cNvPr id="12" name="TextBox 31">
            <a:extLst>
              <a:ext uri="{FF2B5EF4-FFF2-40B4-BE49-F238E27FC236}">
                <a16:creationId xmlns:a16="http://schemas.microsoft.com/office/drawing/2014/main" id="{EFA1E727-4C5B-739F-5319-4C09C90FAF11}"/>
              </a:ext>
            </a:extLst>
          </p:cNvPr>
          <p:cNvSpPr txBox="1"/>
          <p:nvPr/>
        </p:nvSpPr>
        <p:spPr>
          <a:xfrm>
            <a:off x="837101" y="9287855"/>
            <a:ext cx="5522619" cy="215444"/>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BAC0C9"/>
                </a:solidFill>
                <a:effectLst/>
                <a:uLnTx/>
                <a:uFillTx/>
                <a:latin typeface="Anova Light"/>
                <a:ea typeface="+mn-ea"/>
                <a:cs typeface="+mn-cs"/>
              </a:rPr>
              <a:t>Source : McKinsey, The economic potential of AI, 2023</a:t>
            </a:r>
          </a:p>
        </p:txBody>
      </p:sp>
      <p:sp>
        <p:nvSpPr>
          <p:cNvPr id="13" name="TextBox 70">
            <a:extLst>
              <a:ext uri="{FF2B5EF4-FFF2-40B4-BE49-F238E27FC236}">
                <a16:creationId xmlns:a16="http://schemas.microsoft.com/office/drawing/2014/main" id="{8D18A956-F34F-1142-9BF4-A3EC72DED267}"/>
              </a:ext>
            </a:extLst>
          </p:cNvPr>
          <p:cNvSpPr txBox="1"/>
          <p:nvPr/>
        </p:nvSpPr>
        <p:spPr>
          <a:xfrm>
            <a:off x="12558071" y="4477585"/>
            <a:ext cx="5294791" cy="1477328"/>
          </a:xfrm>
          <a:prstGeom prst="rect">
            <a:avLst/>
          </a:prstGeom>
          <a:noFill/>
        </p:spPr>
        <p:txBody>
          <a:bodyPr wrap="square" lIns="0" tIns="0" rIns="0" bIns="0" rtlCol="0">
            <a:spAutoFit/>
          </a:bodyPr>
          <a:lstStyle>
            <a:defPPr>
              <a:defRPr lang="en-US"/>
            </a:defPPr>
            <a:lvl1pPr marL="0" algn="l" defTabSz="914400" rtl="0" eaLnBrk="1" latinLnBrk="0" hangingPunct="1">
              <a:defRPr sz="3600" kern="1200">
                <a:solidFill>
                  <a:schemeClr val="tx1"/>
                </a:solidFill>
                <a:latin typeface="+mn-lt"/>
                <a:ea typeface="+mn-ea"/>
                <a:cs typeface="+mn-cs"/>
              </a:defRPr>
            </a:lvl1pPr>
            <a:lvl2pPr marL="914400" algn="l" defTabSz="914400" rtl="0" eaLnBrk="1" latinLnBrk="0" hangingPunct="1">
              <a:defRPr sz="3600" kern="1200">
                <a:solidFill>
                  <a:schemeClr val="tx1"/>
                </a:solidFill>
                <a:latin typeface="+mn-lt"/>
                <a:ea typeface="+mn-ea"/>
                <a:cs typeface="+mn-cs"/>
              </a:defRPr>
            </a:lvl2pPr>
            <a:lvl3pPr marL="1828800" algn="l" defTabSz="914400" rtl="0" eaLnBrk="1" latinLnBrk="0" hangingPunct="1">
              <a:defRPr sz="3600" kern="1200">
                <a:solidFill>
                  <a:schemeClr val="tx1"/>
                </a:solidFill>
                <a:latin typeface="+mn-lt"/>
                <a:ea typeface="+mn-ea"/>
                <a:cs typeface="+mn-cs"/>
              </a:defRPr>
            </a:lvl3pPr>
            <a:lvl4pPr marL="2743200" algn="l" defTabSz="914400" rtl="0" eaLnBrk="1" latinLnBrk="0" hangingPunct="1">
              <a:defRPr sz="3600" kern="1200">
                <a:solidFill>
                  <a:schemeClr val="tx1"/>
                </a:solidFill>
                <a:latin typeface="+mn-lt"/>
                <a:ea typeface="+mn-ea"/>
                <a:cs typeface="+mn-cs"/>
              </a:defRPr>
            </a:lvl4pPr>
            <a:lvl5pPr marL="3657600" algn="l" defTabSz="914400" rtl="0" eaLnBrk="1" latinLnBrk="0" hangingPunct="1">
              <a:defRPr sz="3600" kern="1200">
                <a:solidFill>
                  <a:schemeClr val="tx1"/>
                </a:solidFill>
                <a:latin typeface="+mn-lt"/>
                <a:ea typeface="+mn-ea"/>
                <a:cs typeface="+mn-cs"/>
              </a:defRPr>
            </a:lvl5pPr>
            <a:lvl6pPr marL="4572000" algn="l" defTabSz="914400" rtl="0" eaLnBrk="1" latinLnBrk="0" hangingPunct="1">
              <a:defRPr sz="3600" kern="1200">
                <a:solidFill>
                  <a:schemeClr val="tx1"/>
                </a:solidFill>
                <a:latin typeface="+mn-lt"/>
                <a:ea typeface="+mn-ea"/>
                <a:cs typeface="+mn-cs"/>
              </a:defRPr>
            </a:lvl6pPr>
            <a:lvl7pPr marL="5486400" algn="l" defTabSz="914400" rtl="0" eaLnBrk="1" latinLnBrk="0" hangingPunct="1">
              <a:defRPr sz="3600" kern="1200">
                <a:solidFill>
                  <a:schemeClr val="tx1"/>
                </a:solidFill>
                <a:latin typeface="+mn-lt"/>
                <a:ea typeface="+mn-ea"/>
                <a:cs typeface="+mn-cs"/>
              </a:defRPr>
            </a:lvl7pPr>
            <a:lvl8pPr marL="6400800" algn="l" defTabSz="914400" rtl="0" eaLnBrk="1" latinLnBrk="0" hangingPunct="1">
              <a:defRPr sz="3600" kern="1200">
                <a:solidFill>
                  <a:schemeClr val="tx1"/>
                </a:solidFill>
                <a:latin typeface="+mn-lt"/>
                <a:ea typeface="+mn-ea"/>
                <a:cs typeface="+mn-cs"/>
              </a:defRPr>
            </a:lvl8pPr>
            <a:lvl9pPr marL="7315200" algn="l" defTabSz="914400" rtl="0" eaLnBrk="1" latinLnBrk="0" hangingPunct="1">
              <a:defRPr sz="36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Anova Light"/>
                <a:ea typeface="+mn-ea"/>
                <a:cs typeface="+mn-cs"/>
              </a:rPr>
              <a:t>Generative AI could increas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a:ln>
                  <a:noFill/>
                </a:ln>
                <a:solidFill>
                  <a:srgbClr val="000000"/>
                </a:solidFill>
                <a:effectLst/>
                <a:uLnTx/>
                <a:uFillTx/>
                <a:latin typeface="Anova Light"/>
                <a:ea typeface="+mn-ea"/>
                <a:cs typeface="+mn-cs"/>
              </a:rPr>
              <a:t>the impact of all AI by up to </a:t>
            </a:r>
            <a:r>
              <a:rPr kumimoji="0" lang="en-US" sz="3200" b="1" i="0" u="none" strike="noStrike" kern="1200" cap="none" spc="0" normalizeH="0" baseline="0" noProof="0">
                <a:ln>
                  <a:noFill/>
                </a:ln>
                <a:solidFill>
                  <a:srgbClr val="0766D1"/>
                </a:solidFill>
                <a:effectLst/>
                <a:uLnTx/>
                <a:uFillTx/>
                <a:latin typeface="Anova Light"/>
                <a:ea typeface="+mn-ea"/>
                <a:cs typeface="+mn-cs"/>
              </a:rPr>
              <a:t>40%</a:t>
            </a:r>
          </a:p>
        </p:txBody>
      </p:sp>
    </p:spTree>
    <p:extLst>
      <p:ext uri="{BB962C8B-B14F-4D97-AF65-F5344CB8AC3E}">
        <p14:creationId xmlns:p14="http://schemas.microsoft.com/office/powerpoint/2010/main" val="1871069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DESIGN_ID_1_2020-TEMPLATE-EXTERNAL" val="pdtUH84H"/>
  <p:tag name="ARTICULATE_DESIGN_ID_SAS-EXTERNAL-16X9-2023" val="CJxW6PTk"/>
  <p:tag name="ARTICULATE_DESIGN_ID_1_NDA" val="5KPCLKMf"/>
  <p:tag name="ARTICULATE_DESIGN_ID_1_SAS-EXTERNAL-16X9-2023" val="OvZPFYIY"/>
  <p:tag name="ARTICULATE_DESIGN_ID_SAS - EXTERNAL - 16X9 - 2023" val="iju6vBOG"/>
  <p:tag name="ARTICULATE_DESIGN_ID_SAS - EXTERNAL" val="IZ9bNYet"/>
  <p:tag name="ARTICULATE_DESIGN_ID_SAS - EXTERNAL - NDA" val="RR4fBfJW"/>
  <p:tag name="ARTICULATE_SLIDE_THUMBNAIL_REFRESH" val="1"/>
  <p:tag name="ARTICULATE_DESIGN_ID_CUSTOM DESIGN" val="WASRYxhz"/>
  <p:tag name="ARTICULATE_SLIDE_COUNT" val="11"/>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2.xml><?xml version="1.0" encoding="utf-8"?>
<a:theme xmlns:a="http://schemas.openxmlformats.org/drawingml/2006/main" name="1_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A96E97DE-E006-4BC1-B8D7-E7FA054FE7B2}" vid="{4E782E98-229E-4C73-8556-DB034D0A77A9}"/>
    </a:ext>
  </a:extLst>
</a:theme>
</file>

<file path=ppt/theme/theme3.xml><?xml version="1.0" encoding="utf-8"?>
<a:theme xmlns:a="http://schemas.openxmlformats.org/drawingml/2006/main" name="SAS - Confidenti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CONFIDENTIAL_Template_2023.potx" id="{3936ECAC-0D1B-469A-A09C-1915A0353B54}" vid="{7814F9EA-E9A5-46B0-B81B-0FE95CC4858A}"/>
    </a:ext>
  </a:extLst>
</a:theme>
</file>

<file path=ppt/theme/theme4.xml><?xml version="1.0" encoding="utf-8"?>
<a:theme xmlns:a="http://schemas.openxmlformats.org/drawingml/2006/main" name="1_SAS - Confidenti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CONFIDENTIAL_Template_2023.potx" id="{3936ECAC-0D1B-469A-A09C-1915A0353B54}" vid="{7814F9EA-E9A5-46B0-B81B-0FE95CC4858A}"/>
    </a:ext>
  </a:extLst>
</a:theme>
</file>

<file path=ppt/theme/theme5.xml><?xml version="1.0" encoding="utf-8"?>
<a:theme xmlns:a="http://schemas.openxmlformats.org/drawingml/2006/main" name="SAS Innovate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2024_SASInnovate_Mainstage_PPTTemplate" id="{78450B06-7FAB-6A4E-8927-732E8E5C874D}" vid="{2DC5AAAF-4202-2C47-AB8A-8D1F48F050E6}"/>
    </a:ext>
  </a:extLst>
</a:theme>
</file>

<file path=ppt/theme/theme6.xml><?xml version="1.0" encoding="utf-8"?>
<a:theme xmlns:a="http://schemas.openxmlformats.org/drawingml/2006/main" name="2_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7.xml><?xml version="1.0" encoding="utf-8"?>
<a:theme xmlns:a="http://schemas.openxmlformats.org/drawingml/2006/main" name="Office Theme">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SAS Portal Document" ma:contentTypeID="0x0101006BE659B9BD46644CB3C6870C03978025005CB50883B3C43A478864FD3733308FDF" ma:contentTypeVersion="47" ma:contentTypeDescription="Custom content type used for content that is surfaced on the Sales &amp; Marketing Portal.." ma:contentTypeScope="" ma:versionID="702485a0ee13713eff79b7734284e648">
  <xsd:schema xmlns:xsd="http://www.w3.org/2001/XMLSchema" xmlns:xs="http://www.w3.org/2001/XMLSchema" xmlns:p="http://schemas.microsoft.com/office/2006/metadata/properties" xmlns:ns2="53acc77d-4382-4413-8c2d-408a8e2a5705" xmlns:ns4="c0deae89-c20c-489c-86cb-8cbae6d4d312" targetNamespace="http://schemas.microsoft.com/office/2006/metadata/properties" ma:root="true" ma:fieldsID="b65df7f7ce1b2aaa45a1af8006dd7998" ns2:_="" ns4:_="">
    <xsd:import namespace="53acc77d-4382-4413-8c2d-408a8e2a5705"/>
    <xsd:import namespace="c0deae89-c20c-489c-86cb-8cbae6d4d312"/>
    <xsd:element name="properties">
      <xsd:complexType>
        <xsd:sequence>
          <xsd:element name="documentManagement">
            <xsd:complexType>
              <xsd:all>
                <xsd:element ref="ns2:Portal_x0020_Content_x0020_Asset_x0020_Type"/>
                <xsd:element ref="ns2:Asset_x0020_Status"/>
                <xsd:element ref="ns2:Demo_x0020_ID" minOccurs="0"/>
                <xsd:element ref="ns4:PublishingContact" minOccurs="0"/>
                <xsd:element ref="ns2:Updated" minOccurs="0"/>
                <xsd:element ref="ns2:g1556e91db324706a2d96877947f44a1" minOccurs="0"/>
                <xsd:element ref="ns2:TaxCatchAll" minOccurs="0"/>
                <xsd:element ref="ns2:TaxCatchAllLabel" minOccurs="0"/>
                <xsd:element ref="ns2:a5eaf523e06a49de8d79f6acc451673f" minOccurs="0"/>
                <xsd:element ref="ns4:MediaServiceMetadata" minOccurs="0"/>
                <xsd:element ref="ns4:MediaServiceFastMetadata" minOccurs="0"/>
                <xsd:element ref="ns2:SharedWithUsers" minOccurs="0"/>
                <xsd:element ref="ns2:SharedWithDetails" minOccurs="0"/>
                <xsd:element ref="ns2:pc8465657618468292594f9ab4689c33" minOccurs="0"/>
                <xsd:element ref="ns4:Value_x0020_Proposition" minOccurs="0"/>
                <xsd:element ref="ns4:MediaServiceAutoKeyPoints" minOccurs="0"/>
                <xsd:element ref="ns4:MediaServiceKeyPoints" minOccurs="0"/>
                <xsd:element ref="ns4:MediaServiceDateTaken" minOccurs="0"/>
                <xsd:element ref="ns4:MediaLengthInSeconds"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acc77d-4382-4413-8c2d-408a8e2a5705" elementFormDefault="qualified">
    <xsd:import namespace="http://schemas.microsoft.com/office/2006/documentManagement/types"/>
    <xsd:import namespace="http://schemas.microsoft.com/office/infopath/2007/PartnerControls"/>
    <xsd:element name="Portal_x0020_Content_x0020_Asset_x0020_Type" ma:index="2" ma:displayName="Asset Type" ma:description="Types of assets available for publishing in Portal Content Libraries." ma:format="Dropdown" ma:internalName="Portal_x0020_Content_x0020_Asset_x0020_Type" ma:readOnly="false">
      <xsd:simpleType>
        <xsd:restriction base="dms:Choice">
          <xsd:enumeration value="Battle Card"/>
          <xsd:enumeration value="Competitive Research"/>
          <xsd:enumeration value="Customer Challenge &amp; What SAS Offers"/>
          <xsd:enumeration value="Customer Introduction Letter"/>
          <xsd:enumeration value="Demo Recording (Customer Ready)"/>
          <xsd:enumeration value="Demo Recording (Internal)"/>
          <xsd:enumeration value="Demo Resource"/>
          <xsd:enumeration value="Demo Script"/>
          <xsd:enumeration value="Discovery Questions"/>
          <xsd:enumeration value="External Video"/>
          <xsd:enumeration value="FAQ"/>
          <xsd:enumeration value="Industry Overview Presentation"/>
          <xsd:enumeration value="Initiate Conversations"/>
          <xsd:enumeration value="Know Your Buyer"/>
          <xsd:enumeration value="Overview Presentation"/>
          <xsd:enumeration value="Presentation - Internal"/>
          <xsd:enumeration value="Product Roadmap"/>
          <xsd:enumeration value="Product Vision"/>
          <xsd:enumeration value="Qualification Criteria"/>
          <xsd:enumeration value="ROI Calculator"/>
          <xsd:enumeration value="Sales Strategy"/>
          <xsd:enumeration value="Sales Tools - Other"/>
          <xsd:enumeration value="Self-Directed Learning"/>
          <xsd:enumeration value="Shark Finesse ROI Model"/>
          <xsd:enumeration value="Social Selling QuickStart Guide"/>
          <xsd:enumeration value="Solution Brief"/>
          <xsd:enumeration value="Technical - Other"/>
          <xsd:enumeration value="Use Cases"/>
        </xsd:restriction>
      </xsd:simpleType>
    </xsd:element>
    <xsd:element name="Asset_x0020_Status" ma:index="5" ma:displayName="Asset Status" ma:default="Draft" ma:description="Publishing status of asset.  Select &quot;Publish&quot; for asset to be available in Mercury / Sales &amp; Marketing Portal." ma:format="Dropdown" ma:internalName="Asset_x0020_Status" ma:readOnly="false">
      <xsd:simpleType>
        <xsd:restriction base="dms:Choice">
          <xsd:enumeration value="Draft"/>
          <xsd:enumeration value="Under Review"/>
          <xsd:enumeration value="Publish"/>
          <xsd:enumeration value="Archive"/>
        </xsd:restriction>
      </xsd:simpleType>
    </xsd:element>
    <xsd:element name="Demo_x0020_ID" ma:index="9" nillable="true" ma:displayName="Demo ID" ma:description="For demo resources only" ma:internalName="Demo_x0020_ID" ma:readOnly="false">
      <xsd:simpleType>
        <xsd:restriction base="dms:Text">
          <xsd:maxLength value="255"/>
        </xsd:restriction>
      </xsd:simpleType>
    </xsd:element>
    <xsd:element name="Updated" ma:index="12" nillable="true" ma:displayName="Updated" ma:description="This field MUST include the date of last update.  Asset expiration rules are based on this date, and assets will expire if they have not been recently updated (after 550 days for many asset types). See the Asset Lifecycle List at http://sww.sas.com/gobot/assets" ma:format="DateOnly" ma:hidden="true" ma:internalName="Updated" ma:readOnly="false">
      <xsd:simpleType>
        <xsd:restriction base="dms:DateTime"/>
      </xsd:simpleType>
    </xsd:element>
    <xsd:element name="g1556e91db324706a2d96877947f44a1" ma:index="16" nillable="true" ma:taxonomy="true" ma:internalName="g1556e91db324706a2d96877947f44a1" ma:taxonomyFieldName="SAS_x0020_CBO" ma:displayName="SAS CBO" ma:readOnly="false" ma:default="" ma:fieldId="{01556e91-db32-4706-a2d9-6877947f44a1}" ma:taxonomyMulti="true" ma:sspId="7fd0e135-c9ac-4e89-9c36-fb2929ad0f0a" ma:termSetId="ca7520f6-ccfb-4624-b7c3-7e078f59c263" ma:anchorId="00000000-0000-0000-0000-000000000000" ma:open="false" ma:isKeyword="false">
      <xsd:complexType>
        <xsd:sequence>
          <xsd:element ref="pc:Terms" minOccurs="0" maxOccurs="1"/>
        </xsd:sequence>
      </xsd:complexType>
    </xsd:element>
    <xsd:element name="TaxCatchAll" ma:index="18" nillable="true" ma:displayName="Taxonomy Catch All Column" ma:hidden="true" ma:list="{acba37b5-229d-48b1-a098-788030c8aec9}" ma:internalName="TaxCatchAll" ma:readOnly="false" ma:showField="CatchAllData" ma:web="53acc77d-4382-4413-8c2d-408a8e2a5705">
      <xsd:complexType>
        <xsd:complexContent>
          <xsd:extension base="dms:MultiChoiceLookup">
            <xsd:sequence>
              <xsd:element name="Value" type="dms:Lookup" maxOccurs="unbounded" minOccurs="0" nillable="true"/>
            </xsd:sequence>
          </xsd:extension>
        </xsd:complexContent>
      </xsd:complexType>
    </xsd:element>
    <xsd:element name="TaxCatchAllLabel" ma:index="19" nillable="true" ma:displayName="Taxonomy Catch All Column1" ma:hidden="true" ma:list="{acba37b5-229d-48b1-a098-788030c8aec9}" ma:internalName="TaxCatchAllLabel" ma:readOnly="true" ma:showField="CatchAllDataLabel" ma:web="53acc77d-4382-4413-8c2d-408a8e2a5705">
      <xsd:complexType>
        <xsd:complexContent>
          <xsd:extension base="dms:MultiChoiceLookup">
            <xsd:sequence>
              <xsd:element name="Value" type="dms:Lookup" maxOccurs="unbounded" minOccurs="0" nillable="true"/>
            </xsd:sequence>
          </xsd:extension>
        </xsd:complexContent>
      </xsd:complexType>
    </xsd:element>
    <xsd:element name="a5eaf523e06a49de8d79f6acc451673f" ma:index="21" nillable="true" ma:taxonomy="true" ma:internalName="a5eaf523e06a49de8d79f6acc451673f" ma:taxonomyFieldName="SAS_x0020_Industry" ma:displayName="SAS Industry" ma:readOnly="false" ma:default="" ma:fieldId="{a5eaf523-e06a-49de-8d79-f6acc451673f}" ma:taxonomyMulti="true" ma:sspId="7fd0e135-c9ac-4e89-9c36-fb2929ad0f0a" ma:termSetId="05306096-4b6f-4ef3-835e-901537768b2c" ma:anchorId="00000000-0000-0000-0000-000000000000" ma:open="false" ma:isKeyword="false">
      <xsd:complexType>
        <xsd:sequence>
          <xsd:element ref="pc:Terms" minOccurs="0" maxOccurs="1"/>
        </xsd:sequence>
      </xsd:complexType>
    </xsd:element>
    <xsd:element name="SharedWithUsers" ma:index="2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6" nillable="true" ma:displayName="Shared With Details" ma:internalName="SharedWithDetails" ma:readOnly="true">
      <xsd:simpleType>
        <xsd:restriction base="dms:Note">
          <xsd:maxLength value="255"/>
        </xsd:restriction>
      </xsd:simpleType>
    </xsd:element>
    <xsd:element name="pc8465657618468292594f9ab4689c33" ma:index="27" nillable="true" ma:taxonomy="true" ma:internalName="pc8465657618468292594f9ab4689c33" ma:taxonomyFieldName="SAS_x0020_Offering" ma:displayName="SAS Offering" ma:readOnly="false" ma:default="" ma:fieldId="{9c846565-7618-4682-9259-4f9ab4689c33}" ma:taxonomyMulti="true" ma:sspId="7fd0e135-c9ac-4e89-9c36-fb2929ad0f0a" ma:termSetId="13b43256-b3b3-4bff-80b2-57e1064dbe9a"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0deae89-c20c-489c-86cb-8cbae6d4d312" elementFormDefault="qualified">
    <xsd:import namespace="http://schemas.microsoft.com/office/2006/documentManagement/types"/>
    <xsd:import namespace="http://schemas.microsoft.com/office/infopath/2007/PartnerControls"/>
    <xsd:element name="PublishingContact" ma:index="10" nillable="true" ma:displayName="Contact" ma:description="Populates Author field in Mercury." ma:hidden="true" ma:list="UserInfo" ma:SearchPeopleOnly="false" ma:SharePointGroup="0" ma:internalName="PublishingContact"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ediaServiceMetadata" ma:index="23" nillable="true" ma:displayName="MediaServiceMetadata" ma:hidden="true" ma:internalName="MediaServiceMetadata" ma:readOnly="true">
      <xsd:simpleType>
        <xsd:restriction base="dms:Note"/>
      </xsd:simpleType>
    </xsd:element>
    <xsd:element name="MediaServiceFastMetadata" ma:index="24" nillable="true" ma:displayName="MediaServiceFastMetadata" ma:hidden="true" ma:internalName="MediaServiceFastMetadata" ma:readOnly="true">
      <xsd:simpleType>
        <xsd:restriction base="dms:Note"/>
      </xsd:simpleType>
    </xsd:element>
    <xsd:element name="Value_x0020_Proposition" ma:index="28" nillable="true" ma:displayName="Library VP Filter" ma:default="Not Set" ma:description="Used for library views ONLY, for grouping and filtering assets. These values do NOT impact Mercury or Quick Find tagging.  Use SAS CBO for official content tagging." ma:format="Dropdown" ma:hidden="true" ma:internalName="Value_x0020_Proposition" ma:readOnly="false">
      <xsd:simpleType>
        <xsd:restriction base="dms:Choice">
          <xsd:enumeration value="Automate Modeling"/>
          <xsd:enumeration value="Advancing with AI"/>
          <xsd:enumeration value="N/A - Demo"/>
          <xsd:enumeration value="N/A - Focus Area"/>
          <xsd:enumeration value="N/A - Industry"/>
          <xsd:enumeration value="N/A - Product &amp; Solution"/>
          <xsd:enumeration value="N/A - Retired Topics"/>
          <xsd:enumeration value="N/A - Roadmap"/>
          <xsd:enumeration value="Not Set"/>
        </xsd:restriction>
      </xsd:simpleType>
    </xsd:element>
    <xsd:element name="MediaServiceAutoKeyPoints" ma:index="29" nillable="true" ma:displayName="MediaServiceAutoKeyPoints" ma:hidden="true" ma:internalName="MediaServiceAutoKeyPoints" ma:readOnly="true">
      <xsd:simpleType>
        <xsd:restriction base="dms:Note"/>
      </xsd:simpleType>
    </xsd:element>
    <xsd:element name="MediaServiceKeyPoints" ma:index="30" nillable="true" ma:displayName="KeyPoints" ma:internalName="MediaServiceKeyPoints" ma:readOnly="true">
      <xsd:simpleType>
        <xsd:restriction base="dms:Note">
          <xsd:maxLength value="255"/>
        </xsd:restriction>
      </xsd:simpleType>
    </xsd:element>
    <xsd:element name="MediaServiceDateTaken" ma:index="31" nillable="true" ma:displayName="MediaServiceDateTaken" ma:hidden="true" ma:internalName="MediaServiceDateTaken" ma:readOnly="true">
      <xsd:simpleType>
        <xsd:restriction base="dms:Text"/>
      </xsd:simpleType>
    </xsd:element>
    <xsd:element name="MediaLengthInSeconds" ma:index="32" nillable="true" ma:displayName="Length (seconds)" ma:internalName="MediaLengthInSeconds" ma:readOnly="true">
      <xsd:simpleType>
        <xsd:restriction base="dms:Unknown"/>
      </xsd:simpleType>
    </xsd:element>
    <xsd:element name="MediaServiceObjectDetectorVersions" ma:index="33" nillable="true" ma:displayName="MediaServiceObjectDetectorVersions" ma:hidden="true" ma:indexed="true" ma:internalName="MediaServiceObjectDetectorVersions" ma:readOnly="true">
      <xsd:simpleType>
        <xsd:restriction base="dms:Text"/>
      </xsd:simpleType>
    </xsd:element>
    <xsd:element name="MediaServiceSearchProperties" ma:index="3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axOccurs="1" ma:index="4" ma:displayName="Author"/>
        <xsd:element ref="dcterms:created" minOccurs="0" maxOccurs="1"/>
        <xsd:element ref="dc:identifier" minOccurs="0" maxOccurs="1"/>
        <xsd:element name="contentType" minOccurs="0" maxOccurs="1" type="xsd:string" ma:displayName="Content Type"/>
        <xsd:element ref="dc:title" maxOccurs="1" ma:index="1" ma:displayName="Title"/>
        <xsd:element ref="dc:subject" minOccurs="0" maxOccurs="1"/>
        <xsd:element ref="dc:description" maxOccurs="1" ma:index="3" ma:displayName="Description"/>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customXsn xmlns="http://schemas.microsoft.com/office/2006/metadata/customXsn">
  <xsnLocation/>
  <cached>True</cached>
  <openByDefault>True</openByDefault>
  <xsnScope/>
</customXsn>
</file>

<file path=customXml/item4.xml><?xml version="1.0" encoding="utf-8"?>
<p:properties xmlns:p="http://schemas.microsoft.com/office/2006/metadata/properties" xmlns:xsi="http://www.w3.org/2001/XMLSchema-instance" xmlns:pc="http://schemas.microsoft.com/office/infopath/2007/PartnerControls">
  <documentManagement>
    <Updated xmlns="53acc77d-4382-4413-8c2d-408a8e2a5705" xsi:nil="true"/>
    <a5eaf523e06a49de8d79f6acc451673f xmlns="53acc77d-4382-4413-8c2d-408a8e2a5705">
      <Terms xmlns="http://schemas.microsoft.com/office/infopath/2007/PartnerControls"/>
    </a5eaf523e06a49de8d79f6acc451673f>
    <Value_x0020_Proposition xmlns="c0deae89-c20c-489c-86cb-8cbae6d4d312">Not Set</Value_x0020_Proposition>
    <g1556e91db324706a2d96877947f44a1 xmlns="53acc77d-4382-4413-8c2d-408a8e2a5705">
      <Terms xmlns="http://schemas.microsoft.com/office/infopath/2007/PartnerControls"/>
    </g1556e91db324706a2d96877947f44a1>
    <TaxCatchAll xmlns="53acc77d-4382-4413-8c2d-408a8e2a5705" xsi:nil="true"/>
    <Asset_x0020_Status xmlns="53acc77d-4382-4413-8c2d-408a8e2a5705">Publish</Asset_x0020_Status>
    <pc8465657618468292594f9ab4689c33 xmlns="53acc77d-4382-4413-8c2d-408a8e2a5705">
      <Terms xmlns="http://schemas.microsoft.com/office/infopath/2007/PartnerControls"/>
    </pc8465657618468292594f9ab4689c33>
    <Demo_x0020_ID xmlns="53acc77d-4382-4413-8c2d-408a8e2a5705" xsi:nil="true"/>
    <PublishingContact xmlns="c0deae89-c20c-489c-86cb-8cbae6d4d312">
      <UserInfo>
        <DisplayName/>
        <AccountId xsi:nil="true"/>
        <AccountType/>
      </UserInfo>
    </PublishingContact>
    <Portal_x0020_Content_x0020_Asset_x0020_Type xmlns="53acc77d-4382-4413-8c2d-408a8e2a5705">Overview Presentation</Portal_x0020_Content_x0020_Asset_x0020_Type>
  </documentManagement>
</p:properties>
</file>

<file path=customXml/itemProps1.xml><?xml version="1.0" encoding="utf-8"?>
<ds:datastoreItem xmlns:ds="http://schemas.openxmlformats.org/officeDocument/2006/customXml" ds:itemID="{6ECBDF51-7A92-4E62-AFF7-7A7528BDDA95}">
  <ds:schemaRefs>
    <ds:schemaRef ds:uri="53acc77d-4382-4413-8c2d-408a8e2a5705"/>
    <ds:schemaRef ds:uri="c0deae89-c20c-489c-86cb-8cbae6d4d31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3E925E4-5239-4639-A029-07B3CFD6A3F1}">
  <ds:schemaRefs>
    <ds:schemaRef ds:uri="http://schemas.microsoft.com/sharepoint/v3/contenttype/forms"/>
  </ds:schemaRefs>
</ds:datastoreItem>
</file>

<file path=customXml/itemProps3.xml><?xml version="1.0" encoding="utf-8"?>
<ds:datastoreItem xmlns:ds="http://schemas.openxmlformats.org/officeDocument/2006/customXml" ds:itemID="{3849E918-FCF0-4208-B81C-3329306E0C28}">
  <ds:schemaRefs>
    <ds:schemaRef ds:uri="http://schemas.microsoft.com/office/2006/metadata/customXsn"/>
  </ds:schemaRefs>
</ds:datastoreItem>
</file>

<file path=customXml/itemProps4.xml><?xml version="1.0" encoding="utf-8"?>
<ds:datastoreItem xmlns:ds="http://schemas.openxmlformats.org/officeDocument/2006/customXml" ds:itemID="{E2663518-7548-4643-8219-608BFF0DFA0C}">
  <ds:schemaRefs>
    <ds:schemaRef ds:uri="http://purl.org/dc/elements/1.1/"/>
    <ds:schemaRef ds:uri="http://schemas.microsoft.com/office/2006/metadata/properties"/>
    <ds:schemaRef ds:uri="http://www.w3.org/XML/1998/namespace"/>
    <ds:schemaRef ds:uri="http://schemas.microsoft.com/office/infopath/2007/PartnerControls"/>
    <ds:schemaRef ds:uri="http://purl.org/dc/terms/"/>
    <ds:schemaRef ds:uri="53acc77d-4382-4413-8c2d-408a8e2a5705"/>
    <ds:schemaRef ds:uri="http://schemas.microsoft.com/office/2006/documentManagement/types"/>
    <ds:schemaRef ds:uri="http://schemas.openxmlformats.org/package/2006/metadata/core-properties"/>
    <ds:schemaRef ds:uri="c0deae89-c20c-489c-86cb-8cbae6d4d312"/>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EXTERNAL_Template_2023</Template>
  <TotalTime>567</TotalTime>
  <Words>1630</Words>
  <Application>Microsoft Office PowerPoint</Application>
  <PresentationFormat>Custom</PresentationFormat>
  <Paragraphs>298</Paragraphs>
  <Slides>27</Slides>
  <Notes>20</Notes>
  <HiddenSlides>0</HiddenSlides>
  <MMClips>1</MMClips>
  <ScaleCrop>false</ScaleCrop>
  <HeadingPairs>
    <vt:vector size="6" baseType="variant">
      <vt:variant>
        <vt:lpstr>Fonts Used</vt:lpstr>
      </vt:variant>
      <vt:variant>
        <vt:i4>11</vt:i4>
      </vt:variant>
      <vt:variant>
        <vt:lpstr>Theme</vt:lpstr>
      </vt:variant>
      <vt:variant>
        <vt:i4>6</vt:i4>
      </vt:variant>
      <vt:variant>
        <vt:lpstr>Slide Titles</vt:lpstr>
      </vt:variant>
      <vt:variant>
        <vt:i4>27</vt:i4>
      </vt:variant>
    </vt:vector>
  </HeadingPairs>
  <TitlesOfParts>
    <vt:vector size="44" baseType="lpstr">
      <vt:lpstr>Arial</vt:lpstr>
      <vt:lpstr>Avenir Black</vt:lpstr>
      <vt:lpstr>Calibri</vt:lpstr>
      <vt:lpstr>Anova Light</vt:lpstr>
      <vt:lpstr>Avenir Book</vt:lpstr>
      <vt:lpstr>Anova Bold</vt:lpstr>
      <vt:lpstr>Times New Roman</vt:lpstr>
      <vt:lpstr>Avenir Next LT Pro</vt:lpstr>
      <vt:lpstr>Symbol</vt:lpstr>
      <vt:lpstr>Anova</vt:lpstr>
      <vt:lpstr>Courier New</vt:lpstr>
      <vt:lpstr>SAS - EXTERNAL</vt:lpstr>
      <vt:lpstr>1_SAS - EXTERNAL</vt:lpstr>
      <vt:lpstr>SAS - Confidential</vt:lpstr>
      <vt:lpstr>1_SAS - Confidential</vt:lpstr>
      <vt:lpstr>SAS Innovate - EXTERNAL</vt:lpstr>
      <vt:lpstr>2_SAS - EXTERNAL</vt:lpstr>
      <vt:lpstr>AI's Impact on Business Innovation</vt:lpstr>
      <vt:lpstr>PowerPoint Presentation</vt:lpstr>
      <vt:lpstr>PowerPoint Presentation</vt:lpstr>
      <vt:lpstr>Digital Business Demands a Comprehensive Data and AI Platform</vt:lpstr>
      <vt:lpstr>PowerPoint Presentation</vt:lpstr>
      <vt:lpstr>PowerPoint Presentation</vt:lpstr>
      <vt:lpstr>Generative AI</vt:lpstr>
      <vt:lpstr>Creating New Realities</vt:lpstr>
      <vt:lpstr>PowerPoint Presentation</vt:lpstr>
      <vt:lpstr>However…</vt:lpstr>
      <vt:lpstr>PowerPoint Presentation</vt:lpstr>
      <vt:lpstr>Beyond the Buzz:  Challenges span across different persona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enerative AI Market Potential and SAS Position</dc:title>
  <dc:creator>Marinela Profi;Manisha Khanna</dc:creator>
  <dc:description>Customer-facing presentation to introduce prospects to Trustworthy AI--what it is, why it matters, and how SAS supports it.
Download to view speaker notes.</dc:description>
  <cp:lastModifiedBy>Adrian Niga</cp:lastModifiedBy>
  <cp:revision>5</cp:revision>
  <dcterms:created xsi:type="dcterms:W3CDTF">2023-11-14T15:45:18Z</dcterms:created>
  <dcterms:modified xsi:type="dcterms:W3CDTF">2024-10-15T09:3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451006F2-8E20-4D4E-B05C-4B5D02827FD6</vt:lpwstr>
  </property>
  <property fmtid="{D5CDD505-2E9C-101B-9397-08002B2CF9AE}" pid="3" name="ArticulatePath">
    <vt:lpwstr>2020-Template-External</vt:lpwstr>
  </property>
  <property fmtid="{D5CDD505-2E9C-101B-9397-08002B2CF9AE}" pid="4" name="ContentTypeId">
    <vt:lpwstr>0x0101006BE659B9BD46644CB3C6870C03978025005CB50883B3C43A478864FD3733308FDF</vt:lpwstr>
  </property>
  <property fmtid="{D5CDD505-2E9C-101B-9397-08002B2CF9AE}" pid="5" name="SAS CBO">
    <vt:lpwstr/>
  </property>
  <property fmtid="{D5CDD505-2E9C-101B-9397-08002B2CF9AE}" pid="6" name="SAS Industry">
    <vt:lpwstr/>
  </property>
  <property fmtid="{D5CDD505-2E9C-101B-9397-08002B2CF9AE}" pid="7" name="SAS Offering">
    <vt:lpwstr/>
  </property>
</Properties>
</file>